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3" r:id="rId5"/>
    <p:sldMasterId id="2147484213" r:id="rId6"/>
    <p:sldMasterId id="2147484232" r:id="rId7"/>
    <p:sldMasterId id="2147484257" r:id="rId8"/>
    <p:sldMasterId id="2147484308" r:id="rId9"/>
  </p:sldMasterIdLst>
  <p:notesMasterIdLst>
    <p:notesMasterId r:id="rId43"/>
  </p:notesMasterIdLst>
  <p:handoutMasterIdLst>
    <p:handoutMasterId r:id="rId44"/>
  </p:handoutMasterIdLst>
  <p:sldIdLst>
    <p:sldId id="1135" r:id="rId10"/>
    <p:sldId id="1054" r:id="rId11"/>
    <p:sldId id="1211" r:id="rId12"/>
    <p:sldId id="1205" r:id="rId13"/>
    <p:sldId id="1219" r:id="rId14"/>
    <p:sldId id="1220" r:id="rId15"/>
    <p:sldId id="1221" r:id="rId16"/>
    <p:sldId id="1222" r:id="rId17"/>
    <p:sldId id="1199" r:id="rId18"/>
    <p:sldId id="1218" r:id="rId19"/>
    <p:sldId id="1214" r:id="rId20"/>
    <p:sldId id="1226" r:id="rId21"/>
    <p:sldId id="1203" r:id="rId22"/>
    <p:sldId id="1227" r:id="rId23"/>
    <p:sldId id="1228" r:id="rId24"/>
    <p:sldId id="1229" r:id="rId25"/>
    <p:sldId id="1206" r:id="rId26"/>
    <p:sldId id="1215" r:id="rId27"/>
    <p:sldId id="1230" r:id="rId28"/>
    <p:sldId id="1210" r:id="rId29"/>
    <p:sldId id="1216" r:id="rId30"/>
    <p:sldId id="1207" r:id="rId31"/>
    <p:sldId id="1224" r:id="rId32"/>
    <p:sldId id="1225" r:id="rId33"/>
    <p:sldId id="1208" r:id="rId34"/>
    <p:sldId id="1145" r:id="rId35"/>
    <p:sldId id="1144" r:id="rId36"/>
    <p:sldId id="1231" r:id="rId37"/>
    <p:sldId id="1232" r:id="rId38"/>
    <p:sldId id="1150" r:id="rId39"/>
    <p:sldId id="1147" r:id="rId40"/>
    <p:sldId id="1233" r:id="rId41"/>
    <p:sldId id="1076" r:id="rId42"/>
  </p:sldIdLst>
  <p:sldSz cx="12436475" cy="6994525"/>
  <p:notesSz cx="6858000" cy="9144000"/>
  <p:embeddedFontLst>
    <p:embeddedFont>
      <p:font typeface="Segoe" panose="020B0502040504020203" pitchFamily="34" charset="0"/>
      <p:regular r:id="rId45"/>
      <p:bold r:id="rId46"/>
      <p:italic r:id="rId47"/>
      <p:boldItalic r:id="rId48"/>
    </p:embeddedFont>
    <p:embeddedFont>
      <p:font typeface="Adobe Fan Heiti Std B" panose="020B0700000000000000" pitchFamily="34" charset="-128"/>
      <p:bold r:id="rId49"/>
    </p:embeddedFont>
    <p:embeddedFont>
      <p:font typeface="Segoe UI Light" panose="020B0502040204020203" pitchFamily="34" charset="0"/>
      <p:regular r:id="rId50"/>
      <p:italic r:id="rId51"/>
    </p:embeddedFont>
    <p:embeddedFont>
      <p:font typeface="Segoe UI" panose="020B0502040204020203" pitchFamily="34" charset="0"/>
      <p:regular r:id="rId52"/>
      <p:bold r:id="rId53"/>
      <p:italic r:id="rId54"/>
      <p:boldItalic r:id="rId55"/>
    </p:embeddedFont>
    <p:embeddedFont>
      <p:font typeface="Consolas" panose="020B0609020204030204" pitchFamily="49" charset="0"/>
      <p:regular r:id="rId56"/>
      <p:bold r:id="rId57"/>
      <p:italic r:id="rId58"/>
      <p:boldItalic r:id="rId59"/>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11"/>
            <p14:sldId id="1205"/>
            <p14:sldId id="1219"/>
            <p14:sldId id="1220"/>
            <p14:sldId id="1221"/>
            <p14:sldId id="1222"/>
            <p14:sldId id="1199"/>
            <p14:sldId id="1218"/>
            <p14:sldId id="1214"/>
            <p14:sldId id="1226"/>
            <p14:sldId id="1203"/>
            <p14:sldId id="1227"/>
            <p14:sldId id="1228"/>
            <p14:sldId id="1229"/>
            <p14:sldId id="1206"/>
            <p14:sldId id="1215"/>
            <p14:sldId id="1230"/>
            <p14:sldId id="1210"/>
            <p14:sldId id="1216"/>
            <p14:sldId id="1207"/>
            <p14:sldId id="1224"/>
            <p14:sldId id="1225"/>
            <p14:sldId id="1208"/>
          </p14:sldIdLst>
        </p14:section>
        <p14:section name="Special content" id="{6925D2A1-AD53-4951-AB34-79DFA02CD676}">
          <p14:sldIdLst>
            <p14:sldId id="1145"/>
            <p14:sldId id="1144"/>
            <p14:sldId id="1231"/>
            <p14:sldId id="1232"/>
            <p14:sldId id="1150"/>
            <p14:sldId id="1147"/>
            <p14:sldId id="1233"/>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0552" autoAdjust="0"/>
  </p:normalViewPr>
  <p:slideViewPr>
    <p:cSldViewPr snapToGrid="0">
      <p:cViewPr varScale="1">
        <p:scale>
          <a:sx n="96" d="100"/>
          <a:sy n="96" d="100"/>
        </p:scale>
        <p:origin x="72" y="8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font" Target="fonts/font10.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font" Target="fonts/font5.fntdata"/><Relationship Id="rId57" Type="http://schemas.openxmlformats.org/officeDocument/2006/relationships/font" Target="fonts/font13.fntdata"/><Relationship Id="rId61"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handoutMaster" Target="handoutMasters/handoutMaster1.xml"/><Relationship Id="rId52" Type="http://schemas.openxmlformats.org/officeDocument/2006/relationships/font" Target="fonts/font8.fntdata"/><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font" Target="fonts/font2.fntdata"/><Relationship Id="rId59" Type="http://schemas.openxmlformats.org/officeDocument/2006/relationships/font" Target="fonts/font15.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87E48F-896B-4544-B42D-9CD752093F24}" type="doc">
      <dgm:prSet loTypeId="urn:microsoft.com/office/officeart/2008/layout/VerticalCurvedList" loCatId="list" qsTypeId="urn:microsoft.com/office/officeart/2005/8/quickstyle/3d3" qsCatId="3D" csTypeId="urn:microsoft.com/office/officeart/2005/8/colors/accent1_2" csCatId="accent1" phldr="1"/>
      <dgm:spPr/>
      <dgm:t>
        <a:bodyPr/>
        <a:lstStyle/>
        <a:p>
          <a:endParaRPr lang="en-US"/>
        </a:p>
      </dgm:t>
    </dgm:pt>
    <dgm:pt modelId="{1CA8F674-4942-415A-BE5B-68F0D5FB7B40}">
      <dgm:prSet phldrT="[Text]"/>
      <dgm:spPr/>
      <dgm:t>
        <a:bodyPr/>
        <a:lstStyle/>
        <a:p>
          <a:r>
            <a:rPr lang="en-US" dirty="0" smtClean="0"/>
            <a:t>Govern Authentication</a:t>
          </a:r>
          <a:endParaRPr lang="en-US" dirty="0"/>
        </a:p>
      </dgm:t>
    </dgm:pt>
    <dgm:pt modelId="{953E8322-F3E5-4959-ABC2-6B46F3174561}" type="parTrans" cxnId="{0E6BBD10-DB26-4B1D-843C-CBD9D8E3DA6D}">
      <dgm:prSet/>
      <dgm:spPr/>
      <dgm:t>
        <a:bodyPr/>
        <a:lstStyle/>
        <a:p>
          <a:endParaRPr lang="en-US"/>
        </a:p>
      </dgm:t>
    </dgm:pt>
    <dgm:pt modelId="{75354427-524F-414B-A3F7-F956921F2910}" type="sibTrans" cxnId="{0E6BBD10-DB26-4B1D-843C-CBD9D8E3DA6D}">
      <dgm:prSet/>
      <dgm:spPr/>
      <dgm:t>
        <a:bodyPr/>
        <a:lstStyle/>
        <a:p>
          <a:endParaRPr lang="en-US"/>
        </a:p>
      </dgm:t>
    </dgm:pt>
    <dgm:pt modelId="{8C803190-F3E6-4E96-A3CD-AC377293F997}">
      <dgm:prSet phldrT="[Text]"/>
      <dgm:spPr/>
      <dgm:t>
        <a:bodyPr/>
        <a:lstStyle/>
        <a:p>
          <a:r>
            <a:rPr lang="en-US" dirty="0" smtClean="0"/>
            <a:t>Govern Authorization</a:t>
          </a:r>
          <a:endParaRPr lang="en-US" dirty="0"/>
        </a:p>
      </dgm:t>
    </dgm:pt>
    <dgm:pt modelId="{2F3A0996-3665-41C4-AD36-FD165FF8C2E3}" type="parTrans" cxnId="{ECF3A050-ECD6-4AF7-9883-42720BCC037E}">
      <dgm:prSet/>
      <dgm:spPr/>
      <dgm:t>
        <a:bodyPr/>
        <a:lstStyle/>
        <a:p>
          <a:endParaRPr lang="en-US"/>
        </a:p>
      </dgm:t>
    </dgm:pt>
    <dgm:pt modelId="{56298785-8A93-4BA4-93BE-353A9D06811F}" type="sibTrans" cxnId="{ECF3A050-ECD6-4AF7-9883-42720BCC037E}">
      <dgm:prSet/>
      <dgm:spPr/>
      <dgm:t>
        <a:bodyPr/>
        <a:lstStyle/>
        <a:p>
          <a:endParaRPr lang="en-US"/>
        </a:p>
      </dgm:t>
    </dgm:pt>
    <dgm:pt modelId="{7B4BD5ED-BF51-4AD5-888A-CF43E57BA1F1}">
      <dgm:prSet phldrT="[Text]"/>
      <dgm:spPr/>
      <dgm:t>
        <a:bodyPr/>
        <a:lstStyle/>
        <a:p>
          <a:r>
            <a:rPr lang="en-US" dirty="0" smtClean="0"/>
            <a:t>Protect User Accounts</a:t>
          </a:r>
          <a:endParaRPr lang="en-US" dirty="0"/>
        </a:p>
      </dgm:t>
    </dgm:pt>
    <dgm:pt modelId="{6CFCED84-1571-4FA8-9FE7-1E04F8342393}" type="parTrans" cxnId="{FB8B2C7C-E2B2-4825-AF54-75BD1EBE051F}">
      <dgm:prSet/>
      <dgm:spPr/>
      <dgm:t>
        <a:bodyPr/>
        <a:lstStyle/>
        <a:p>
          <a:endParaRPr lang="en-US"/>
        </a:p>
      </dgm:t>
    </dgm:pt>
    <dgm:pt modelId="{308987AA-C77A-47FD-9EAC-0386EADD3426}" type="sibTrans" cxnId="{FB8B2C7C-E2B2-4825-AF54-75BD1EBE051F}">
      <dgm:prSet/>
      <dgm:spPr/>
      <dgm:t>
        <a:bodyPr/>
        <a:lstStyle/>
        <a:p>
          <a:endParaRPr lang="en-US"/>
        </a:p>
      </dgm:t>
    </dgm:pt>
    <dgm:pt modelId="{DB065C49-874C-4C6F-B5DC-6A52144A36AA}">
      <dgm:prSet phldrT="[Text]"/>
      <dgm:spPr/>
      <dgm:t>
        <a:bodyPr/>
        <a:lstStyle/>
        <a:p>
          <a:r>
            <a:rPr lang="en-US" dirty="0" smtClean="0"/>
            <a:t>Protect User Devices</a:t>
          </a:r>
          <a:endParaRPr lang="en-US" dirty="0"/>
        </a:p>
      </dgm:t>
    </dgm:pt>
    <dgm:pt modelId="{015DC8BB-80AC-4827-89DB-851C27545BDA}" type="parTrans" cxnId="{6DA38548-DD2F-499E-8C22-2EB8A004E5AC}">
      <dgm:prSet/>
      <dgm:spPr/>
      <dgm:t>
        <a:bodyPr/>
        <a:lstStyle/>
        <a:p>
          <a:endParaRPr lang="en-US"/>
        </a:p>
      </dgm:t>
    </dgm:pt>
    <dgm:pt modelId="{10A19CCF-CEAC-4C3B-9BB2-C981FF9FE358}" type="sibTrans" cxnId="{6DA38548-DD2F-499E-8C22-2EB8A004E5AC}">
      <dgm:prSet/>
      <dgm:spPr/>
      <dgm:t>
        <a:bodyPr/>
        <a:lstStyle/>
        <a:p>
          <a:endParaRPr lang="en-US"/>
        </a:p>
      </dgm:t>
    </dgm:pt>
    <dgm:pt modelId="{850B0E2B-8612-4170-AA40-94C0DF0519F2}" type="pres">
      <dgm:prSet presAssocID="{D187E48F-896B-4544-B42D-9CD752093F24}" presName="Name0" presStyleCnt="0">
        <dgm:presLayoutVars>
          <dgm:chMax val="7"/>
          <dgm:chPref val="7"/>
          <dgm:dir/>
        </dgm:presLayoutVars>
      </dgm:prSet>
      <dgm:spPr/>
      <dgm:t>
        <a:bodyPr/>
        <a:lstStyle/>
        <a:p>
          <a:endParaRPr lang="en-US"/>
        </a:p>
      </dgm:t>
    </dgm:pt>
    <dgm:pt modelId="{AB2AFA58-BBEA-491A-B904-0EB1D5130C90}" type="pres">
      <dgm:prSet presAssocID="{D187E48F-896B-4544-B42D-9CD752093F24}" presName="Name1" presStyleCnt="0"/>
      <dgm:spPr/>
      <dgm:t>
        <a:bodyPr/>
        <a:lstStyle/>
        <a:p>
          <a:endParaRPr lang="en-US"/>
        </a:p>
      </dgm:t>
    </dgm:pt>
    <dgm:pt modelId="{0A2C79DB-F67E-4806-A8A2-D384F073F2B3}" type="pres">
      <dgm:prSet presAssocID="{D187E48F-896B-4544-B42D-9CD752093F24}" presName="cycle" presStyleCnt="0"/>
      <dgm:spPr/>
      <dgm:t>
        <a:bodyPr/>
        <a:lstStyle/>
        <a:p>
          <a:endParaRPr lang="en-US"/>
        </a:p>
      </dgm:t>
    </dgm:pt>
    <dgm:pt modelId="{8B778FD9-BCC2-4452-AC79-CA766C31932F}" type="pres">
      <dgm:prSet presAssocID="{D187E48F-896B-4544-B42D-9CD752093F24}" presName="srcNode" presStyleLbl="node1" presStyleIdx="0" presStyleCnt="4"/>
      <dgm:spPr/>
      <dgm:t>
        <a:bodyPr/>
        <a:lstStyle/>
        <a:p>
          <a:endParaRPr lang="en-US"/>
        </a:p>
      </dgm:t>
    </dgm:pt>
    <dgm:pt modelId="{51295269-E22C-4D5E-A60B-BE040604999E}" type="pres">
      <dgm:prSet presAssocID="{D187E48F-896B-4544-B42D-9CD752093F24}" presName="conn" presStyleLbl="parChTrans1D2" presStyleIdx="0" presStyleCnt="1"/>
      <dgm:spPr/>
      <dgm:t>
        <a:bodyPr/>
        <a:lstStyle/>
        <a:p>
          <a:endParaRPr lang="en-US"/>
        </a:p>
      </dgm:t>
    </dgm:pt>
    <dgm:pt modelId="{9BF655AD-C80F-494B-A2CE-9326ED1B4C41}" type="pres">
      <dgm:prSet presAssocID="{D187E48F-896B-4544-B42D-9CD752093F24}" presName="extraNode" presStyleLbl="node1" presStyleIdx="0" presStyleCnt="4"/>
      <dgm:spPr/>
      <dgm:t>
        <a:bodyPr/>
        <a:lstStyle/>
        <a:p>
          <a:endParaRPr lang="en-US"/>
        </a:p>
      </dgm:t>
    </dgm:pt>
    <dgm:pt modelId="{23A454B0-6F57-487E-92FD-98A7398F83C8}" type="pres">
      <dgm:prSet presAssocID="{D187E48F-896B-4544-B42D-9CD752093F24}" presName="dstNode" presStyleLbl="node1" presStyleIdx="0" presStyleCnt="4"/>
      <dgm:spPr/>
      <dgm:t>
        <a:bodyPr/>
        <a:lstStyle/>
        <a:p>
          <a:endParaRPr lang="en-US"/>
        </a:p>
      </dgm:t>
    </dgm:pt>
    <dgm:pt modelId="{7A0E5C3F-FF49-4776-ACB7-71638C4C01D8}" type="pres">
      <dgm:prSet presAssocID="{1CA8F674-4942-415A-BE5B-68F0D5FB7B40}" presName="text_1" presStyleLbl="node1" presStyleIdx="0" presStyleCnt="4">
        <dgm:presLayoutVars>
          <dgm:bulletEnabled val="1"/>
        </dgm:presLayoutVars>
      </dgm:prSet>
      <dgm:spPr/>
      <dgm:t>
        <a:bodyPr/>
        <a:lstStyle/>
        <a:p>
          <a:endParaRPr lang="en-US"/>
        </a:p>
      </dgm:t>
    </dgm:pt>
    <dgm:pt modelId="{7CBE746D-9F38-4676-BE65-1E6DA3E40231}" type="pres">
      <dgm:prSet presAssocID="{1CA8F674-4942-415A-BE5B-68F0D5FB7B40}" presName="accent_1" presStyleCnt="0"/>
      <dgm:spPr/>
      <dgm:t>
        <a:bodyPr/>
        <a:lstStyle/>
        <a:p>
          <a:endParaRPr lang="en-US"/>
        </a:p>
      </dgm:t>
    </dgm:pt>
    <dgm:pt modelId="{1F675B0F-EC30-4A4F-9069-DB1C9BD9849F}" type="pres">
      <dgm:prSet presAssocID="{1CA8F674-4942-415A-BE5B-68F0D5FB7B40}" presName="accentRepeatNode" presStyleLbl="solidFgAcc1" presStyleIdx="0" presStyleCnt="4"/>
      <dgm:spPr/>
      <dgm:t>
        <a:bodyPr/>
        <a:lstStyle/>
        <a:p>
          <a:endParaRPr lang="en-US"/>
        </a:p>
      </dgm:t>
    </dgm:pt>
    <dgm:pt modelId="{D79A3820-364A-4B73-AD9F-F655EA54E8ED}" type="pres">
      <dgm:prSet presAssocID="{8C803190-F3E6-4E96-A3CD-AC377293F997}" presName="text_2" presStyleLbl="node1" presStyleIdx="1" presStyleCnt="4">
        <dgm:presLayoutVars>
          <dgm:bulletEnabled val="1"/>
        </dgm:presLayoutVars>
      </dgm:prSet>
      <dgm:spPr/>
      <dgm:t>
        <a:bodyPr/>
        <a:lstStyle/>
        <a:p>
          <a:endParaRPr lang="en-US"/>
        </a:p>
      </dgm:t>
    </dgm:pt>
    <dgm:pt modelId="{037155D1-03F8-4833-A1B8-EB7B3EF17BEF}" type="pres">
      <dgm:prSet presAssocID="{8C803190-F3E6-4E96-A3CD-AC377293F997}" presName="accent_2" presStyleCnt="0"/>
      <dgm:spPr/>
      <dgm:t>
        <a:bodyPr/>
        <a:lstStyle/>
        <a:p>
          <a:endParaRPr lang="en-US"/>
        </a:p>
      </dgm:t>
    </dgm:pt>
    <dgm:pt modelId="{AEFCE9F7-BFC4-403A-A274-F3294CCF4853}" type="pres">
      <dgm:prSet presAssocID="{8C803190-F3E6-4E96-A3CD-AC377293F997}" presName="accentRepeatNode" presStyleLbl="solidFgAcc1" presStyleIdx="1" presStyleCnt="4"/>
      <dgm:spPr/>
      <dgm:t>
        <a:bodyPr/>
        <a:lstStyle/>
        <a:p>
          <a:endParaRPr lang="en-US"/>
        </a:p>
      </dgm:t>
    </dgm:pt>
    <dgm:pt modelId="{F5C391B5-3BB1-4D38-B2C2-C7409FA9624E}" type="pres">
      <dgm:prSet presAssocID="{7B4BD5ED-BF51-4AD5-888A-CF43E57BA1F1}" presName="text_3" presStyleLbl="node1" presStyleIdx="2" presStyleCnt="4">
        <dgm:presLayoutVars>
          <dgm:bulletEnabled val="1"/>
        </dgm:presLayoutVars>
      </dgm:prSet>
      <dgm:spPr/>
      <dgm:t>
        <a:bodyPr/>
        <a:lstStyle/>
        <a:p>
          <a:endParaRPr lang="en-US"/>
        </a:p>
      </dgm:t>
    </dgm:pt>
    <dgm:pt modelId="{637578B8-F98A-4761-8286-BA23715ED2AC}" type="pres">
      <dgm:prSet presAssocID="{7B4BD5ED-BF51-4AD5-888A-CF43E57BA1F1}" presName="accent_3" presStyleCnt="0"/>
      <dgm:spPr/>
      <dgm:t>
        <a:bodyPr/>
        <a:lstStyle/>
        <a:p>
          <a:endParaRPr lang="en-US"/>
        </a:p>
      </dgm:t>
    </dgm:pt>
    <dgm:pt modelId="{8DBF4AD3-E39A-41CC-B7DA-458D51804AF2}" type="pres">
      <dgm:prSet presAssocID="{7B4BD5ED-BF51-4AD5-888A-CF43E57BA1F1}" presName="accentRepeatNode" presStyleLbl="solidFgAcc1" presStyleIdx="2" presStyleCnt="4"/>
      <dgm:spPr/>
      <dgm:t>
        <a:bodyPr/>
        <a:lstStyle/>
        <a:p>
          <a:endParaRPr lang="en-US"/>
        </a:p>
      </dgm:t>
    </dgm:pt>
    <dgm:pt modelId="{23C6E20F-A6D9-43FD-B836-68BA295C513A}" type="pres">
      <dgm:prSet presAssocID="{DB065C49-874C-4C6F-B5DC-6A52144A36AA}" presName="text_4" presStyleLbl="node1" presStyleIdx="3" presStyleCnt="4">
        <dgm:presLayoutVars>
          <dgm:bulletEnabled val="1"/>
        </dgm:presLayoutVars>
      </dgm:prSet>
      <dgm:spPr/>
      <dgm:t>
        <a:bodyPr/>
        <a:lstStyle/>
        <a:p>
          <a:endParaRPr lang="en-US"/>
        </a:p>
      </dgm:t>
    </dgm:pt>
    <dgm:pt modelId="{FD24B8CE-E0F1-4CEC-B5AB-08314BB63C04}" type="pres">
      <dgm:prSet presAssocID="{DB065C49-874C-4C6F-B5DC-6A52144A36AA}" presName="accent_4" presStyleCnt="0"/>
      <dgm:spPr/>
      <dgm:t>
        <a:bodyPr/>
        <a:lstStyle/>
        <a:p>
          <a:endParaRPr lang="en-US"/>
        </a:p>
      </dgm:t>
    </dgm:pt>
    <dgm:pt modelId="{4AC560D1-5BF7-47FE-BC67-FE5DA86512AF}" type="pres">
      <dgm:prSet presAssocID="{DB065C49-874C-4C6F-B5DC-6A52144A36AA}" presName="accentRepeatNode" presStyleLbl="solidFgAcc1" presStyleIdx="3" presStyleCnt="4"/>
      <dgm:spPr/>
      <dgm:t>
        <a:bodyPr/>
        <a:lstStyle/>
        <a:p>
          <a:endParaRPr lang="en-US"/>
        </a:p>
      </dgm:t>
    </dgm:pt>
  </dgm:ptLst>
  <dgm:cxnLst>
    <dgm:cxn modelId="{E42451A6-6ADF-4AE0-9A71-D55F0F015886}" type="presOf" srcId="{DB065C49-874C-4C6F-B5DC-6A52144A36AA}" destId="{23C6E20F-A6D9-43FD-B836-68BA295C513A}" srcOrd="0" destOrd="0" presId="urn:microsoft.com/office/officeart/2008/layout/VerticalCurvedList"/>
    <dgm:cxn modelId="{C1054096-BF04-4D39-9B17-CECBCB290F9B}" type="presOf" srcId="{8C803190-F3E6-4E96-A3CD-AC377293F997}" destId="{D79A3820-364A-4B73-AD9F-F655EA54E8ED}" srcOrd="0" destOrd="0" presId="urn:microsoft.com/office/officeart/2008/layout/VerticalCurvedList"/>
    <dgm:cxn modelId="{FB8B2C7C-E2B2-4825-AF54-75BD1EBE051F}" srcId="{D187E48F-896B-4544-B42D-9CD752093F24}" destId="{7B4BD5ED-BF51-4AD5-888A-CF43E57BA1F1}" srcOrd="2" destOrd="0" parTransId="{6CFCED84-1571-4FA8-9FE7-1E04F8342393}" sibTransId="{308987AA-C77A-47FD-9EAC-0386EADD3426}"/>
    <dgm:cxn modelId="{9B1180E5-C677-42BF-AB3B-5FB58A6C149C}" type="presOf" srcId="{1CA8F674-4942-415A-BE5B-68F0D5FB7B40}" destId="{7A0E5C3F-FF49-4776-ACB7-71638C4C01D8}" srcOrd="0" destOrd="0" presId="urn:microsoft.com/office/officeart/2008/layout/VerticalCurvedList"/>
    <dgm:cxn modelId="{69142541-DE60-4F29-9358-BBA275E38912}" type="presOf" srcId="{7B4BD5ED-BF51-4AD5-888A-CF43E57BA1F1}" destId="{F5C391B5-3BB1-4D38-B2C2-C7409FA9624E}" srcOrd="0" destOrd="0" presId="urn:microsoft.com/office/officeart/2008/layout/VerticalCurvedList"/>
    <dgm:cxn modelId="{ECF3A050-ECD6-4AF7-9883-42720BCC037E}" srcId="{D187E48F-896B-4544-B42D-9CD752093F24}" destId="{8C803190-F3E6-4E96-A3CD-AC377293F997}" srcOrd="1" destOrd="0" parTransId="{2F3A0996-3665-41C4-AD36-FD165FF8C2E3}" sibTransId="{56298785-8A93-4BA4-93BE-353A9D06811F}"/>
    <dgm:cxn modelId="{35201DE7-87E1-4DD1-8BB4-210658547EBA}" type="presOf" srcId="{75354427-524F-414B-A3F7-F956921F2910}" destId="{51295269-E22C-4D5E-A60B-BE040604999E}" srcOrd="0" destOrd="0" presId="urn:microsoft.com/office/officeart/2008/layout/VerticalCurvedList"/>
    <dgm:cxn modelId="{6DA38548-DD2F-499E-8C22-2EB8A004E5AC}" srcId="{D187E48F-896B-4544-B42D-9CD752093F24}" destId="{DB065C49-874C-4C6F-B5DC-6A52144A36AA}" srcOrd="3" destOrd="0" parTransId="{015DC8BB-80AC-4827-89DB-851C27545BDA}" sibTransId="{10A19CCF-CEAC-4C3B-9BB2-C981FF9FE358}"/>
    <dgm:cxn modelId="{7D8EACCE-B7B6-4D82-B753-0D79AE90C0F5}" type="presOf" srcId="{D187E48F-896B-4544-B42D-9CD752093F24}" destId="{850B0E2B-8612-4170-AA40-94C0DF0519F2}" srcOrd="0" destOrd="0" presId="urn:microsoft.com/office/officeart/2008/layout/VerticalCurvedList"/>
    <dgm:cxn modelId="{0E6BBD10-DB26-4B1D-843C-CBD9D8E3DA6D}" srcId="{D187E48F-896B-4544-B42D-9CD752093F24}" destId="{1CA8F674-4942-415A-BE5B-68F0D5FB7B40}" srcOrd="0" destOrd="0" parTransId="{953E8322-F3E5-4959-ABC2-6B46F3174561}" sibTransId="{75354427-524F-414B-A3F7-F956921F2910}"/>
    <dgm:cxn modelId="{7286241C-D5FD-4BAD-8F74-C315669D30F1}" type="presParOf" srcId="{850B0E2B-8612-4170-AA40-94C0DF0519F2}" destId="{AB2AFA58-BBEA-491A-B904-0EB1D5130C90}" srcOrd="0" destOrd="0" presId="urn:microsoft.com/office/officeart/2008/layout/VerticalCurvedList"/>
    <dgm:cxn modelId="{524A4FCE-18F0-4A46-977B-EF8E4D80436D}" type="presParOf" srcId="{AB2AFA58-BBEA-491A-B904-0EB1D5130C90}" destId="{0A2C79DB-F67E-4806-A8A2-D384F073F2B3}" srcOrd="0" destOrd="0" presId="urn:microsoft.com/office/officeart/2008/layout/VerticalCurvedList"/>
    <dgm:cxn modelId="{986AC447-AD03-47F7-8CDF-54E194DFF1C0}" type="presParOf" srcId="{0A2C79DB-F67E-4806-A8A2-D384F073F2B3}" destId="{8B778FD9-BCC2-4452-AC79-CA766C31932F}" srcOrd="0" destOrd="0" presId="urn:microsoft.com/office/officeart/2008/layout/VerticalCurvedList"/>
    <dgm:cxn modelId="{F6D9C2E1-B999-413F-B053-AA86D718DAAA}" type="presParOf" srcId="{0A2C79DB-F67E-4806-A8A2-D384F073F2B3}" destId="{51295269-E22C-4D5E-A60B-BE040604999E}" srcOrd="1" destOrd="0" presId="urn:microsoft.com/office/officeart/2008/layout/VerticalCurvedList"/>
    <dgm:cxn modelId="{285A4295-9FB4-427E-84D2-34FAB5FA4418}" type="presParOf" srcId="{0A2C79DB-F67E-4806-A8A2-D384F073F2B3}" destId="{9BF655AD-C80F-494B-A2CE-9326ED1B4C41}" srcOrd="2" destOrd="0" presId="urn:microsoft.com/office/officeart/2008/layout/VerticalCurvedList"/>
    <dgm:cxn modelId="{90921149-6CF3-4E91-9FCA-4F8ACF0DC7AD}" type="presParOf" srcId="{0A2C79DB-F67E-4806-A8A2-D384F073F2B3}" destId="{23A454B0-6F57-487E-92FD-98A7398F83C8}" srcOrd="3" destOrd="0" presId="urn:microsoft.com/office/officeart/2008/layout/VerticalCurvedList"/>
    <dgm:cxn modelId="{089296D9-31D6-478D-9687-2C70DB99B83C}" type="presParOf" srcId="{AB2AFA58-BBEA-491A-B904-0EB1D5130C90}" destId="{7A0E5C3F-FF49-4776-ACB7-71638C4C01D8}" srcOrd="1" destOrd="0" presId="urn:microsoft.com/office/officeart/2008/layout/VerticalCurvedList"/>
    <dgm:cxn modelId="{0ED52054-FFB1-4B94-8FB9-5890E21B0CED}" type="presParOf" srcId="{AB2AFA58-BBEA-491A-B904-0EB1D5130C90}" destId="{7CBE746D-9F38-4676-BE65-1E6DA3E40231}" srcOrd="2" destOrd="0" presId="urn:microsoft.com/office/officeart/2008/layout/VerticalCurvedList"/>
    <dgm:cxn modelId="{1EE0F18A-D6EE-4B19-9B5B-BF0BDED009B7}" type="presParOf" srcId="{7CBE746D-9F38-4676-BE65-1E6DA3E40231}" destId="{1F675B0F-EC30-4A4F-9069-DB1C9BD9849F}" srcOrd="0" destOrd="0" presId="urn:microsoft.com/office/officeart/2008/layout/VerticalCurvedList"/>
    <dgm:cxn modelId="{8E4A2241-1661-476A-A774-764F0E3FFCED}" type="presParOf" srcId="{AB2AFA58-BBEA-491A-B904-0EB1D5130C90}" destId="{D79A3820-364A-4B73-AD9F-F655EA54E8ED}" srcOrd="3" destOrd="0" presId="urn:microsoft.com/office/officeart/2008/layout/VerticalCurvedList"/>
    <dgm:cxn modelId="{133195FF-C90B-4059-B685-34FCEAF2F7F8}" type="presParOf" srcId="{AB2AFA58-BBEA-491A-B904-0EB1D5130C90}" destId="{037155D1-03F8-4833-A1B8-EB7B3EF17BEF}" srcOrd="4" destOrd="0" presId="urn:microsoft.com/office/officeart/2008/layout/VerticalCurvedList"/>
    <dgm:cxn modelId="{660700CE-0762-4606-AB17-DF05E5EFB3C6}" type="presParOf" srcId="{037155D1-03F8-4833-A1B8-EB7B3EF17BEF}" destId="{AEFCE9F7-BFC4-403A-A274-F3294CCF4853}" srcOrd="0" destOrd="0" presId="urn:microsoft.com/office/officeart/2008/layout/VerticalCurvedList"/>
    <dgm:cxn modelId="{654F00DF-C4FE-45B1-AB9F-15515DDEF2AE}" type="presParOf" srcId="{AB2AFA58-BBEA-491A-B904-0EB1D5130C90}" destId="{F5C391B5-3BB1-4D38-B2C2-C7409FA9624E}" srcOrd="5" destOrd="0" presId="urn:microsoft.com/office/officeart/2008/layout/VerticalCurvedList"/>
    <dgm:cxn modelId="{6636BD6A-EAE1-4079-99A3-902ABF078BB5}" type="presParOf" srcId="{AB2AFA58-BBEA-491A-B904-0EB1D5130C90}" destId="{637578B8-F98A-4761-8286-BA23715ED2AC}" srcOrd="6" destOrd="0" presId="urn:microsoft.com/office/officeart/2008/layout/VerticalCurvedList"/>
    <dgm:cxn modelId="{2A882006-854C-482D-BA0B-14B5C788F645}" type="presParOf" srcId="{637578B8-F98A-4761-8286-BA23715ED2AC}" destId="{8DBF4AD3-E39A-41CC-B7DA-458D51804AF2}" srcOrd="0" destOrd="0" presId="urn:microsoft.com/office/officeart/2008/layout/VerticalCurvedList"/>
    <dgm:cxn modelId="{A6243CA2-B9EC-4F20-80B8-DBA7A079EACD}" type="presParOf" srcId="{AB2AFA58-BBEA-491A-B904-0EB1D5130C90}" destId="{23C6E20F-A6D9-43FD-B836-68BA295C513A}" srcOrd="7" destOrd="0" presId="urn:microsoft.com/office/officeart/2008/layout/VerticalCurvedList"/>
    <dgm:cxn modelId="{9B7FEA90-8F25-4598-892E-97DD74607521}" type="presParOf" srcId="{AB2AFA58-BBEA-491A-B904-0EB1D5130C90}" destId="{FD24B8CE-E0F1-4CEC-B5AB-08314BB63C04}" srcOrd="8" destOrd="0" presId="urn:microsoft.com/office/officeart/2008/layout/VerticalCurvedList"/>
    <dgm:cxn modelId="{6B8A7CD6-9B2F-4602-AB09-DD0001395971}" type="presParOf" srcId="{FD24B8CE-E0F1-4CEC-B5AB-08314BB63C04}" destId="{4AC560D1-5BF7-47FE-BC67-FE5DA86512AF}"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1F727B-37F9-4098-AACA-AFAB9EED28C9}" type="doc">
      <dgm:prSet loTypeId="urn:microsoft.com/office/officeart/2005/8/layout/vList2" loCatId="list" qsTypeId="urn:microsoft.com/office/officeart/2005/8/quickstyle/3d1" qsCatId="3D" csTypeId="urn:microsoft.com/office/officeart/2005/8/colors/accent1_2" csCatId="accent1" phldr="1"/>
      <dgm:spPr/>
      <dgm:t>
        <a:bodyPr/>
        <a:lstStyle/>
        <a:p>
          <a:endParaRPr lang="en-US"/>
        </a:p>
      </dgm:t>
    </dgm:pt>
    <dgm:pt modelId="{26662FE3-C71F-4C4C-A43F-B47E1BE5F4F0}">
      <dgm:prSet/>
      <dgm:spPr/>
      <dgm:t>
        <a:bodyPr/>
        <a:lstStyle/>
        <a:p>
          <a:pPr rtl="0"/>
          <a:r>
            <a:rPr lang="en-US" dirty="0" smtClean="0"/>
            <a:t>Primary Authentication</a:t>
          </a:r>
          <a:endParaRPr lang="en-US" dirty="0"/>
        </a:p>
      </dgm:t>
    </dgm:pt>
    <dgm:pt modelId="{0AC76A07-0289-45A1-9DB6-9CF8E71CA788}" type="parTrans" cxnId="{79E41EF4-811B-4A0A-ADA5-4BDF47020E37}">
      <dgm:prSet/>
      <dgm:spPr/>
      <dgm:t>
        <a:bodyPr/>
        <a:lstStyle/>
        <a:p>
          <a:endParaRPr lang="en-US"/>
        </a:p>
      </dgm:t>
    </dgm:pt>
    <dgm:pt modelId="{9B3A28A3-B84D-4F90-8888-3E050B381274}" type="sibTrans" cxnId="{79E41EF4-811B-4A0A-ADA5-4BDF47020E37}">
      <dgm:prSet/>
      <dgm:spPr/>
      <dgm:t>
        <a:bodyPr/>
        <a:lstStyle/>
        <a:p>
          <a:endParaRPr lang="en-US"/>
        </a:p>
      </dgm:t>
    </dgm:pt>
    <dgm:pt modelId="{D1F6E0DA-BA23-46E4-9EE9-5FF568709259}">
      <dgm:prSet/>
      <dgm:spPr/>
      <dgm:t>
        <a:bodyPr/>
        <a:lstStyle/>
        <a:p>
          <a:pPr rtl="0"/>
          <a:r>
            <a:rPr lang="en-US" dirty="0" smtClean="0"/>
            <a:t>Governs all applications that trust ADFS</a:t>
          </a:r>
          <a:endParaRPr lang="en-US" dirty="0"/>
        </a:p>
      </dgm:t>
    </dgm:pt>
    <dgm:pt modelId="{893E530F-DAFB-4628-ADAC-FCFDE6AE97AC}" type="parTrans" cxnId="{9F30E6F0-4259-4123-AD51-E70ED58A8765}">
      <dgm:prSet/>
      <dgm:spPr/>
      <dgm:t>
        <a:bodyPr/>
        <a:lstStyle/>
        <a:p>
          <a:endParaRPr lang="en-US"/>
        </a:p>
      </dgm:t>
    </dgm:pt>
    <dgm:pt modelId="{50FB4689-D8B3-4A68-B212-A92D4F1A68D0}" type="sibTrans" cxnId="{9F30E6F0-4259-4123-AD51-E70ED58A8765}">
      <dgm:prSet/>
      <dgm:spPr/>
      <dgm:t>
        <a:bodyPr/>
        <a:lstStyle/>
        <a:p>
          <a:endParaRPr lang="en-US"/>
        </a:p>
      </dgm:t>
    </dgm:pt>
    <dgm:pt modelId="{0AC9F70E-809B-4813-91FE-83D6B2351BF8}">
      <dgm:prSet/>
      <dgm:spPr/>
      <dgm:t>
        <a:bodyPr/>
        <a:lstStyle/>
        <a:p>
          <a:pPr rtl="0"/>
          <a:r>
            <a:rPr lang="en-US" dirty="0" smtClean="0"/>
            <a:t>Extranet </a:t>
          </a:r>
          <a:r>
            <a:rPr lang="en-US" dirty="0" err="1" smtClean="0"/>
            <a:t>Vs</a:t>
          </a:r>
          <a:r>
            <a:rPr lang="en-US" dirty="0" smtClean="0"/>
            <a:t> Intranet Differentiation</a:t>
          </a:r>
          <a:endParaRPr lang="en-US" dirty="0"/>
        </a:p>
      </dgm:t>
    </dgm:pt>
    <dgm:pt modelId="{B4AB4343-0E61-4BF3-807D-17A02D004D12}" type="parTrans" cxnId="{D9D5791A-C84D-4341-83C6-2A4259BE180A}">
      <dgm:prSet/>
      <dgm:spPr/>
      <dgm:t>
        <a:bodyPr/>
        <a:lstStyle/>
        <a:p>
          <a:endParaRPr lang="en-US"/>
        </a:p>
      </dgm:t>
    </dgm:pt>
    <dgm:pt modelId="{94058E03-C232-4F70-83A5-0279D2592F84}" type="sibTrans" cxnId="{D9D5791A-C84D-4341-83C6-2A4259BE180A}">
      <dgm:prSet/>
      <dgm:spPr/>
      <dgm:t>
        <a:bodyPr/>
        <a:lstStyle/>
        <a:p>
          <a:endParaRPr lang="en-US"/>
        </a:p>
      </dgm:t>
    </dgm:pt>
    <dgm:pt modelId="{7600E356-29F2-4F6C-8915-05C3809547E2}">
      <dgm:prSet/>
      <dgm:spPr/>
      <dgm:t>
        <a:bodyPr/>
        <a:lstStyle/>
        <a:p>
          <a:pPr rtl="0"/>
          <a:r>
            <a:rPr lang="en-US" dirty="0" smtClean="0"/>
            <a:t>WIA fallback to forms for enhanced user experience in intranet</a:t>
          </a:r>
          <a:endParaRPr lang="en-US" dirty="0"/>
        </a:p>
      </dgm:t>
    </dgm:pt>
    <dgm:pt modelId="{715D3C72-71F0-4E66-8AD2-BD8D41F7A815}" type="parTrans" cxnId="{FAEA56E8-E0A0-459F-BD7A-985EC8579568}">
      <dgm:prSet/>
      <dgm:spPr/>
      <dgm:t>
        <a:bodyPr/>
        <a:lstStyle/>
        <a:p>
          <a:endParaRPr lang="en-US"/>
        </a:p>
      </dgm:t>
    </dgm:pt>
    <dgm:pt modelId="{52D743E4-6F11-4436-9D1A-FAD6A613784D}" type="sibTrans" cxnId="{FAEA56E8-E0A0-459F-BD7A-985EC8579568}">
      <dgm:prSet/>
      <dgm:spPr/>
      <dgm:t>
        <a:bodyPr/>
        <a:lstStyle/>
        <a:p>
          <a:endParaRPr lang="en-US"/>
        </a:p>
      </dgm:t>
    </dgm:pt>
    <dgm:pt modelId="{7F1D18F1-8B23-4235-A543-08F4A93B746B}">
      <dgm:prSet/>
      <dgm:spPr/>
      <dgm:t>
        <a:bodyPr/>
        <a:lstStyle/>
        <a:p>
          <a:pPr rtl="0"/>
          <a:r>
            <a:rPr lang="en-US" smtClean="0"/>
            <a:t>Device Authentication</a:t>
          </a:r>
          <a:endParaRPr lang="en-US"/>
        </a:p>
      </dgm:t>
    </dgm:pt>
    <dgm:pt modelId="{4E2AEA81-2931-4388-9CEE-04FBC4738C12}" type="parTrans" cxnId="{A04C1140-5F34-497E-B0F2-790FABF59064}">
      <dgm:prSet/>
      <dgm:spPr/>
      <dgm:t>
        <a:bodyPr/>
        <a:lstStyle/>
        <a:p>
          <a:endParaRPr lang="en-US"/>
        </a:p>
      </dgm:t>
    </dgm:pt>
    <dgm:pt modelId="{D1A27ED9-612A-4370-8E2C-8A5CE2630574}" type="sibTrans" cxnId="{A04C1140-5F34-497E-B0F2-790FABF59064}">
      <dgm:prSet/>
      <dgm:spPr/>
      <dgm:t>
        <a:bodyPr/>
        <a:lstStyle/>
        <a:p>
          <a:endParaRPr lang="en-US"/>
        </a:p>
      </dgm:t>
    </dgm:pt>
    <dgm:pt modelId="{57A4ACD2-2D6E-4815-8292-1F3C313D7843}">
      <dgm:prSet/>
      <dgm:spPr/>
      <dgm:t>
        <a:bodyPr/>
        <a:lstStyle/>
        <a:p>
          <a:pPr rtl="0"/>
          <a:r>
            <a:rPr lang="en-US" dirty="0" smtClean="0"/>
            <a:t>Always validated against the directory information in AD</a:t>
          </a:r>
          <a:endParaRPr lang="en-US" dirty="0"/>
        </a:p>
      </dgm:t>
    </dgm:pt>
    <dgm:pt modelId="{568815A5-F7BD-41B7-BE33-546385D5C1E4}" type="parTrans" cxnId="{EF1D60B4-9AA3-438C-B8BC-678C704BAEEE}">
      <dgm:prSet/>
      <dgm:spPr/>
      <dgm:t>
        <a:bodyPr/>
        <a:lstStyle/>
        <a:p>
          <a:endParaRPr lang="en-US"/>
        </a:p>
      </dgm:t>
    </dgm:pt>
    <dgm:pt modelId="{CE703BD1-8F8E-4832-AB60-99CE8CFB25B6}" type="sibTrans" cxnId="{EF1D60B4-9AA3-438C-B8BC-678C704BAEEE}">
      <dgm:prSet/>
      <dgm:spPr/>
      <dgm:t>
        <a:bodyPr/>
        <a:lstStyle/>
        <a:p>
          <a:endParaRPr lang="en-US"/>
        </a:p>
      </dgm:t>
    </dgm:pt>
    <dgm:pt modelId="{B4ADA2DC-DEF4-4B51-ADD5-4985139FD9CF}">
      <dgm:prSet/>
      <dgm:spPr/>
      <dgm:t>
        <a:bodyPr/>
        <a:lstStyle/>
        <a:p>
          <a:pPr rtl="0"/>
          <a:r>
            <a:rPr lang="en-US" smtClean="0"/>
            <a:t>Force Authentication for sensitive apps</a:t>
          </a:r>
          <a:endParaRPr lang="en-US"/>
        </a:p>
      </dgm:t>
    </dgm:pt>
    <dgm:pt modelId="{62462F47-FEAB-413E-B1A0-6B1DEE6AF804}" type="parTrans" cxnId="{DDCAF03A-7766-4341-96A5-461F99FDAC13}">
      <dgm:prSet/>
      <dgm:spPr/>
      <dgm:t>
        <a:bodyPr/>
        <a:lstStyle/>
        <a:p>
          <a:endParaRPr lang="en-US"/>
        </a:p>
      </dgm:t>
    </dgm:pt>
    <dgm:pt modelId="{7C0CACA3-3547-4CD7-9CCB-0470DFB6CD91}" type="sibTrans" cxnId="{DDCAF03A-7766-4341-96A5-461F99FDAC13}">
      <dgm:prSet/>
      <dgm:spPr/>
      <dgm:t>
        <a:bodyPr/>
        <a:lstStyle/>
        <a:p>
          <a:endParaRPr lang="en-US"/>
        </a:p>
      </dgm:t>
    </dgm:pt>
    <dgm:pt modelId="{68A2A66F-A35D-4F3C-9DD8-D249B02C5A61}">
      <dgm:prSet/>
      <dgm:spPr/>
      <dgm:t>
        <a:bodyPr/>
        <a:lstStyle/>
        <a:p>
          <a:pPr rtl="0"/>
          <a:r>
            <a:rPr lang="en-US" dirty="0" smtClean="0"/>
            <a:t>Authentication types are limited to what is supported by Active Directory</a:t>
          </a:r>
          <a:endParaRPr lang="en-US" dirty="0"/>
        </a:p>
      </dgm:t>
    </dgm:pt>
    <dgm:pt modelId="{B46A8BF2-1791-4B75-9B47-1D69CFF65944}" type="parTrans" cxnId="{5F7ADDD7-1B93-404C-9E9D-894C19E743FB}">
      <dgm:prSet/>
      <dgm:spPr/>
      <dgm:t>
        <a:bodyPr/>
        <a:lstStyle/>
        <a:p>
          <a:endParaRPr lang="en-US"/>
        </a:p>
      </dgm:t>
    </dgm:pt>
    <dgm:pt modelId="{BF66EE37-6E21-494F-AEB5-4717EA0F1B2B}" type="sibTrans" cxnId="{5F7ADDD7-1B93-404C-9E9D-894C19E743FB}">
      <dgm:prSet/>
      <dgm:spPr/>
      <dgm:t>
        <a:bodyPr/>
        <a:lstStyle/>
        <a:p>
          <a:endParaRPr lang="en-US"/>
        </a:p>
      </dgm:t>
    </dgm:pt>
    <dgm:pt modelId="{DDAD9C54-BE59-421C-8251-64645596ACAD}" type="pres">
      <dgm:prSet presAssocID="{C61F727B-37F9-4098-AACA-AFAB9EED28C9}" presName="linear" presStyleCnt="0">
        <dgm:presLayoutVars>
          <dgm:animLvl val="lvl"/>
          <dgm:resizeHandles val="exact"/>
        </dgm:presLayoutVars>
      </dgm:prSet>
      <dgm:spPr/>
      <dgm:t>
        <a:bodyPr/>
        <a:lstStyle/>
        <a:p>
          <a:endParaRPr lang="en-US"/>
        </a:p>
      </dgm:t>
    </dgm:pt>
    <dgm:pt modelId="{FEFB8D6D-BBA2-4097-9F50-14196B8363F5}" type="pres">
      <dgm:prSet presAssocID="{26662FE3-C71F-4C4C-A43F-B47E1BE5F4F0}" presName="parentText" presStyleLbl="node1" presStyleIdx="0" presStyleCnt="3">
        <dgm:presLayoutVars>
          <dgm:chMax val="0"/>
          <dgm:bulletEnabled val="1"/>
        </dgm:presLayoutVars>
      </dgm:prSet>
      <dgm:spPr/>
      <dgm:t>
        <a:bodyPr/>
        <a:lstStyle/>
        <a:p>
          <a:endParaRPr lang="en-US"/>
        </a:p>
      </dgm:t>
    </dgm:pt>
    <dgm:pt modelId="{C082BCAC-0342-4597-9A96-9A27A55F0322}" type="pres">
      <dgm:prSet presAssocID="{26662FE3-C71F-4C4C-A43F-B47E1BE5F4F0}" presName="childText" presStyleLbl="revTx" presStyleIdx="0" presStyleCnt="2">
        <dgm:presLayoutVars>
          <dgm:bulletEnabled val="1"/>
        </dgm:presLayoutVars>
      </dgm:prSet>
      <dgm:spPr/>
      <dgm:t>
        <a:bodyPr/>
        <a:lstStyle/>
        <a:p>
          <a:endParaRPr lang="en-US"/>
        </a:p>
      </dgm:t>
    </dgm:pt>
    <dgm:pt modelId="{7DD97BAE-EAC2-4850-8714-1433AFC717B2}" type="pres">
      <dgm:prSet presAssocID="{7F1D18F1-8B23-4235-A543-08F4A93B746B}" presName="parentText" presStyleLbl="node1" presStyleIdx="1" presStyleCnt="3">
        <dgm:presLayoutVars>
          <dgm:chMax val="0"/>
          <dgm:bulletEnabled val="1"/>
        </dgm:presLayoutVars>
      </dgm:prSet>
      <dgm:spPr/>
      <dgm:t>
        <a:bodyPr/>
        <a:lstStyle/>
        <a:p>
          <a:endParaRPr lang="en-US"/>
        </a:p>
      </dgm:t>
    </dgm:pt>
    <dgm:pt modelId="{8412941D-9E4E-4B4D-B6F4-E403206E8A34}" type="pres">
      <dgm:prSet presAssocID="{7F1D18F1-8B23-4235-A543-08F4A93B746B}" presName="childText" presStyleLbl="revTx" presStyleIdx="1" presStyleCnt="2">
        <dgm:presLayoutVars>
          <dgm:bulletEnabled val="1"/>
        </dgm:presLayoutVars>
      </dgm:prSet>
      <dgm:spPr/>
      <dgm:t>
        <a:bodyPr/>
        <a:lstStyle/>
        <a:p>
          <a:endParaRPr lang="en-US"/>
        </a:p>
      </dgm:t>
    </dgm:pt>
    <dgm:pt modelId="{EF712673-A540-4F9F-BC25-B893C748A431}" type="pres">
      <dgm:prSet presAssocID="{B4ADA2DC-DEF4-4B51-ADD5-4985139FD9CF}" presName="parentText" presStyleLbl="node1" presStyleIdx="2" presStyleCnt="3">
        <dgm:presLayoutVars>
          <dgm:chMax val="0"/>
          <dgm:bulletEnabled val="1"/>
        </dgm:presLayoutVars>
      </dgm:prSet>
      <dgm:spPr/>
      <dgm:t>
        <a:bodyPr/>
        <a:lstStyle/>
        <a:p>
          <a:endParaRPr lang="en-US"/>
        </a:p>
      </dgm:t>
    </dgm:pt>
  </dgm:ptLst>
  <dgm:cxnLst>
    <dgm:cxn modelId="{5F7ADDD7-1B93-404C-9E9D-894C19E743FB}" srcId="{26662FE3-C71F-4C4C-A43F-B47E1BE5F4F0}" destId="{68A2A66F-A35D-4F3C-9DD8-D249B02C5A61}" srcOrd="3" destOrd="0" parTransId="{B46A8BF2-1791-4B75-9B47-1D69CFF65944}" sibTransId="{BF66EE37-6E21-494F-AEB5-4717EA0F1B2B}"/>
    <dgm:cxn modelId="{50B9CF92-7CDF-4431-A15C-2DF251E32924}" type="presOf" srcId="{7600E356-29F2-4F6C-8915-05C3809547E2}" destId="{C082BCAC-0342-4597-9A96-9A27A55F0322}" srcOrd="0" destOrd="2" presId="urn:microsoft.com/office/officeart/2005/8/layout/vList2"/>
    <dgm:cxn modelId="{D7839AF4-2979-43D9-88A2-045B1E7635DE}" type="presOf" srcId="{B4ADA2DC-DEF4-4B51-ADD5-4985139FD9CF}" destId="{EF712673-A540-4F9F-BC25-B893C748A431}" srcOrd="0" destOrd="0" presId="urn:microsoft.com/office/officeart/2005/8/layout/vList2"/>
    <dgm:cxn modelId="{8F863B78-C330-4647-868E-3B05011CB4F5}" type="presOf" srcId="{D1F6E0DA-BA23-46E4-9EE9-5FF568709259}" destId="{C082BCAC-0342-4597-9A96-9A27A55F0322}" srcOrd="0" destOrd="0" presId="urn:microsoft.com/office/officeart/2005/8/layout/vList2"/>
    <dgm:cxn modelId="{A04C1140-5F34-497E-B0F2-790FABF59064}" srcId="{C61F727B-37F9-4098-AACA-AFAB9EED28C9}" destId="{7F1D18F1-8B23-4235-A543-08F4A93B746B}" srcOrd="1" destOrd="0" parTransId="{4E2AEA81-2931-4388-9CEE-04FBC4738C12}" sibTransId="{D1A27ED9-612A-4370-8E2C-8A5CE2630574}"/>
    <dgm:cxn modelId="{DDCAF03A-7766-4341-96A5-461F99FDAC13}" srcId="{C61F727B-37F9-4098-AACA-AFAB9EED28C9}" destId="{B4ADA2DC-DEF4-4B51-ADD5-4985139FD9CF}" srcOrd="2" destOrd="0" parTransId="{62462F47-FEAB-413E-B1A0-6B1DEE6AF804}" sibTransId="{7C0CACA3-3547-4CD7-9CCB-0470DFB6CD91}"/>
    <dgm:cxn modelId="{79E41EF4-811B-4A0A-ADA5-4BDF47020E37}" srcId="{C61F727B-37F9-4098-AACA-AFAB9EED28C9}" destId="{26662FE3-C71F-4C4C-A43F-B47E1BE5F4F0}" srcOrd="0" destOrd="0" parTransId="{0AC76A07-0289-45A1-9DB6-9CF8E71CA788}" sibTransId="{9B3A28A3-B84D-4F90-8888-3E050B381274}"/>
    <dgm:cxn modelId="{321E4518-1863-43B5-B075-8FA064646985}" type="presOf" srcId="{0AC9F70E-809B-4813-91FE-83D6B2351BF8}" destId="{C082BCAC-0342-4597-9A96-9A27A55F0322}" srcOrd="0" destOrd="1" presId="urn:microsoft.com/office/officeart/2005/8/layout/vList2"/>
    <dgm:cxn modelId="{D9D5791A-C84D-4341-83C6-2A4259BE180A}" srcId="{26662FE3-C71F-4C4C-A43F-B47E1BE5F4F0}" destId="{0AC9F70E-809B-4813-91FE-83D6B2351BF8}" srcOrd="1" destOrd="0" parTransId="{B4AB4343-0E61-4BF3-807D-17A02D004D12}" sibTransId="{94058E03-C232-4F70-83A5-0279D2592F84}"/>
    <dgm:cxn modelId="{FAEA56E8-E0A0-459F-BD7A-985EC8579568}" srcId="{26662FE3-C71F-4C4C-A43F-B47E1BE5F4F0}" destId="{7600E356-29F2-4F6C-8915-05C3809547E2}" srcOrd="2" destOrd="0" parTransId="{715D3C72-71F0-4E66-8AD2-BD8D41F7A815}" sibTransId="{52D743E4-6F11-4436-9D1A-FAD6A613784D}"/>
    <dgm:cxn modelId="{77301CFF-D082-4D37-85AD-9ACABA2EEC51}" type="presOf" srcId="{57A4ACD2-2D6E-4815-8292-1F3C313D7843}" destId="{8412941D-9E4E-4B4D-B6F4-E403206E8A34}" srcOrd="0" destOrd="0" presId="urn:microsoft.com/office/officeart/2005/8/layout/vList2"/>
    <dgm:cxn modelId="{EF1D60B4-9AA3-438C-B8BC-678C704BAEEE}" srcId="{7F1D18F1-8B23-4235-A543-08F4A93B746B}" destId="{57A4ACD2-2D6E-4815-8292-1F3C313D7843}" srcOrd="0" destOrd="0" parTransId="{568815A5-F7BD-41B7-BE33-546385D5C1E4}" sibTransId="{CE703BD1-8F8E-4832-AB60-99CE8CFB25B6}"/>
    <dgm:cxn modelId="{9F30E6F0-4259-4123-AD51-E70ED58A8765}" srcId="{26662FE3-C71F-4C4C-A43F-B47E1BE5F4F0}" destId="{D1F6E0DA-BA23-46E4-9EE9-5FF568709259}" srcOrd="0" destOrd="0" parTransId="{893E530F-DAFB-4628-ADAC-FCFDE6AE97AC}" sibTransId="{50FB4689-D8B3-4A68-B212-A92D4F1A68D0}"/>
    <dgm:cxn modelId="{C4468A59-62C9-4A34-9F93-CBAE18F71C23}" type="presOf" srcId="{7F1D18F1-8B23-4235-A543-08F4A93B746B}" destId="{7DD97BAE-EAC2-4850-8714-1433AFC717B2}" srcOrd="0" destOrd="0" presId="urn:microsoft.com/office/officeart/2005/8/layout/vList2"/>
    <dgm:cxn modelId="{25FB0ADF-3B5F-4E4D-8203-7E6D15FF2F5E}" type="presOf" srcId="{26662FE3-C71F-4C4C-A43F-B47E1BE5F4F0}" destId="{FEFB8D6D-BBA2-4097-9F50-14196B8363F5}" srcOrd="0" destOrd="0" presId="urn:microsoft.com/office/officeart/2005/8/layout/vList2"/>
    <dgm:cxn modelId="{C360A040-7346-4F4B-9F8A-14711492819E}" type="presOf" srcId="{C61F727B-37F9-4098-AACA-AFAB9EED28C9}" destId="{DDAD9C54-BE59-421C-8251-64645596ACAD}" srcOrd="0" destOrd="0" presId="urn:microsoft.com/office/officeart/2005/8/layout/vList2"/>
    <dgm:cxn modelId="{6766C4E0-732F-4646-9CFE-49681B78DA57}" type="presOf" srcId="{68A2A66F-A35D-4F3C-9DD8-D249B02C5A61}" destId="{C082BCAC-0342-4597-9A96-9A27A55F0322}" srcOrd="0" destOrd="3" presId="urn:microsoft.com/office/officeart/2005/8/layout/vList2"/>
    <dgm:cxn modelId="{D4809051-C94F-4A58-A66F-21FC0C529B6B}" type="presParOf" srcId="{DDAD9C54-BE59-421C-8251-64645596ACAD}" destId="{FEFB8D6D-BBA2-4097-9F50-14196B8363F5}" srcOrd="0" destOrd="0" presId="urn:microsoft.com/office/officeart/2005/8/layout/vList2"/>
    <dgm:cxn modelId="{0163E356-F332-4104-A087-7ABACF5E3DDB}" type="presParOf" srcId="{DDAD9C54-BE59-421C-8251-64645596ACAD}" destId="{C082BCAC-0342-4597-9A96-9A27A55F0322}" srcOrd="1" destOrd="0" presId="urn:microsoft.com/office/officeart/2005/8/layout/vList2"/>
    <dgm:cxn modelId="{8E73E30B-927E-4A63-92F9-062C8551DFFB}" type="presParOf" srcId="{DDAD9C54-BE59-421C-8251-64645596ACAD}" destId="{7DD97BAE-EAC2-4850-8714-1433AFC717B2}" srcOrd="2" destOrd="0" presId="urn:microsoft.com/office/officeart/2005/8/layout/vList2"/>
    <dgm:cxn modelId="{03C9844E-CFA2-49E5-B2B6-33B18CB1570E}" type="presParOf" srcId="{DDAD9C54-BE59-421C-8251-64645596ACAD}" destId="{8412941D-9E4E-4B4D-B6F4-E403206E8A34}" srcOrd="3" destOrd="0" presId="urn:microsoft.com/office/officeart/2005/8/layout/vList2"/>
    <dgm:cxn modelId="{3B9C5EDE-D1C8-4818-BFEC-B4E54C047C4C}" type="presParOf" srcId="{DDAD9C54-BE59-421C-8251-64645596ACAD}" destId="{EF712673-A540-4F9F-BC25-B893C748A431}"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A54AD59-CE70-4397-8852-7748AA602766}"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US"/>
        </a:p>
      </dgm:t>
    </dgm:pt>
    <dgm:pt modelId="{7DEFDD2C-5B84-4581-946A-7EBACD0F170A}">
      <dgm:prSet/>
      <dgm:spPr/>
      <dgm:t>
        <a:bodyPr/>
        <a:lstStyle/>
        <a:p>
          <a:pPr rtl="0"/>
          <a:r>
            <a:rPr lang="en-US" dirty="0" smtClean="0"/>
            <a:t>Additional Authentication (MFA) Triggers</a:t>
          </a:r>
          <a:endParaRPr lang="en-US" dirty="0"/>
        </a:p>
      </dgm:t>
    </dgm:pt>
    <dgm:pt modelId="{267DABCE-7E97-40B8-9918-471792A6C759}" type="parTrans" cxnId="{56F4312B-FA53-40DA-9394-274EDF158C9D}">
      <dgm:prSet/>
      <dgm:spPr/>
      <dgm:t>
        <a:bodyPr/>
        <a:lstStyle/>
        <a:p>
          <a:endParaRPr lang="en-US"/>
        </a:p>
      </dgm:t>
    </dgm:pt>
    <dgm:pt modelId="{3376FE2F-C684-4EAF-BD3A-0C79D18C7101}" type="sibTrans" cxnId="{56F4312B-FA53-40DA-9394-274EDF158C9D}">
      <dgm:prSet/>
      <dgm:spPr/>
      <dgm:t>
        <a:bodyPr/>
        <a:lstStyle/>
        <a:p>
          <a:endParaRPr lang="en-US"/>
        </a:p>
      </dgm:t>
    </dgm:pt>
    <dgm:pt modelId="{14C4AB98-68FB-46DE-9443-9D0C3A620912}">
      <dgm:prSet/>
      <dgm:spPr/>
      <dgm:t>
        <a:bodyPr/>
        <a:lstStyle/>
        <a:p>
          <a:pPr rtl="0"/>
          <a:r>
            <a:rPr lang="en-US" smtClean="0"/>
            <a:t>Can be applied only for your sensitive applications</a:t>
          </a:r>
          <a:endParaRPr lang="en-US"/>
        </a:p>
      </dgm:t>
    </dgm:pt>
    <dgm:pt modelId="{32A121B1-906C-48A0-A7CD-F6CFFF9AC1A8}" type="parTrans" cxnId="{1BD8458B-220A-457B-BBFB-7CF933C5C013}">
      <dgm:prSet/>
      <dgm:spPr/>
      <dgm:t>
        <a:bodyPr/>
        <a:lstStyle/>
        <a:p>
          <a:endParaRPr lang="en-US"/>
        </a:p>
      </dgm:t>
    </dgm:pt>
    <dgm:pt modelId="{73F6869B-84BA-4B9E-A47B-1B86E925E695}" type="sibTrans" cxnId="{1BD8458B-220A-457B-BBFB-7CF933C5C013}">
      <dgm:prSet/>
      <dgm:spPr/>
      <dgm:t>
        <a:bodyPr/>
        <a:lstStyle/>
        <a:p>
          <a:endParaRPr lang="en-US"/>
        </a:p>
      </dgm:t>
    </dgm:pt>
    <dgm:pt modelId="{0A8198C4-8BD1-46DF-A38D-095892D53C78}">
      <dgm:prSet/>
      <dgm:spPr/>
      <dgm:t>
        <a:bodyPr/>
        <a:lstStyle/>
        <a:p>
          <a:pPr rtl="0"/>
          <a:r>
            <a:rPr lang="en-US" dirty="0" smtClean="0"/>
            <a:t>Policy can be triggered based on user, device &amp; location context. </a:t>
          </a:r>
          <a:r>
            <a:rPr lang="en-US" i="1" dirty="0" smtClean="0">
              <a:solidFill>
                <a:srgbClr val="FFC000"/>
              </a:solidFill>
            </a:rPr>
            <a:t>“Only trigger additional authentication if…”</a:t>
          </a:r>
          <a:endParaRPr lang="en-US" dirty="0">
            <a:solidFill>
              <a:srgbClr val="FFC000"/>
            </a:solidFill>
          </a:endParaRPr>
        </a:p>
      </dgm:t>
    </dgm:pt>
    <dgm:pt modelId="{45094AF4-9880-457F-B8FD-9E914CA76CC5}" type="parTrans" cxnId="{04B181C4-7347-44EA-B4B5-E131622FA09E}">
      <dgm:prSet/>
      <dgm:spPr/>
      <dgm:t>
        <a:bodyPr/>
        <a:lstStyle/>
        <a:p>
          <a:endParaRPr lang="en-US"/>
        </a:p>
      </dgm:t>
    </dgm:pt>
    <dgm:pt modelId="{6C8D35AE-C2A4-4F0F-9277-8605DDF93610}" type="sibTrans" cxnId="{04B181C4-7347-44EA-B4B5-E131622FA09E}">
      <dgm:prSet/>
      <dgm:spPr/>
      <dgm:t>
        <a:bodyPr/>
        <a:lstStyle/>
        <a:p>
          <a:endParaRPr lang="en-US"/>
        </a:p>
      </dgm:t>
    </dgm:pt>
    <dgm:pt modelId="{3CAB57A1-FBED-4EA0-B1E3-53B784B6D807}">
      <dgm:prSet/>
      <dgm:spPr/>
      <dgm:t>
        <a:bodyPr/>
        <a:lstStyle/>
        <a:p>
          <a:pPr rtl="0"/>
          <a:r>
            <a:rPr lang="en-US" i="1" dirty="0" smtClean="0">
              <a:solidFill>
                <a:srgbClr val="FFC000"/>
              </a:solidFill>
            </a:rPr>
            <a:t>“…my users are coming from the extranet”</a:t>
          </a:r>
          <a:endParaRPr lang="en-US" dirty="0">
            <a:solidFill>
              <a:srgbClr val="FFC000"/>
            </a:solidFill>
          </a:endParaRPr>
        </a:p>
      </dgm:t>
    </dgm:pt>
    <dgm:pt modelId="{68B845CA-DB6E-4B2D-90E2-73F248B8A06E}" type="parTrans" cxnId="{3AF50B47-E985-468F-BF1F-C08AC1FF2C3A}">
      <dgm:prSet/>
      <dgm:spPr/>
      <dgm:t>
        <a:bodyPr/>
        <a:lstStyle/>
        <a:p>
          <a:endParaRPr lang="en-US"/>
        </a:p>
      </dgm:t>
    </dgm:pt>
    <dgm:pt modelId="{87BFACBE-0D51-4EFF-A4D4-A9DD718E2F1F}" type="sibTrans" cxnId="{3AF50B47-E985-468F-BF1F-C08AC1FF2C3A}">
      <dgm:prSet/>
      <dgm:spPr/>
      <dgm:t>
        <a:bodyPr/>
        <a:lstStyle/>
        <a:p>
          <a:endParaRPr lang="en-US"/>
        </a:p>
      </dgm:t>
    </dgm:pt>
    <dgm:pt modelId="{F2E5C2C3-BC08-49CF-90E6-DD86F5D447C4}">
      <dgm:prSet/>
      <dgm:spPr/>
      <dgm:t>
        <a:bodyPr/>
        <a:lstStyle/>
        <a:p>
          <a:pPr rtl="0"/>
          <a:r>
            <a:rPr lang="en-US" i="1" dirty="0" smtClean="0">
              <a:solidFill>
                <a:srgbClr val="FFC000"/>
              </a:solidFill>
            </a:rPr>
            <a:t>“…the user is part of the application administrators group”</a:t>
          </a:r>
          <a:endParaRPr lang="en-US" dirty="0">
            <a:solidFill>
              <a:srgbClr val="FFC000"/>
            </a:solidFill>
          </a:endParaRPr>
        </a:p>
      </dgm:t>
    </dgm:pt>
    <dgm:pt modelId="{907F2E5F-0BC8-4A42-A81C-5DFA75AFA14A}" type="parTrans" cxnId="{BD42447C-7B56-4371-8BC6-864E8A554124}">
      <dgm:prSet/>
      <dgm:spPr/>
      <dgm:t>
        <a:bodyPr/>
        <a:lstStyle/>
        <a:p>
          <a:endParaRPr lang="en-US"/>
        </a:p>
      </dgm:t>
    </dgm:pt>
    <dgm:pt modelId="{140FF2A0-A44B-462D-8A75-56A0208603F1}" type="sibTrans" cxnId="{BD42447C-7B56-4371-8BC6-864E8A554124}">
      <dgm:prSet/>
      <dgm:spPr/>
      <dgm:t>
        <a:bodyPr/>
        <a:lstStyle/>
        <a:p>
          <a:endParaRPr lang="en-US"/>
        </a:p>
      </dgm:t>
    </dgm:pt>
    <dgm:pt modelId="{401430C2-16FA-4ED6-AE7C-244AF73A0E68}">
      <dgm:prSet/>
      <dgm:spPr/>
      <dgm:t>
        <a:bodyPr/>
        <a:lstStyle/>
        <a:p>
          <a:pPr rtl="0"/>
          <a:r>
            <a:rPr lang="en-US" i="1" dirty="0" smtClean="0">
              <a:solidFill>
                <a:srgbClr val="FFC000"/>
              </a:solidFill>
            </a:rPr>
            <a:t>“…the user is accessing from a non workplace joined device”</a:t>
          </a:r>
          <a:endParaRPr lang="en-US" dirty="0">
            <a:solidFill>
              <a:srgbClr val="FFC000"/>
            </a:solidFill>
          </a:endParaRPr>
        </a:p>
      </dgm:t>
    </dgm:pt>
    <dgm:pt modelId="{273524C1-78F6-4A32-8041-BAA6BC01497D}" type="parTrans" cxnId="{38217E72-5478-47C8-BC1A-B4483FDC8397}">
      <dgm:prSet/>
      <dgm:spPr/>
      <dgm:t>
        <a:bodyPr/>
        <a:lstStyle/>
        <a:p>
          <a:endParaRPr lang="en-US"/>
        </a:p>
      </dgm:t>
    </dgm:pt>
    <dgm:pt modelId="{745C1126-6F26-4C08-BC13-0DFA34036311}" type="sibTrans" cxnId="{38217E72-5478-47C8-BC1A-B4483FDC8397}">
      <dgm:prSet/>
      <dgm:spPr/>
      <dgm:t>
        <a:bodyPr/>
        <a:lstStyle/>
        <a:p>
          <a:endParaRPr lang="en-US"/>
        </a:p>
      </dgm:t>
    </dgm:pt>
    <dgm:pt modelId="{CAC42265-0C90-4337-9EC7-50358E371D5D}">
      <dgm:prSet/>
      <dgm:spPr/>
      <dgm:t>
        <a:bodyPr/>
        <a:lstStyle/>
        <a:p>
          <a:pPr rtl="0"/>
          <a:r>
            <a:rPr lang="en-US" dirty="0" smtClean="0"/>
            <a:t>Can also be applied for all applications to support broad organization policies</a:t>
          </a:r>
          <a:endParaRPr lang="en-US" dirty="0"/>
        </a:p>
      </dgm:t>
    </dgm:pt>
    <dgm:pt modelId="{CDA83E86-2072-4CFC-B0DB-C64635B035B2}" type="parTrans" cxnId="{64F5A593-999E-426D-BB13-9C4DD0898CBA}">
      <dgm:prSet/>
      <dgm:spPr/>
      <dgm:t>
        <a:bodyPr/>
        <a:lstStyle/>
        <a:p>
          <a:endParaRPr lang="en-US"/>
        </a:p>
      </dgm:t>
    </dgm:pt>
    <dgm:pt modelId="{D97C6305-CBC6-4B7A-A2E0-3013420A1FA7}" type="sibTrans" cxnId="{64F5A593-999E-426D-BB13-9C4DD0898CBA}">
      <dgm:prSet/>
      <dgm:spPr/>
      <dgm:t>
        <a:bodyPr/>
        <a:lstStyle/>
        <a:p>
          <a:endParaRPr lang="en-US"/>
        </a:p>
      </dgm:t>
    </dgm:pt>
    <dgm:pt modelId="{768DA01F-C996-4624-9ACF-78011B9AF53B}">
      <dgm:prSet/>
      <dgm:spPr/>
      <dgm:t>
        <a:bodyPr/>
        <a:lstStyle/>
        <a:p>
          <a:pPr rtl="0"/>
          <a:r>
            <a:rPr lang="en-US" smtClean="0"/>
            <a:t>In-Box Support for X509 Certificate Authentication (e.g. “Smart Cards”) </a:t>
          </a:r>
          <a:endParaRPr lang="en-US"/>
        </a:p>
      </dgm:t>
    </dgm:pt>
    <dgm:pt modelId="{7AA6C281-6466-4165-8109-9D762EE86FEE}" type="parTrans" cxnId="{BDF5F79D-AF0E-4CC1-A9FD-6B822937DD89}">
      <dgm:prSet/>
      <dgm:spPr/>
      <dgm:t>
        <a:bodyPr/>
        <a:lstStyle/>
        <a:p>
          <a:endParaRPr lang="en-US"/>
        </a:p>
      </dgm:t>
    </dgm:pt>
    <dgm:pt modelId="{6D0B8148-FF50-49B5-B24E-51391063CC65}" type="sibTrans" cxnId="{BDF5F79D-AF0E-4CC1-A9FD-6B822937DD89}">
      <dgm:prSet/>
      <dgm:spPr/>
      <dgm:t>
        <a:bodyPr/>
        <a:lstStyle/>
        <a:p>
          <a:endParaRPr lang="en-US"/>
        </a:p>
      </dgm:t>
    </dgm:pt>
    <dgm:pt modelId="{5ECEED8A-6B42-4E04-AB15-B3B8C3D030AD}" type="pres">
      <dgm:prSet presAssocID="{0A54AD59-CE70-4397-8852-7748AA602766}" presName="linear" presStyleCnt="0">
        <dgm:presLayoutVars>
          <dgm:animLvl val="lvl"/>
          <dgm:resizeHandles val="exact"/>
        </dgm:presLayoutVars>
      </dgm:prSet>
      <dgm:spPr/>
      <dgm:t>
        <a:bodyPr/>
        <a:lstStyle/>
        <a:p>
          <a:endParaRPr lang="en-US"/>
        </a:p>
      </dgm:t>
    </dgm:pt>
    <dgm:pt modelId="{37B15F2B-2568-4989-9B60-65E144D89CAA}" type="pres">
      <dgm:prSet presAssocID="{7DEFDD2C-5B84-4581-946A-7EBACD0F170A}" presName="parentText" presStyleLbl="node1" presStyleIdx="0" presStyleCnt="1">
        <dgm:presLayoutVars>
          <dgm:chMax val="0"/>
          <dgm:bulletEnabled val="1"/>
        </dgm:presLayoutVars>
      </dgm:prSet>
      <dgm:spPr/>
      <dgm:t>
        <a:bodyPr/>
        <a:lstStyle/>
        <a:p>
          <a:endParaRPr lang="en-US"/>
        </a:p>
      </dgm:t>
    </dgm:pt>
    <dgm:pt modelId="{71B2571F-BA7E-43DE-872F-32D2AAF32CDB}" type="pres">
      <dgm:prSet presAssocID="{7DEFDD2C-5B84-4581-946A-7EBACD0F170A}" presName="childText" presStyleLbl="revTx" presStyleIdx="0" presStyleCnt="1">
        <dgm:presLayoutVars>
          <dgm:bulletEnabled val="1"/>
        </dgm:presLayoutVars>
      </dgm:prSet>
      <dgm:spPr/>
      <dgm:t>
        <a:bodyPr/>
        <a:lstStyle/>
        <a:p>
          <a:endParaRPr lang="en-US"/>
        </a:p>
      </dgm:t>
    </dgm:pt>
  </dgm:ptLst>
  <dgm:cxnLst>
    <dgm:cxn modelId="{E6CB1146-AEC9-4A62-84FD-62277D09D270}" type="presOf" srcId="{F2E5C2C3-BC08-49CF-90E6-DD86F5D447C4}" destId="{71B2571F-BA7E-43DE-872F-32D2AAF32CDB}" srcOrd="0" destOrd="3" presId="urn:microsoft.com/office/officeart/2005/8/layout/vList2"/>
    <dgm:cxn modelId="{1FCBC019-7C66-4CF4-B5D0-B32FBC3F84D6}" type="presOf" srcId="{401430C2-16FA-4ED6-AE7C-244AF73A0E68}" destId="{71B2571F-BA7E-43DE-872F-32D2AAF32CDB}" srcOrd="0" destOrd="4" presId="urn:microsoft.com/office/officeart/2005/8/layout/vList2"/>
    <dgm:cxn modelId="{38217E72-5478-47C8-BC1A-B4483FDC8397}" srcId="{0A8198C4-8BD1-46DF-A38D-095892D53C78}" destId="{401430C2-16FA-4ED6-AE7C-244AF73A0E68}" srcOrd="2" destOrd="0" parTransId="{273524C1-78F6-4A32-8041-BAA6BC01497D}" sibTransId="{745C1126-6F26-4C08-BC13-0DFA34036311}"/>
    <dgm:cxn modelId="{BDF5F79D-AF0E-4CC1-A9FD-6B822937DD89}" srcId="{7DEFDD2C-5B84-4581-946A-7EBACD0F170A}" destId="{768DA01F-C996-4624-9ACF-78011B9AF53B}" srcOrd="3" destOrd="0" parTransId="{7AA6C281-6466-4165-8109-9D762EE86FEE}" sibTransId="{6D0B8148-FF50-49B5-B24E-51391063CC65}"/>
    <dgm:cxn modelId="{DEA3C8A0-6734-4F08-88D2-2B9CC495C9BD}" type="presOf" srcId="{3CAB57A1-FBED-4EA0-B1E3-53B784B6D807}" destId="{71B2571F-BA7E-43DE-872F-32D2AAF32CDB}" srcOrd="0" destOrd="2" presId="urn:microsoft.com/office/officeart/2005/8/layout/vList2"/>
    <dgm:cxn modelId="{56F4312B-FA53-40DA-9394-274EDF158C9D}" srcId="{0A54AD59-CE70-4397-8852-7748AA602766}" destId="{7DEFDD2C-5B84-4581-946A-7EBACD0F170A}" srcOrd="0" destOrd="0" parTransId="{267DABCE-7E97-40B8-9918-471792A6C759}" sibTransId="{3376FE2F-C684-4EAF-BD3A-0C79D18C7101}"/>
    <dgm:cxn modelId="{6E31A8BE-E1EC-4962-8FFA-B00C70A93E0B}" type="presOf" srcId="{CAC42265-0C90-4337-9EC7-50358E371D5D}" destId="{71B2571F-BA7E-43DE-872F-32D2AAF32CDB}" srcOrd="0" destOrd="5" presId="urn:microsoft.com/office/officeart/2005/8/layout/vList2"/>
    <dgm:cxn modelId="{1BD8458B-220A-457B-BBFB-7CF933C5C013}" srcId="{7DEFDD2C-5B84-4581-946A-7EBACD0F170A}" destId="{14C4AB98-68FB-46DE-9443-9D0C3A620912}" srcOrd="0" destOrd="0" parTransId="{32A121B1-906C-48A0-A7CD-F6CFFF9AC1A8}" sibTransId="{73F6869B-84BA-4B9E-A47B-1B86E925E695}"/>
    <dgm:cxn modelId="{3AF50B47-E985-468F-BF1F-C08AC1FF2C3A}" srcId="{0A8198C4-8BD1-46DF-A38D-095892D53C78}" destId="{3CAB57A1-FBED-4EA0-B1E3-53B784B6D807}" srcOrd="0" destOrd="0" parTransId="{68B845CA-DB6E-4B2D-90E2-73F248B8A06E}" sibTransId="{87BFACBE-0D51-4EFF-A4D4-A9DD718E2F1F}"/>
    <dgm:cxn modelId="{BD42447C-7B56-4371-8BC6-864E8A554124}" srcId="{0A8198C4-8BD1-46DF-A38D-095892D53C78}" destId="{F2E5C2C3-BC08-49CF-90E6-DD86F5D447C4}" srcOrd="1" destOrd="0" parTransId="{907F2E5F-0BC8-4A42-A81C-5DFA75AFA14A}" sibTransId="{140FF2A0-A44B-462D-8A75-56A0208603F1}"/>
    <dgm:cxn modelId="{64F5A593-999E-426D-BB13-9C4DD0898CBA}" srcId="{7DEFDD2C-5B84-4581-946A-7EBACD0F170A}" destId="{CAC42265-0C90-4337-9EC7-50358E371D5D}" srcOrd="2" destOrd="0" parTransId="{CDA83E86-2072-4CFC-B0DB-C64635B035B2}" sibTransId="{D97C6305-CBC6-4B7A-A2E0-3013420A1FA7}"/>
    <dgm:cxn modelId="{7D3731FC-A2FE-45BC-8DC6-B4A867D1EEA5}" type="presOf" srcId="{14C4AB98-68FB-46DE-9443-9D0C3A620912}" destId="{71B2571F-BA7E-43DE-872F-32D2AAF32CDB}" srcOrd="0" destOrd="0" presId="urn:microsoft.com/office/officeart/2005/8/layout/vList2"/>
    <dgm:cxn modelId="{6FF77A63-8ABB-4EB0-8B97-24B0CEEC33A7}" type="presOf" srcId="{0A8198C4-8BD1-46DF-A38D-095892D53C78}" destId="{71B2571F-BA7E-43DE-872F-32D2AAF32CDB}" srcOrd="0" destOrd="1" presId="urn:microsoft.com/office/officeart/2005/8/layout/vList2"/>
    <dgm:cxn modelId="{04B181C4-7347-44EA-B4B5-E131622FA09E}" srcId="{7DEFDD2C-5B84-4581-946A-7EBACD0F170A}" destId="{0A8198C4-8BD1-46DF-A38D-095892D53C78}" srcOrd="1" destOrd="0" parTransId="{45094AF4-9880-457F-B8FD-9E914CA76CC5}" sibTransId="{6C8D35AE-C2A4-4F0F-9277-8605DDF93610}"/>
    <dgm:cxn modelId="{ADD0EB35-357C-47D4-9191-170430504E54}" type="presOf" srcId="{768DA01F-C996-4624-9ACF-78011B9AF53B}" destId="{71B2571F-BA7E-43DE-872F-32D2AAF32CDB}" srcOrd="0" destOrd="6" presId="urn:microsoft.com/office/officeart/2005/8/layout/vList2"/>
    <dgm:cxn modelId="{DA3E81D6-2A43-429D-9FC3-29F5D07CFD41}" type="presOf" srcId="{7DEFDD2C-5B84-4581-946A-7EBACD0F170A}" destId="{37B15F2B-2568-4989-9B60-65E144D89CAA}" srcOrd="0" destOrd="0" presId="urn:microsoft.com/office/officeart/2005/8/layout/vList2"/>
    <dgm:cxn modelId="{48C0C159-4FA6-48BE-9FE3-39B1C444F58C}" type="presOf" srcId="{0A54AD59-CE70-4397-8852-7748AA602766}" destId="{5ECEED8A-6B42-4E04-AB15-B3B8C3D030AD}" srcOrd="0" destOrd="0" presId="urn:microsoft.com/office/officeart/2005/8/layout/vList2"/>
    <dgm:cxn modelId="{37F0879E-9D23-4428-86AC-EE69CDDE62CA}" type="presParOf" srcId="{5ECEED8A-6B42-4E04-AB15-B3B8C3D030AD}" destId="{37B15F2B-2568-4989-9B60-65E144D89CAA}" srcOrd="0" destOrd="0" presId="urn:microsoft.com/office/officeart/2005/8/layout/vList2"/>
    <dgm:cxn modelId="{6F57E0A8-D2AC-4F85-8BA4-6BD8DC30AE7D}" type="presParOf" srcId="{5ECEED8A-6B42-4E04-AB15-B3B8C3D030AD}" destId="{71B2571F-BA7E-43DE-872F-32D2AAF32CD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AB77EAA-EADD-4F79-8D23-B831238B260D}"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US"/>
        </a:p>
      </dgm:t>
    </dgm:pt>
    <dgm:pt modelId="{577B4E97-1484-4E97-A7E5-E537D741188D}">
      <dgm:prSet/>
      <dgm:spPr/>
      <dgm:t>
        <a:bodyPr/>
        <a:lstStyle/>
        <a:p>
          <a:pPr rtl="0"/>
          <a:r>
            <a:rPr lang="en-US" dirty="0" smtClean="0"/>
            <a:t>Extensible Additional Authentication</a:t>
          </a:r>
          <a:endParaRPr lang="en-US" dirty="0"/>
        </a:p>
      </dgm:t>
    </dgm:pt>
    <dgm:pt modelId="{2F85E0A9-A18D-4F77-8DEC-C0D2EB46D524}" type="parTrans" cxnId="{699577B6-0EB6-451F-901F-1799B6177DCB}">
      <dgm:prSet/>
      <dgm:spPr/>
      <dgm:t>
        <a:bodyPr/>
        <a:lstStyle/>
        <a:p>
          <a:endParaRPr lang="en-US"/>
        </a:p>
      </dgm:t>
    </dgm:pt>
    <dgm:pt modelId="{349C1EDE-296F-4433-8BA5-425146181B73}" type="sibTrans" cxnId="{699577B6-0EB6-451F-901F-1799B6177DCB}">
      <dgm:prSet/>
      <dgm:spPr/>
      <dgm:t>
        <a:bodyPr/>
        <a:lstStyle/>
        <a:p>
          <a:endParaRPr lang="en-US"/>
        </a:p>
      </dgm:t>
    </dgm:pt>
    <dgm:pt modelId="{4C9239EC-0ED2-411F-8F42-0C67FDDD37E7}">
      <dgm:prSet/>
      <dgm:spPr/>
      <dgm:t>
        <a:bodyPr/>
        <a:lstStyle/>
        <a:p>
          <a:pPr rtl="0"/>
          <a:r>
            <a:rPr lang="en-US" smtClean="0"/>
            <a:t>Framework to support web credential collection from any 3</a:t>
          </a:r>
          <a:r>
            <a:rPr lang="en-US" baseline="30000" smtClean="0"/>
            <a:t>rd</a:t>
          </a:r>
          <a:r>
            <a:rPr lang="en-US" smtClean="0"/>
            <a:t> party MFA provider (e.g. Phone based or OTP based MFA systems)</a:t>
          </a:r>
          <a:endParaRPr lang="en-US"/>
        </a:p>
      </dgm:t>
    </dgm:pt>
    <dgm:pt modelId="{83ED126B-B8D6-487F-8F2A-9C6DF93B35A2}" type="parTrans" cxnId="{A1CC3F55-DCBD-4FA0-A591-44C754555BB1}">
      <dgm:prSet/>
      <dgm:spPr/>
      <dgm:t>
        <a:bodyPr/>
        <a:lstStyle/>
        <a:p>
          <a:endParaRPr lang="en-US"/>
        </a:p>
      </dgm:t>
    </dgm:pt>
    <dgm:pt modelId="{9A327A54-FC0D-4EC0-808D-9BD3F112BEE1}" type="sibTrans" cxnId="{A1CC3F55-DCBD-4FA0-A591-44C754555BB1}">
      <dgm:prSet/>
      <dgm:spPr/>
      <dgm:t>
        <a:bodyPr/>
        <a:lstStyle/>
        <a:p>
          <a:endParaRPr lang="en-US"/>
        </a:p>
      </dgm:t>
    </dgm:pt>
    <dgm:pt modelId="{C80B8A69-B263-4FF8-8668-7BCF587D5ACB}">
      <dgm:prSet/>
      <dgm:spPr/>
      <dgm:t>
        <a:bodyPr/>
        <a:lstStyle/>
        <a:p>
          <a:pPr rtl="0"/>
          <a:r>
            <a:rPr lang="en-US" dirty="0" smtClean="0"/>
            <a:t>Supports challenge response interaction</a:t>
          </a:r>
          <a:endParaRPr lang="en-US" dirty="0"/>
        </a:p>
      </dgm:t>
    </dgm:pt>
    <dgm:pt modelId="{EEA5FD48-6FB8-4CE6-B1DB-C71AD8E8FBFB}" type="parTrans" cxnId="{AC5C4029-73E6-4A32-8F2A-4ABCB5867D15}">
      <dgm:prSet/>
      <dgm:spPr/>
      <dgm:t>
        <a:bodyPr/>
        <a:lstStyle/>
        <a:p>
          <a:endParaRPr lang="en-US"/>
        </a:p>
      </dgm:t>
    </dgm:pt>
    <dgm:pt modelId="{03E07420-62EC-4819-BA71-1C4D90CFE7D6}" type="sibTrans" cxnId="{AC5C4029-73E6-4A32-8F2A-4ABCB5867D15}">
      <dgm:prSet/>
      <dgm:spPr/>
      <dgm:t>
        <a:bodyPr/>
        <a:lstStyle/>
        <a:p>
          <a:endParaRPr lang="en-US"/>
        </a:p>
      </dgm:t>
    </dgm:pt>
    <dgm:pt modelId="{813E7C0C-988A-4994-9298-EDF96BBE75B8}">
      <dgm:prSet/>
      <dgm:spPr/>
      <dgm:t>
        <a:bodyPr/>
        <a:lstStyle/>
        <a:p>
          <a:pPr rtl="0"/>
          <a:r>
            <a:rPr lang="en-US" dirty="0" smtClean="0"/>
            <a:t>Sign-in experience is consistent with the rest of ADFS sign-in pages</a:t>
          </a:r>
          <a:endParaRPr lang="en-US" dirty="0"/>
        </a:p>
      </dgm:t>
    </dgm:pt>
    <dgm:pt modelId="{E1921B8E-C887-45C4-80F6-B12F30E8A555}" type="parTrans" cxnId="{034083FA-D62A-4A26-9095-D178CE27605C}">
      <dgm:prSet/>
      <dgm:spPr/>
      <dgm:t>
        <a:bodyPr/>
        <a:lstStyle/>
        <a:p>
          <a:endParaRPr lang="en-US"/>
        </a:p>
      </dgm:t>
    </dgm:pt>
    <dgm:pt modelId="{CEFFEF7A-053C-4FF3-A9B2-9A18E20A6D26}" type="sibTrans" cxnId="{034083FA-D62A-4A26-9095-D178CE27605C}">
      <dgm:prSet/>
      <dgm:spPr/>
      <dgm:t>
        <a:bodyPr/>
        <a:lstStyle/>
        <a:p>
          <a:endParaRPr lang="en-US"/>
        </a:p>
      </dgm:t>
    </dgm:pt>
    <dgm:pt modelId="{F1C23155-6AA0-4EF0-92E6-5A04715E2740}">
      <dgm:prSet/>
      <dgm:spPr/>
      <dgm:t>
        <a:bodyPr/>
        <a:lstStyle/>
        <a:p>
          <a:pPr rtl="0"/>
          <a:r>
            <a:rPr lang="en-US" dirty="0" smtClean="0"/>
            <a:t>3</a:t>
          </a:r>
          <a:r>
            <a:rPr lang="en-US" baseline="30000" dirty="0" smtClean="0"/>
            <a:t>rd</a:t>
          </a:r>
          <a:r>
            <a:rPr lang="en-US" dirty="0" smtClean="0"/>
            <a:t> party MFA providers can add provide additional data to the Authentication Context</a:t>
          </a:r>
          <a:endParaRPr lang="en-US" dirty="0"/>
        </a:p>
      </dgm:t>
    </dgm:pt>
    <dgm:pt modelId="{7EEC54C2-8879-4557-B80C-B80AA6831C42}" type="parTrans" cxnId="{65D5171F-0C5D-4190-B662-FC55797065E0}">
      <dgm:prSet/>
      <dgm:spPr/>
      <dgm:t>
        <a:bodyPr/>
        <a:lstStyle/>
        <a:p>
          <a:endParaRPr lang="en-US"/>
        </a:p>
      </dgm:t>
    </dgm:pt>
    <dgm:pt modelId="{52A6A5A8-C8AF-470B-8106-6C36408266E0}" type="sibTrans" cxnId="{65D5171F-0C5D-4190-B662-FC55797065E0}">
      <dgm:prSet/>
      <dgm:spPr/>
      <dgm:t>
        <a:bodyPr/>
        <a:lstStyle/>
        <a:p>
          <a:endParaRPr lang="en-US"/>
        </a:p>
      </dgm:t>
    </dgm:pt>
    <dgm:pt modelId="{9FAAA8F0-04FC-41B7-84AB-77251E554FAA}" type="pres">
      <dgm:prSet presAssocID="{DAB77EAA-EADD-4F79-8D23-B831238B260D}" presName="linear" presStyleCnt="0">
        <dgm:presLayoutVars>
          <dgm:animLvl val="lvl"/>
          <dgm:resizeHandles val="exact"/>
        </dgm:presLayoutVars>
      </dgm:prSet>
      <dgm:spPr/>
      <dgm:t>
        <a:bodyPr/>
        <a:lstStyle/>
        <a:p>
          <a:endParaRPr lang="en-US"/>
        </a:p>
      </dgm:t>
    </dgm:pt>
    <dgm:pt modelId="{413625C3-41AB-4046-9C5D-ED00CE072799}" type="pres">
      <dgm:prSet presAssocID="{577B4E97-1484-4E97-A7E5-E537D741188D}" presName="parentText" presStyleLbl="node1" presStyleIdx="0" presStyleCnt="1">
        <dgm:presLayoutVars>
          <dgm:chMax val="0"/>
          <dgm:bulletEnabled val="1"/>
        </dgm:presLayoutVars>
      </dgm:prSet>
      <dgm:spPr/>
      <dgm:t>
        <a:bodyPr/>
        <a:lstStyle/>
        <a:p>
          <a:endParaRPr lang="en-US"/>
        </a:p>
      </dgm:t>
    </dgm:pt>
    <dgm:pt modelId="{700A3B2E-E6FE-4BB4-B8F4-296440A820C0}" type="pres">
      <dgm:prSet presAssocID="{577B4E97-1484-4E97-A7E5-E537D741188D}" presName="childText" presStyleLbl="revTx" presStyleIdx="0" presStyleCnt="1">
        <dgm:presLayoutVars>
          <dgm:bulletEnabled val="1"/>
        </dgm:presLayoutVars>
      </dgm:prSet>
      <dgm:spPr/>
      <dgm:t>
        <a:bodyPr/>
        <a:lstStyle/>
        <a:p>
          <a:endParaRPr lang="en-US"/>
        </a:p>
      </dgm:t>
    </dgm:pt>
  </dgm:ptLst>
  <dgm:cxnLst>
    <dgm:cxn modelId="{034083FA-D62A-4A26-9095-D178CE27605C}" srcId="{577B4E97-1484-4E97-A7E5-E537D741188D}" destId="{813E7C0C-988A-4994-9298-EDF96BBE75B8}" srcOrd="2" destOrd="0" parTransId="{E1921B8E-C887-45C4-80F6-B12F30E8A555}" sibTransId="{CEFFEF7A-053C-4FF3-A9B2-9A18E20A6D26}"/>
    <dgm:cxn modelId="{AC5C4029-73E6-4A32-8F2A-4ABCB5867D15}" srcId="{577B4E97-1484-4E97-A7E5-E537D741188D}" destId="{C80B8A69-B263-4FF8-8668-7BCF587D5ACB}" srcOrd="1" destOrd="0" parTransId="{EEA5FD48-6FB8-4CE6-B1DB-C71AD8E8FBFB}" sibTransId="{03E07420-62EC-4819-BA71-1C4D90CFE7D6}"/>
    <dgm:cxn modelId="{65D5171F-0C5D-4190-B662-FC55797065E0}" srcId="{577B4E97-1484-4E97-A7E5-E537D741188D}" destId="{F1C23155-6AA0-4EF0-92E6-5A04715E2740}" srcOrd="3" destOrd="0" parTransId="{7EEC54C2-8879-4557-B80C-B80AA6831C42}" sibTransId="{52A6A5A8-C8AF-470B-8106-6C36408266E0}"/>
    <dgm:cxn modelId="{B735B87B-342D-4418-BBBF-3BD3AF9A7DB2}" type="presOf" srcId="{813E7C0C-988A-4994-9298-EDF96BBE75B8}" destId="{700A3B2E-E6FE-4BB4-B8F4-296440A820C0}" srcOrd="0" destOrd="2" presId="urn:microsoft.com/office/officeart/2005/8/layout/vList2"/>
    <dgm:cxn modelId="{19663667-D9A3-438C-A8F6-22EB25E7C0E8}" type="presOf" srcId="{577B4E97-1484-4E97-A7E5-E537D741188D}" destId="{413625C3-41AB-4046-9C5D-ED00CE072799}" srcOrd="0" destOrd="0" presId="urn:microsoft.com/office/officeart/2005/8/layout/vList2"/>
    <dgm:cxn modelId="{A82F7BB9-CE67-4B31-8121-551E940F4D21}" type="presOf" srcId="{DAB77EAA-EADD-4F79-8D23-B831238B260D}" destId="{9FAAA8F0-04FC-41B7-84AB-77251E554FAA}" srcOrd="0" destOrd="0" presId="urn:microsoft.com/office/officeart/2005/8/layout/vList2"/>
    <dgm:cxn modelId="{DA1AEF57-4B92-46B0-A570-33370C04DE58}" type="presOf" srcId="{F1C23155-6AA0-4EF0-92E6-5A04715E2740}" destId="{700A3B2E-E6FE-4BB4-B8F4-296440A820C0}" srcOrd="0" destOrd="3" presId="urn:microsoft.com/office/officeart/2005/8/layout/vList2"/>
    <dgm:cxn modelId="{99F45D89-1679-4DD1-A23B-39D4F80F23C6}" type="presOf" srcId="{4C9239EC-0ED2-411F-8F42-0C67FDDD37E7}" destId="{700A3B2E-E6FE-4BB4-B8F4-296440A820C0}" srcOrd="0" destOrd="0" presId="urn:microsoft.com/office/officeart/2005/8/layout/vList2"/>
    <dgm:cxn modelId="{C3FD4DB7-CB81-4FB7-AA56-17E07B532B93}" type="presOf" srcId="{C80B8A69-B263-4FF8-8668-7BCF587D5ACB}" destId="{700A3B2E-E6FE-4BB4-B8F4-296440A820C0}" srcOrd="0" destOrd="1" presId="urn:microsoft.com/office/officeart/2005/8/layout/vList2"/>
    <dgm:cxn modelId="{699577B6-0EB6-451F-901F-1799B6177DCB}" srcId="{DAB77EAA-EADD-4F79-8D23-B831238B260D}" destId="{577B4E97-1484-4E97-A7E5-E537D741188D}" srcOrd="0" destOrd="0" parTransId="{2F85E0A9-A18D-4F77-8DEC-C0D2EB46D524}" sibTransId="{349C1EDE-296F-4433-8BA5-425146181B73}"/>
    <dgm:cxn modelId="{A1CC3F55-DCBD-4FA0-A591-44C754555BB1}" srcId="{577B4E97-1484-4E97-A7E5-E537D741188D}" destId="{4C9239EC-0ED2-411F-8F42-0C67FDDD37E7}" srcOrd="0" destOrd="0" parTransId="{83ED126B-B8D6-487F-8F2A-9C6DF93B35A2}" sibTransId="{9A327A54-FC0D-4EC0-808D-9BD3F112BEE1}"/>
    <dgm:cxn modelId="{893C2C02-3780-41F5-A464-69D6E6DF3202}" type="presParOf" srcId="{9FAAA8F0-04FC-41B7-84AB-77251E554FAA}" destId="{413625C3-41AB-4046-9C5D-ED00CE072799}" srcOrd="0" destOrd="0" presId="urn:microsoft.com/office/officeart/2005/8/layout/vList2"/>
    <dgm:cxn modelId="{B087A2BE-D940-4E57-9A49-E14357764CE6}" type="presParOf" srcId="{9FAAA8F0-04FC-41B7-84AB-77251E554FAA}" destId="{700A3B2E-E6FE-4BB4-B8F4-296440A820C0}"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B391B4-CAC1-41EF-92CB-655C9B5D9AD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CF30FFB-8C23-4DBC-A389-A0DEEC97973E}">
      <dgm:prSet/>
      <dgm:spPr/>
      <dgm:t>
        <a:bodyPr/>
        <a:lstStyle/>
        <a:p>
          <a:pPr rtl="0"/>
          <a:r>
            <a:rPr lang="en-US" dirty="0" smtClean="0"/>
            <a:t>Per-application Authorization policies </a:t>
          </a:r>
          <a:endParaRPr lang="en-US" dirty="0"/>
        </a:p>
      </dgm:t>
    </dgm:pt>
    <dgm:pt modelId="{78366DA1-2A80-4E16-B7E8-B286CBCB6786}" type="parTrans" cxnId="{9FA4414B-BD58-410A-8759-2B783940081A}">
      <dgm:prSet/>
      <dgm:spPr/>
      <dgm:t>
        <a:bodyPr/>
        <a:lstStyle/>
        <a:p>
          <a:endParaRPr lang="en-US"/>
        </a:p>
      </dgm:t>
    </dgm:pt>
    <dgm:pt modelId="{06710962-7C88-431F-A777-116E5D49262E}" type="sibTrans" cxnId="{9FA4414B-BD58-410A-8759-2B783940081A}">
      <dgm:prSet/>
      <dgm:spPr/>
      <dgm:t>
        <a:bodyPr/>
        <a:lstStyle/>
        <a:p>
          <a:endParaRPr lang="en-US"/>
        </a:p>
      </dgm:t>
    </dgm:pt>
    <dgm:pt modelId="{26386873-DBF6-4CB2-B5E6-9C64058D2CC8}">
      <dgm:prSet custT="1"/>
      <dgm:spPr/>
      <dgm:t>
        <a:bodyPr/>
        <a:lstStyle/>
        <a:p>
          <a:pPr rtl="0"/>
          <a:r>
            <a:rPr lang="en-US" sz="2400" dirty="0" smtClean="0"/>
            <a:t>Permit/deny access to applications based on user, device &amp; network location. Examples are</a:t>
          </a:r>
          <a:endParaRPr lang="en-US" sz="2400" dirty="0"/>
        </a:p>
      </dgm:t>
    </dgm:pt>
    <dgm:pt modelId="{E3713623-D773-4BDF-ADE9-EAB2E2BAD405}" type="parTrans" cxnId="{95E60FDE-777C-492A-8597-E8837A7E957D}">
      <dgm:prSet/>
      <dgm:spPr/>
      <dgm:t>
        <a:bodyPr/>
        <a:lstStyle/>
        <a:p>
          <a:endParaRPr lang="en-US"/>
        </a:p>
      </dgm:t>
    </dgm:pt>
    <dgm:pt modelId="{4279DCED-F623-45B3-A329-C32E0454F151}" type="sibTrans" cxnId="{95E60FDE-777C-492A-8597-E8837A7E957D}">
      <dgm:prSet/>
      <dgm:spPr/>
      <dgm:t>
        <a:bodyPr/>
        <a:lstStyle/>
        <a:p>
          <a:endParaRPr lang="en-US"/>
        </a:p>
      </dgm:t>
    </dgm:pt>
    <dgm:pt modelId="{C7134FDE-4A37-490E-95A2-DB589C36D803}">
      <dgm:prSet custT="1"/>
      <dgm:spPr/>
      <dgm:t>
        <a:bodyPr/>
        <a:lstStyle/>
        <a:p>
          <a:pPr rtl="0"/>
          <a:r>
            <a:rPr lang="en-US" sz="2400" i="1" dirty="0" smtClean="0">
              <a:solidFill>
                <a:srgbClr val="FFC000"/>
              </a:solidFill>
            </a:rPr>
            <a:t>“Allow only </a:t>
          </a:r>
          <a:r>
            <a:rPr lang="en-US" sz="2400" i="1" u="sng" dirty="0" smtClean="0">
              <a:solidFill>
                <a:srgbClr val="FFC000"/>
              </a:solidFill>
            </a:rPr>
            <a:t>workplace joined devices </a:t>
          </a:r>
          <a:r>
            <a:rPr lang="en-US" sz="2400" i="1" dirty="0" smtClean="0">
              <a:solidFill>
                <a:srgbClr val="FFC000"/>
              </a:solidFill>
            </a:rPr>
            <a:t>when connecting from the </a:t>
          </a:r>
          <a:r>
            <a:rPr lang="en-US" sz="2400" i="1" u="sng" dirty="0" smtClean="0">
              <a:solidFill>
                <a:srgbClr val="FFC000"/>
              </a:solidFill>
            </a:rPr>
            <a:t>extranet</a:t>
          </a:r>
          <a:r>
            <a:rPr lang="en-US" sz="2400" i="1" dirty="0" smtClean="0">
              <a:solidFill>
                <a:srgbClr val="FFC000"/>
              </a:solidFill>
            </a:rPr>
            <a:t> to this </a:t>
          </a:r>
          <a:r>
            <a:rPr lang="en-US" sz="2400" i="1" u="sng" dirty="0" smtClean="0">
              <a:solidFill>
                <a:srgbClr val="FFC000"/>
              </a:solidFill>
            </a:rPr>
            <a:t>application</a:t>
          </a:r>
          <a:r>
            <a:rPr lang="en-US" sz="2400" i="1" dirty="0" smtClean="0">
              <a:solidFill>
                <a:srgbClr val="FFC000"/>
              </a:solidFill>
            </a:rPr>
            <a:t>”</a:t>
          </a:r>
          <a:endParaRPr lang="en-US" sz="2400" dirty="0">
            <a:solidFill>
              <a:srgbClr val="FFC000"/>
            </a:solidFill>
          </a:endParaRPr>
        </a:p>
      </dgm:t>
    </dgm:pt>
    <dgm:pt modelId="{E78333B3-C5AD-4777-84DD-05C273009192}" type="parTrans" cxnId="{BDCAEB46-42E3-4594-AC98-E39AC856BFFE}">
      <dgm:prSet/>
      <dgm:spPr/>
      <dgm:t>
        <a:bodyPr/>
        <a:lstStyle/>
        <a:p>
          <a:endParaRPr lang="en-US"/>
        </a:p>
      </dgm:t>
    </dgm:pt>
    <dgm:pt modelId="{54C4D0CE-245B-42DD-9C49-3D92EC26C280}" type="sibTrans" cxnId="{BDCAEB46-42E3-4594-AC98-E39AC856BFFE}">
      <dgm:prSet/>
      <dgm:spPr/>
      <dgm:t>
        <a:bodyPr/>
        <a:lstStyle/>
        <a:p>
          <a:endParaRPr lang="en-US"/>
        </a:p>
      </dgm:t>
    </dgm:pt>
    <dgm:pt modelId="{3AC213C8-B29C-4354-B608-7C0114DC4BF4}">
      <dgm:prSet custT="1"/>
      <dgm:spPr/>
      <dgm:t>
        <a:bodyPr/>
        <a:lstStyle/>
        <a:p>
          <a:pPr rtl="0"/>
          <a:r>
            <a:rPr lang="en-US" sz="2400" i="1" dirty="0" smtClean="0">
              <a:solidFill>
                <a:srgbClr val="FFC000"/>
              </a:solidFill>
            </a:rPr>
            <a:t>“Allow only </a:t>
          </a:r>
          <a:r>
            <a:rPr lang="en-US" sz="2400" i="1" u="sng" dirty="0" smtClean="0">
              <a:solidFill>
                <a:srgbClr val="FFC000"/>
              </a:solidFill>
            </a:rPr>
            <a:t>users belonging to a security group </a:t>
          </a:r>
          <a:r>
            <a:rPr lang="en-US" sz="2400" i="1" dirty="0" smtClean="0">
              <a:solidFill>
                <a:srgbClr val="FFC000"/>
              </a:solidFill>
            </a:rPr>
            <a:t>when connecting from the </a:t>
          </a:r>
          <a:r>
            <a:rPr lang="en-US" sz="2400" i="1" u="sng" dirty="0" smtClean="0">
              <a:solidFill>
                <a:srgbClr val="FFC000"/>
              </a:solidFill>
            </a:rPr>
            <a:t>extranet</a:t>
          </a:r>
          <a:r>
            <a:rPr lang="en-US" sz="2400" i="1" dirty="0" smtClean="0">
              <a:solidFill>
                <a:srgbClr val="FFC000"/>
              </a:solidFill>
            </a:rPr>
            <a:t> to this application”</a:t>
          </a:r>
          <a:endParaRPr lang="en-US" sz="2400" dirty="0">
            <a:solidFill>
              <a:srgbClr val="FFC000"/>
            </a:solidFill>
          </a:endParaRPr>
        </a:p>
      </dgm:t>
    </dgm:pt>
    <dgm:pt modelId="{3E340E34-9A0F-4700-A7C3-2341BD4B3213}" type="parTrans" cxnId="{6CF73DBB-EC70-4C81-97AA-76973E4612C1}">
      <dgm:prSet/>
      <dgm:spPr/>
      <dgm:t>
        <a:bodyPr/>
        <a:lstStyle/>
        <a:p>
          <a:endParaRPr lang="en-US"/>
        </a:p>
      </dgm:t>
    </dgm:pt>
    <dgm:pt modelId="{121BA02A-02C4-4117-8433-FDFBA8834D95}" type="sibTrans" cxnId="{6CF73DBB-EC70-4C81-97AA-76973E4612C1}">
      <dgm:prSet/>
      <dgm:spPr/>
      <dgm:t>
        <a:bodyPr/>
        <a:lstStyle/>
        <a:p>
          <a:endParaRPr lang="en-US"/>
        </a:p>
      </dgm:t>
    </dgm:pt>
    <dgm:pt modelId="{2457F2B4-4551-43FD-AF92-4EDBC7F1D158}">
      <dgm:prSet/>
      <dgm:spPr/>
      <dgm:t>
        <a:bodyPr/>
        <a:lstStyle/>
        <a:p>
          <a:pPr rtl="0"/>
          <a:r>
            <a:rPr lang="en-US" smtClean="0"/>
            <a:t>Customized Access Denied Messages </a:t>
          </a:r>
          <a:endParaRPr lang="en-US"/>
        </a:p>
      </dgm:t>
    </dgm:pt>
    <dgm:pt modelId="{83EB6883-5BB9-42E2-B2DD-7B2F34457274}" type="parTrans" cxnId="{3A0ECF7B-3910-4FBB-975E-DE4F7619EB64}">
      <dgm:prSet/>
      <dgm:spPr/>
      <dgm:t>
        <a:bodyPr/>
        <a:lstStyle/>
        <a:p>
          <a:endParaRPr lang="en-US"/>
        </a:p>
      </dgm:t>
    </dgm:pt>
    <dgm:pt modelId="{EE54B610-C0CB-42F0-A784-F0AD741DC6A1}" type="sibTrans" cxnId="{3A0ECF7B-3910-4FBB-975E-DE4F7619EB64}">
      <dgm:prSet/>
      <dgm:spPr/>
      <dgm:t>
        <a:bodyPr/>
        <a:lstStyle/>
        <a:p>
          <a:endParaRPr lang="en-US"/>
        </a:p>
      </dgm:t>
    </dgm:pt>
    <dgm:pt modelId="{8D9CB89B-79E0-4710-B2DF-342A05990012}">
      <dgm:prSet custT="1"/>
      <dgm:spPr/>
      <dgm:t>
        <a:bodyPr/>
        <a:lstStyle/>
        <a:p>
          <a:pPr rtl="0"/>
          <a:r>
            <a:rPr lang="en-US" sz="2800" dirty="0" smtClean="0"/>
            <a:t>Customized on a per-application basis</a:t>
          </a:r>
          <a:endParaRPr lang="en-US" sz="2800" dirty="0"/>
        </a:p>
      </dgm:t>
    </dgm:pt>
    <dgm:pt modelId="{46D92FE6-63C7-470D-A3FB-C65CA4575695}" type="parTrans" cxnId="{C34A5F4F-9071-4FB8-8877-88AA5563D031}">
      <dgm:prSet/>
      <dgm:spPr/>
      <dgm:t>
        <a:bodyPr/>
        <a:lstStyle/>
        <a:p>
          <a:endParaRPr lang="en-US"/>
        </a:p>
      </dgm:t>
    </dgm:pt>
    <dgm:pt modelId="{A33B9FFC-A967-4F03-9290-1935E3121236}" type="sibTrans" cxnId="{C34A5F4F-9071-4FB8-8877-88AA5563D031}">
      <dgm:prSet/>
      <dgm:spPr/>
      <dgm:t>
        <a:bodyPr/>
        <a:lstStyle/>
        <a:p>
          <a:endParaRPr lang="en-US"/>
        </a:p>
      </dgm:t>
    </dgm:pt>
    <dgm:pt modelId="{911F7AF8-53A3-4CD0-A6EE-E6C0092A2B70}" type="pres">
      <dgm:prSet presAssocID="{2FB391B4-CAC1-41EF-92CB-655C9B5D9AD6}" presName="linear" presStyleCnt="0">
        <dgm:presLayoutVars>
          <dgm:animLvl val="lvl"/>
          <dgm:resizeHandles val="exact"/>
        </dgm:presLayoutVars>
      </dgm:prSet>
      <dgm:spPr/>
      <dgm:t>
        <a:bodyPr/>
        <a:lstStyle/>
        <a:p>
          <a:endParaRPr lang="en-US"/>
        </a:p>
      </dgm:t>
    </dgm:pt>
    <dgm:pt modelId="{4A98BA80-7238-4BF9-B49C-C2A06C37198D}" type="pres">
      <dgm:prSet presAssocID="{CCF30FFB-8C23-4DBC-A389-A0DEEC97973E}" presName="parentText" presStyleLbl="node1" presStyleIdx="0" presStyleCnt="2">
        <dgm:presLayoutVars>
          <dgm:chMax val="0"/>
          <dgm:bulletEnabled val="1"/>
        </dgm:presLayoutVars>
      </dgm:prSet>
      <dgm:spPr/>
      <dgm:t>
        <a:bodyPr/>
        <a:lstStyle/>
        <a:p>
          <a:endParaRPr lang="en-US"/>
        </a:p>
      </dgm:t>
    </dgm:pt>
    <dgm:pt modelId="{6353AC66-106E-4BB8-98F1-6796CACA854D}" type="pres">
      <dgm:prSet presAssocID="{CCF30FFB-8C23-4DBC-A389-A0DEEC97973E}" presName="childText" presStyleLbl="revTx" presStyleIdx="0" presStyleCnt="2">
        <dgm:presLayoutVars>
          <dgm:bulletEnabled val="1"/>
        </dgm:presLayoutVars>
      </dgm:prSet>
      <dgm:spPr/>
      <dgm:t>
        <a:bodyPr/>
        <a:lstStyle/>
        <a:p>
          <a:endParaRPr lang="en-US"/>
        </a:p>
      </dgm:t>
    </dgm:pt>
    <dgm:pt modelId="{30972BF5-AEFB-4923-9E63-EFC53F70D7BD}" type="pres">
      <dgm:prSet presAssocID="{2457F2B4-4551-43FD-AF92-4EDBC7F1D158}" presName="parentText" presStyleLbl="node1" presStyleIdx="1" presStyleCnt="2">
        <dgm:presLayoutVars>
          <dgm:chMax val="0"/>
          <dgm:bulletEnabled val="1"/>
        </dgm:presLayoutVars>
      </dgm:prSet>
      <dgm:spPr/>
      <dgm:t>
        <a:bodyPr/>
        <a:lstStyle/>
        <a:p>
          <a:endParaRPr lang="en-US"/>
        </a:p>
      </dgm:t>
    </dgm:pt>
    <dgm:pt modelId="{58E3235C-EC74-4D3F-A81A-5BA36DC7536C}" type="pres">
      <dgm:prSet presAssocID="{2457F2B4-4551-43FD-AF92-4EDBC7F1D158}" presName="childText" presStyleLbl="revTx" presStyleIdx="1" presStyleCnt="2">
        <dgm:presLayoutVars>
          <dgm:bulletEnabled val="1"/>
        </dgm:presLayoutVars>
      </dgm:prSet>
      <dgm:spPr/>
      <dgm:t>
        <a:bodyPr/>
        <a:lstStyle/>
        <a:p>
          <a:endParaRPr lang="en-US"/>
        </a:p>
      </dgm:t>
    </dgm:pt>
  </dgm:ptLst>
  <dgm:cxnLst>
    <dgm:cxn modelId="{95E60FDE-777C-492A-8597-E8837A7E957D}" srcId="{CCF30FFB-8C23-4DBC-A389-A0DEEC97973E}" destId="{26386873-DBF6-4CB2-B5E6-9C64058D2CC8}" srcOrd="0" destOrd="0" parTransId="{E3713623-D773-4BDF-ADE9-EAB2E2BAD405}" sibTransId="{4279DCED-F623-45B3-A329-C32E0454F151}"/>
    <dgm:cxn modelId="{AC42B1B1-01E8-480E-8400-D991B9439DDE}" type="presOf" srcId="{2FB391B4-CAC1-41EF-92CB-655C9B5D9AD6}" destId="{911F7AF8-53A3-4CD0-A6EE-E6C0092A2B70}" srcOrd="0" destOrd="0" presId="urn:microsoft.com/office/officeart/2005/8/layout/vList2"/>
    <dgm:cxn modelId="{9D007FE1-3CCF-4879-BE03-A8C7CC93928A}" type="presOf" srcId="{8D9CB89B-79E0-4710-B2DF-342A05990012}" destId="{58E3235C-EC74-4D3F-A81A-5BA36DC7536C}" srcOrd="0" destOrd="0" presId="urn:microsoft.com/office/officeart/2005/8/layout/vList2"/>
    <dgm:cxn modelId="{4941FC08-0B55-4D84-8862-90D5867DB11A}" type="presOf" srcId="{2457F2B4-4551-43FD-AF92-4EDBC7F1D158}" destId="{30972BF5-AEFB-4923-9E63-EFC53F70D7BD}" srcOrd="0" destOrd="0" presId="urn:microsoft.com/office/officeart/2005/8/layout/vList2"/>
    <dgm:cxn modelId="{635BD91B-8607-4ADA-BC20-0442211B8FAE}" type="presOf" srcId="{CCF30FFB-8C23-4DBC-A389-A0DEEC97973E}" destId="{4A98BA80-7238-4BF9-B49C-C2A06C37198D}" srcOrd="0" destOrd="0" presId="urn:microsoft.com/office/officeart/2005/8/layout/vList2"/>
    <dgm:cxn modelId="{6CF73DBB-EC70-4C81-97AA-76973E4612C1}" srcId="{26386873-DBF6-4CB2-B5E6-9C64058D2CC8}" destId="{3AC213C8-B29C-4354-B608-7C0114DC4BF4}" srcOrd="1" destOrd="0" parTransId="{3E340E34-9A0F-4700-A7C3-2341BD4B3213}" sibTransId="{121BA02A-02C4-4117-8433-FDFBA8834D95}"/>
    <dgm:cxn modelId="{BDCAEB46-42E3-4594-AC98-E39AC856BFFE}" srcId="{26386873-DBF6-4CB2-B5E6-9C64058D2CC8}" destId="{C7134FDE-4A37-490E-95A2-DB589C36D803}" srcOrd="0" destOrd="0" parTransId="{E78333B3-C5AD-4777-84DD-05C273009192}" sibTransId="{54C4D0CE-245B-42DD-9C49-3D92EC26C280}"/>
    <dgm:cxn modelId="{9FA4414B-BD58-410A-8759-2B783940081A}" srcId="{2FB391B4-CAC1-41EF-92CB-655C9B5D9AD6}" destId="{CCF30FFB-8C23-4DBC-A389-A0DEEC97973E}" srcOrd="0" destOrd="0" parTransId="{78366DA1-2A80-4E16-B7E8-B286CBCB6786}" sibTransId="{06710962-7C88-431F-A777-116E5D49262E}"/>
    <dgm:cxn modelId="{9B5E9DA1-E97E-4C0F-B119-E555AF367A9E}" type="presOf" srcId="{3AC213C8-B29C-4354-B608-7C0114DC4BF4}" destId="{6353AC66-106E-4BB8-98F1-6796CACA854D}" srcOrd="0" destOrd="2" presId="urn:microsoft.com/office/officeart/2005/8/layout/vList2"/>
    <dgm:cxn modelId="{E0061CC4-64F5-42C7-B1C3-EAF85CB60940}" type="presOf" srcId="{C7134FDE-4A37-490E-95A2-DB589C36D803}" destId="{6353AC66-106E-4BB8-98F1-6796CACA854D}" srcOrd="0" destOrd="1" presId="urn:microsoft.com/office/officeart/2005/8/layout/vList2"/>
    <dgm:cxn modelId="{8C5BF723-6268-45E1-B8A0-EDC407D35C7A}" type="presOf" srcId="{26386873-DBF6-4CB2-B5E6-9C64058D2CC8}" destId="{6353AC66-106E-4BB8-98F1-6796CACA854D}" srcOrd="0" destOrd="0" presId="urn:microsoft.com/office/officeart/2005/8/layout/vList2"/>
    <dgm:cxn modelId="{3A0ECF7B-3910-4FBB-975E-DE4F7619EB64}" srcId="{2FB391B4-CAC1-41EF-92CB-655C9B5D9AD6}" destId="{2457F2B4-4551-43FD-AF92-4EDBC7F1D158}" srcOrd="1" destOrd="0" parTransId="{83EB6883-5BB9-42E2-B2DD-7B2F34457274}" sibTransId="{EE54B610-C0CB-42F0-A784-F0AD741DC6A1}"/>
    <dgm:cxn modelId="{C34A5F4F-9071-4FB8-8877-88AA5563D031}" srcId="{2457F2B4-4551-43FD-AF92-4EDBC7F1D158}" destId="{8D9CB89B-79E0-4710-B2DF-342A05990012}" srcOrd="0" destOrd="0" parTransId="{46D92FE6-63C7-470D-A3FB-C65CA4575695}" sibTransId="{A33B9FFC-A967-4F03-9290-1935E3121236}"/>
    <dgm:cxn modelId="{45F2E640-5CD8-42C2-B9D5-83DFC78492D8}" type="presParOf" srcId="{911F7AF8-53A3-4CD0-A6EE-E6C0092A2B70}" destId="{4A98BA80-7238-4BF9-B49C-C2A06C37198D}" srcOrd="0" destOrd="0" presId="urn:microsoft.com/office/officeart/2005/8/layout/vList2"/>
    <dgm:cxn modelId="{82BD086C-D149-46C6-8B16-A9BCDBA8CF7F}" type="presParOf" srcId="{911F7AF8-53A3-4CD0-A6EE-E6C0092A2B70}" destId="{6353AC66-106E-4BB8-98F1-6796CACA854D}" srcOrd="1" destOrd="0" presId="urn:microsoft.com/office/officeart/2005/8/layout/vList2"/>
    <dgm:cxn modelId="{61726CEF-8F0A-471F-A4AE-3D2ABA45AD38}" type="presParOf" srcId="{911F7AF8-53A3-4CD0-A6EE-E6C0092A2B70}" destId="{30972BF5-AEFB-4923-9E63-EFC53F70D7BD}" srcOrd="2" destOrd="0" presId="urn:microsoft.com/office/officeart/2005/8/layout/vList2"/>
    <dgm:cxn modelId="{E1E31763-B9CD-4A28-94CE-3D08F0151460}" type="presParOf" srcId="{911F7AF8-53A3-4CD0-A6EE-E6C0092A2B70}" destId="{58E3235C-EC74-4D3F-A81A-5BA36DC7536C}"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5/2013 6:3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5/2013 6:3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5/2013 6:3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525587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6</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5/2013 6:38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99789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7</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5/2013 6:38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28</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5/2013 6:38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221490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464558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3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8198916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3</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5/2013 6:38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5/2013 6:3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System Center Marketing</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25820CF-F27D-4205-A8B8-CA0C6FA0964C}" type="datetime1">
              <a:rPr lang="en-US" smtClean="0"/>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515144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3785065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5773900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TechEd 2013</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3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3620043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2317345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129441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7087863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526030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3242783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933546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01072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82442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21648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726474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40223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3499411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246937681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41" y="482565"/>
            <a:ext cx="1646237" cy="351905"/>
          </a:xfrm>
          <a:prstGeom prst="rect">
            <a:avLst/>
          </a:prstGeom>
        </p:spPr>
      </p:pic>
    </p:spTree>
    <p:extLst>
      <p:ext uri="{BB962C8B-B14F-4D97-AF65-F5344CB8AC3E}">
        <p14:creationId xmlns:p14="http://schemas.microsoft.com/office/powerpoint/2010/main" val="6126714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7"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7"/>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5" y="2125678"/>
            <a:ext cx="9143936" cy="1828786"/>
          </a:xfrm>
          <a:noFill/>
        </p:spPr>
        <p:txBody>
          <a:bodyPr lIns="143378" tIns="89612" rIns="143378" bIns="89612" anchor="t" anchorCtr="0"/>
          <a:lstStyle>
            <a:lvl1pPr>
              <a:defRPr sz="6017"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79224" tIns="143378" rIns="179224" bIns="143378">
            <a:noAutofit/>
          </a:bodyPr>
          <a:lstStyle>
            <a:lvl1pPr marL="0" indent="0">
              <a:spcBef>
                <a:spcPts val="0"/>
              </a:spcBef>
              <a:buNone/>
              <a:defRPr sz="357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4" y="518291"/>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8" y="6208329"/>
            <a:ext cx="1552930"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17"/>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grpSp>
      <p:grpSp>
        <p:nvGrpSpPr>
          <p:cNvPr id="98" name="Group 97"/>
          <p:cNvGrpSpPr/>
          <p:nvPr userDrawn="1"/>
        </p:nvGrpSpPr>
        <p:grpSpPr>
          <a:xfrm>
            <a:off x="18853153" y="195739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grpSp>
    </p:spTree>
    <p:extLst>
      <p:ext uri="{BB962C8B-B14F-4D97-AF65-F5344CB8AC3E}">
        <p14:creationId xmlns:p14="http://schemas.microsoft.com/office/powerpoint/2010/main" val="3743612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7"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7"/>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5" y="2125678"/>
            <a:ext cx="9143936" cy="1828786"/>
          </a:xfrm>
          <a:noFill/>
        </p:spPr>
        <p:txBody>
          <a:bodyPr lIns="143378" tIns="89612" rIns="143378" bIns="89612" anchor="t" anchorCtr="0"/>
          <a:lstStyle>
            <a:lvl1pPr>
              <a:defRPr sz="6017"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79224" tIns="143378" rIns="179224" bIns="143378">
            <a:noAutofit/>
          </a:bodyPr>
          <a:lstStyle>
            <a:lvl1pPr marL="0" indent="0">
              <a:spcBef>
                <a:spcPts val="0"/>
              </a:spcBef>
              <a:buNone/>
              <a:defRPr sz="357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4" y="518291"/>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8" y="6208329"/>
            <a:ext cx="1552930"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17"/>
            </a:lvl1pPr>
          </a:lstStyle>
          <a:p>
            <a:pPr lvl="0"/>
            <a:r>
              <a:rPr lang="en-US" dirty="0" smtClean="0"/>
              <a:t>Session code</a:t>
            </a:r>
            <a:endParaRPr lang="en-US" dirty="0"/>
          </a:p>
        </p:txBody>
      </p:sp>
      <p:grpSp>
        <p:nvGrpSpPr>
          <p:cNvPr id="98" name="Group 97"/>
          <p:cNvGrpSpPr/>
          <p:nvPr userDrawn="1"/>
        </p:nvGrpSpPr>
        <p:grpSpPr>
          <a:xfrm>
            <a:off x="7136680" y="4110835"/>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grpSp>
    </p:spTree>
    <p:extLst>
      <p:ext uri="{BB962C8B-B14F-4D97-AF65-F5344CB8AC3E}">
        <p14:creationId xmlns:p14="http://schemas.microsoft.com/office/powerpoint/2010/main" val="1710922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32" tIns="109676" rIns="146232" bIns="109676"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5" y="1211287"/>
            <a:ext cx="10056812" cy="2751698"/>
          </a:xfrm>
          <a:noFill/>
        </p:spPr>
        <p:txBody>
          <a:bodyPr tIns="89612" bIns="89612" anchor="t" anchorCtr="0"/>
          <a:lstStyle>
            <a:lvl1pPr>
              <a:defRPr sz="7241"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1"/>
            <a:ext cx="10058401" cy="1829593"/>
          </a:xfrm>
          <a:noFill/>
        </p:spPr>
        <p:txBody>
          <a:bodyPr lIns="179224" tIns="143378" rIns="179224" bIns="143378">
            <a:noAutofit/>
          </a:bodyPr>
          <a:lstStyle>
            <a:lvl1pPr marL="0" indent="0">
              <a:spcBef>
                <a:spcPts val="0"/>
              </a:spcBef>
              <a:buNone/>
              <a:defRPr sz="357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75369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09973"/>
            <a:ext cx="10056812" cy="2751698"/>
          </a:xfrm>
          <a:noFill/>
        </p:spPr>
        <p:txBody>
          <a:bodyPr tIns="89612" bIns="89612" anchor="t" anchorCtr="0"/>
          <a:lstStyle>
            <a:lvl1pPr>
              <a:defRPr sz="7241"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1"/>
            <a:ext cx="10058401" cy="1829593"/>
          </a:xfrm>
          <a:noFill/>
        </p:spPr>
        <p:txBody>
          <a:bodyPr lIns="179224" tIns="143378" rIns="179224" bIns="143378">
            <a:noAutofit/>
          </a:bodyPr>
          <a:lstStyle>
            <a:lvl1pPr marL="0" indent="0">
              <a:spcBef>
                <a:spcPts val="0"/>
              </a:spcBef>
              <a:buNone/>
              <a:defRPr sz="357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49844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5" y="1211287"/>
            <a:ext cx="10056812" cy="2751698"/>
          </a:xfrm>
          <a:noFill/>
        </p:spPr>
        <p:txBody>
          <a:bodyPr tIns="89612" bIns="89612" anchor="t" anchorCtr="0"/>
          <a:lstStyle>
            <a:lvl1pPr>
              <a:defRPr sz="7241"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46592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09973"/>
            <a:ext cx="10056812" cy="2751698"/>
          </a:xfrm>
          <a:noFill/>
        </p:spPr>
        <p:txBody>
          <a:bodyPr tIns="89612" bIns="89612" anchor="t" anchorCtr="0"/>
          <a:lstStyle>
            <a:lvl1pPr>
              <a:defRPr sz="7241"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53616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12" bIns="89612"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80271556"/>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12" bIns="89612"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9208782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12" bIns="89612"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52366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40"/>
            </a:lvl2pPr>
            <a:lvl3pPr marL="228488" indent="0">
              <a:buNone/>
              <a:defRPr sz="2040"/>
            </a:lvl3pPr>
            <a:lvl4pPr marL="456975" indent="0">
              <a:buNone/>
              <a:defRPr sz="1836"/>
            </a:lvl4pPr>
            <a:lvl5pPr marL="685464" indent="0">
              <a:buNone/>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170276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40"/>
            <a:ext cx="11887200" cy="22548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344515"/>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0" indent="0">
              <a:spcBef>
                <a:spcPts val="1224"/>
              </a:spcBef>
              <a:buClr>
                <a:schemeClr val="tx1"/>
              </a:buClr>
              <a:buFont typeface="Wingdings" pitchFamily="2" charset="2"/>
              <a:buNone/>
              <a:defRPr sz="3570"/>
            </a:lvl1pPr>
            <a:lvl2pPr marL="0" indent="0">
              <a:buNone/>
              <a:defRPr sz="2040"/>
            </a:lvl2pPr>
            <a:lvl3pPr marL="231661" indent="0">
              <a:buNone/>
              <a:tabLst/>
              <a:defRPr sz="2040"/>
            </a:lvl3pPr>
            <a:lvl4pPr marL="460148" indent="0">
              <a:buNone/>
              <a:defRPr sz="1836"/>
            </a:lvl4pPr>
            <a:lvl5pPr marL="685464" indent="0">
              <a:buNone/>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49"/>
            <a:ext cx="5486399" cy="2468368"/>
          </a:xfrm>
        </p:spPr>
        <p:txBody>
          <a:bodyPr wrap="square">
            <a:spAutoFit/>
          </a:bodyPr>
          <a:lstStyle>
            <a:lvl1pPr marL="0" indent="0">
              <a:spcBef>
                <a:spcPts val="1224"/>
              </a:spcBef>
              <a:buClr>
                <a:schemeClr val="tx1"/>
              </a:buClr>
              <a:buFont typeface="Wingdings" pitchFamily="2" charset="2"/>
              <a:buNone/>
              <a:defRPr sz="3570"/>
            </a:lvl1pPr>
            <a:lvl2pPr marL="0" indent="0">
              <a:buNone/>
              <a:defRPr sz="2040"/>
            </a:lvl2pPr>
            <a:lvl3pPr marL="231661" indent="0">
              <a:buNone/>
              <a:tabLst/>
              <a:defRPr sz="2040"/>
            </a:lvl3pPr>
            <a:lvl4pPr marL="460148" indent="0">
              <a:buNone/>
              <a:defRPr sz="1836"/>
            </a:lvl4pPr>
            <a:lvl5pPr marL="685464" indent="0">
              <a:buNone/>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785296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287198" indent="-287198">
              <a:spcBef>
                <a:spcPts val="1224"/>
              </a:spcBef>
              <a:buClr>
                <a:schemeClr val="tx1"/>
              </a:buClr>
              <a:buFont typeface="Arial" pitchFamily="34" charset="0"/>
              <a:buChar char="•"/>
              <a:defRPr sz="3570"/>
            </a:lvl1pPr>
            <a:lvl2pPr marL="530906" indent="-233081">
              <a:defRPr sz="2040"/>
            </a:lvl2pPr>
            <a:lvl3pPr marL="699242" indent="-168337">
              <a:tabLst/>
              <a:defRPr sz="2040"/>
            </a:lvl3pPr>
            <a:lvl4pPr marL="880527" indent="-181285">
              <a:defRPr sz="1836"/>
            </a:lvl4pPr>
            <a:lvl5pPr marL="1048862" indent="-168337">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52"/>
            <a:ext cx="5486399" cy="2536079"/>
          </a:xfrm>
        </p:spPr>
        <p:txBody>
          <a:bodyPr wrap="square">
            <a:spAutoFit/>
          </a:bodyPr>
          <a:lstStyle>
            <a:lvl1pPr marL="287198" indent="-287198">
              <a:spcBef>
                <a:spcPts val="1224"/>
              </a:spcBef>
              <a:buClr>
                <a:schemeClr val="tx1"/>
              </a:buClr>
              <a:buFont typeface="Arial" pitchFamily="34" charset="0"/>
              <a:buChar char="•"/>
              <a:defRPr sz="3570"/>
            </a:lvl1pPr>
            <a:lvl2pPr marL="530906" indent="-233081">
              <a:defRPr sz="2040"/>
            </a:lvl2pPr>
            <a:lvl3pPr marL="699242" indent="-168337">
              <a:tabLst/>
              <a:defRPr sz="2040"/>
            </a:lvl3pPr>
            <a:lvl4pPr marL="880527" indent="-181285">
              <a:defRPr sz="1836"/>
            </a:lvl4pPr>
            <a:lvl5pPr marL="1048862" indent="-168337">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39123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49"/>
            <a:ext cx="5486399" cy="2671501"/>
          </a:xfrm>
        </p:spPr>
        <p:txBody>
          <a:bodyPr wrap="square">
            <a:spAutoFit/>
          </a:bodyPr>
          <a:lstStyle>
            <a:lvl1pPr marL="287198" indent="-287198">
              <a:spcBef>
                <a:spcPts val="1224"/>
              </a:spcBef>
              <a:buClr>
                <a:schemeClr val="tx2"/>
              </a:buClr>
              <a:buFont typeface="Arial" pitchFamily="34" charset="0"/>
              <a:buChar char="•"/>
              <a:defRPr sz="3570">
                <a:gradFill>
                  <a:gsLst>
                    <a:gs pos="1250">
                      <a:schemeClr val="tx2"/>
                    </a:gs>
                    <a:gs pos="99000">
                      <a:schemeClr val="tx2"/>
                    </a:gs>
                  </a:gsLst>
                  <a:lin ang="5400000" scaled="0"/>
                </a:gradFill>
              </a:defRPr>
            </a:lvl1pPr>
            <a:lvl2pPr marL="530906" indent="-233081">
              <a:defRPr sz="2448"/>
            </a:lvl2pPr>
            <a:lvl3pPr marL="699242" indent="-168337">
              <a:tabLst/>
              <a:defRPr sz="2448"/>
            </a:lvl3pPr>
            <a:lvl4pPr marL="880527" indent="-181285">
              <a:defRPr/>
            </a:lvl4pPr>
            <a:lvl5pPr marL="1048862" indent="-16833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49"/>
            <a:ext cx="5486399" cy="2671501"/>
          </a:xfrm>
        </p:spPr>
        <p:txBody>
          <a:bodyPr wrap="square">
            <a:spAutoFit/>
          </a:bodyPr>
          <a:lstStyle>
            <a:lvl1pPr marL="287198" indent="-287198">
              <a:spcBef>
                <a:spcPts val="1224"/>
              </a:spcBef>
              <a:buClr>
                <a:schemeClr val="tx2"/>
              </a:buClr>
              <a:buFont typeface="Arial" pitchFamily="34" charset="0"/>
              <a:buChar char="•"/>
              <a:defRPr sz="3570">
                <a:gradFill>
                  <a:gsLst>
                    <a:gs pos="1250">
                      <a:schemeClr val="tx2"/>
                    </a:gs>
                    <a:gs pos="99000">
                      <a:schemeClr val="tx2"/>
                    </a:gs>
                  </a:gsLst>
                  <a:lin ang="5400000" scaled="0"/>
                </a:gradFill>
              </a:defRPr>
            </a:lvl1pPr>
            <a:lvl2pPr marL="530906" indent="-233081">
              <a:defRPr sz="2448"/>
            </a:lvl2pPr>
            <a:lvl3pPr marL="699242" indent="-168337">
              <a:tabLst/>
              <a:defRPr sz="2448"/>
            </a:lvl3pPr>
            <a:lvl4pPr marL="880527" indent="-181285">
              <a:defRPr/>
            </a:lvl4pPr>
            <a:lvl5pPr marL="1048862" indent="-16833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6012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381437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9732283"/>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036769"/>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923423"/>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6171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6"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16155"/>
            <a:ext cx="11887199" cy="2155926"/>
          </a:xfrm>
        </p:spPr>
        <p:txBody>
          <a:bodyPr/>
          <a:lstStyle>
            <a:lvl1pPr marL="0" indent="0">
              <a:buNone/>
              <a:defRPr sz="326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2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6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8171308"/>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3"/>
            <a:ext cx="11887200" cy="2443746"/>
          </a:xfrm>
          <a:prstGeom prst="rect">
            <a:avLst/>
          </a:prstGeom>
        </p:spPr>
        <p:txBody>
          <a:bodyPr/>
          <a:lstStyle>
            <a:lvl1pPr marL="290371" indent="-290371">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0" indent="-280850">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0" indent="-290371">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8" indent="-228488">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8" indent="-228488">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50" tIns="76174" rIns="152350" bIns="76174"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68524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10489195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3265529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606654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05845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744759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49514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723316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9137513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19722518"/>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31312729"/>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650160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7909265"/>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5012307"/>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0936510"/>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641381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5359271"/>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864754"/>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75779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8820766"/>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73937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9920826"/>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311192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017910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56964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15952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619367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7627104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8655667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1323236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7909102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50765191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4260326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3169430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451207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3531730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6547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2954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95877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60704030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5121"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5121"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363512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199"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97035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198"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199"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2270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3"/>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4"/>
            <a:ext cx="11375536" cy="2237536"/>
          </a:xfrm>
          <a:prstGeom prst="rect">
            <a:avLst/>
          </a:prstGeom>
        </p:spPr>
        <p:txBody>
          <a:bodyPr>
            <a:spAutoFit/>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7097100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0777825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388" indent="0">
              <a:buNone/>
              <a:defRPr sz="2000" spc="-51" baseline="0">
                <a:gradFill>
                  <a:gsLst>
                    <a:gs pos="100000">
                      <a:schemeClr val="tx1"/>
                    </a:gs>
                    <a:gs pos="0">
                      <a:schemeClr val="tx1"/>
                    </a:gs>
                  </a:gsLst>
                  <a:lin ang="5400000" scaled="0"/>
                </a:gradFill>
              </a:defRPr>
            </a:lvl3pPr>
            <a:lvl4pPr marL="466300" indent="0">
              <a:buNone/>
              <a:defRPr sz="1800" spc="-51" baseline="0">
                <a:gradFill>
                  <a:gsLst>
                    <a:gs pos="100000">
                      <a:schemeClr val="tx1"/>
                    </a:gs>
                    <a:gs pos="0">
                      <a:schemeClr val="tx1"/>
                    </a:gs>
                  </a:gsLst>
                  <a:lin ang="5400000" scaled="0"/>
                </a:gradFill>
              </a:defRPr>
            </a:lvl4pPr>
            <a:lvl5pPr marL="707546"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4021028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3" cy="2757678"/>
          </a:xfrm>
        </p:spPr>
        <p:txBody>
          <a:bodyPr wrap="square">
            <a:spAutoFit/>
          </a:bodyPr>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2" y="1211264"/>
            <a:ext cx="5495487" cy="2812315"/>
          </a:xfrm>
        </p:spPr>
        <p:txBody>
          <a:bodyPr wrap="square">
            <a:spAutoFit/>
          </a:bodyPr>
          <a:lstStyle>
            <a:lvl1pPr marL="346487" indent="-346487">
              <a:spcBef>
                <a:spcPts val="1224"/>
              </a:spcBef>
              <a:buFont typeface="Wingdings" pitchFamily="2" charset="2"/>
              <a:buChar char=""/>
              <a:defRPr lang="en-US" sz="3999" kern="1200" spc="-71" baseline="0" dirty="0" smtClean="0">
                <a:gradFill>
                  <a:gsLst>
                    <a:gs pos="1250">
                      <a:schemeClr val="tx1"/>
                    </a:gs>
                    <a:gs pos="100000">
                      <a:schemeClr val="tx1"/>
                    </a:gs>
                  </a:gsLst>
                  <a:lin ang="5400000" scaled="0"/>
                </a:gradFill>
                <a:latin typeface="+mj-lt"/>
                <a:ea typeface="+mn-ea"/>
                <a:cs typeface="+mn-cs"/>
              </a:defRPr>
            </a:lvl1pPr>
            <a:lvl2pPr marL="647640" indent="-349725">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789" indent="-349725">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175" indent="-349725">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514" indent="-349725">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14" marR="0" lvl="0" indent="-297914" algn="l" defTabSz="9325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064" marR="0" lvl="1" indent="-233150"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450" marR="0" lvl="2"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789" marR="0" lvl="3" indent="-181339"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175" marR="0" lvl="4"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1141364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4"/>
            <a:ext cx="5486400" cy="2751522"/>
          </a:xfrm>
        </p:spPr>
        <p:txBody>
          <a:bodyPr>
            <a:spAutoFit/>
          </a:bodyPr>
          <a:lstStyle>
            <a:lvl1pPr marL="0" indent="0">
              <a:spcBef>
                <a:spcPts val="1224"/>
              </a:spcBef>
              <a:buNone/>
              <a:defRPr sz="3999">
                <a:gradFill>
                  <a:gsLst>
                    <a:gs pos="100000">
                      <a:schemeClr val="tx2"/>
                    </a:gs>
                    <a:gs pos="0">
                      <a:schemeClr val="tx2"/>
                    </a:gs>
                  </a:gsLst>
                  <a:lin ang="5400000" scaled="0"/>
                </a:gradFill>
                <a:latin typeface="+mj-lt"/>
              </a:defRPr>
            </a:lvl1pPr>
            <a:lvl2pPr marL="0" indent="0">
              <a:buNone/>
              <a:defRPr sz="2000" spc="-51" baseline="0"/>
            </a:lvl2pPr>
            <a:lvl3pPr marL="238008" indent="0">
              <a:buNone/>
              <a:defRPr sz="2000" spc="-51" baseline="0"/>
            </a:lvl3pPr>
            <a:lvl4pPr marL="466300" indent="0">
              <a:buNone/>
              <a:defRPr sz="1800" spc="-51" baseline="0"/>
            </a:lvl4pPr>
            <a:lvl5pPr marL="707546"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7090199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3999">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08" indent="0">
              <a:buNone/>
              <a:defRPr sz="2000" spc="-51" baseline="0">
                <a:gradFill>
                  <a:gsLst>
                    <a:gs pos="1000">
                      <a:schemeClr val="tx1"/>
                    </a:gs>
                    <a:gs pos="98000">
                      <a:schemeClr val="tx1"/>
                    </a:gs>
                  </a:gsLst>
                  <a:lin ang="5400000" scaled="0"/>
                </a:gradFill>
              </a:defRPr>
            </a:lvl3pPr>
            <a:lvl4pPr marL="466300" indent="0">
              <a:buNone/>
              <a:defRPr sz="1800" spc="-51" baseline="0">
                <a:gradFill>
                  <a:gsLst>
                    <a:gs pos="1000">
                      <a:schemeClr val="tx1"/>
                    </a:gs>
                    <a:gs pos="98000">
                      <a:schemeClr val="tx1"/>
                    </a:gs>
                  </a:gsLst>
                  <a:lin ang="5400000" scaled="0"/>
                </a:gradFill>
              </a:defRPr>
            </a:lvl4pPr>
            <a:lvl5pPr marL="707546"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1533330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994902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295611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4"/>
            <a:ext cx="11378776" cy="2512996"/>
          </a:xfrm>
        </p:spPr>
        <p:txBody>
          <a:bodyPr>
            <a:spAutoFit/>
          </a:bodyPr>
          <a:lstStyle>
            <a:lvl1pPr marL="0" indent="0">
              <a:buNone/>
              <a:defRPr sz="3299">
                <a:gradFill>
                  <a:gsLst>
                    <a:gs pos="1250">
                      <a:schemeClr val="tx1"/>
                    </a:gs>
                    <a:gs pos="100000">
                      <a:schemeClr val="tx1"/>
                    </a:gs>
                  </a:gsLst>
                  <a:lin ang="5400000" scaled="0"/>
                </a:gradFill>
                <a:latin typeface="Consolas" pitchFamily="49" charset="0"/>
                <a:cs typeface="Consolas" pitchFamily="49" charset="0"/>
              </a:defRPr>
            </a:lvl1pPr>
            <a:lvl2pPr marL="346487" indent="0">
              <a:buNone/>
              <a:defRPr>
                <a:gradFill>
                  <a:gsLst>
                    <a:gs pos="1250">
                      <a:schemeClr val="tx1"/>
                    </a:gs>
                    <a:gs pos="100000">
                      <a:schemeClr val="tx1"/>
                    </a:gs>
                  </a:gsLst>
                  <a:lin ang="5400000" scaled="0"/>
                </a:gradFill>
                <a:latin typeface="Consolas" pitchFamily="49" charset="0"/>
                <a:cs typeface="Consolas" pitchFamily="49" charset="0"/>
              </a:defRPr>
            </a:lvl2pPr>
            <a:lvl3pPr marL="584494" indent="0">
              <a:buNone/>
              <a:defRPr>
                <a:gradFill>
                  <a:gsLst>
                    <a:gs pos="1250">
                      <a:schemeClr val="tx1"/>
                    </a:gs>
                    <a:gs pos="100000">
                      <a:schemeClr val="tx1"/>
                    </a:gs>
                  </a:gsLst>
                  <a:lin ang="5400000" scaled="0"/>
                </a:gradFill>
                <a:latin typeface="Consolas" pitchFamily="49" charset="0"/>
                <a:cs typeface="Consolas" pitchFamily="49" charset="0"/>
              </a:defRPr>
            </a:lvl3pPr>
            <a:lvl4pPr marL="814406" indent="0">
              <a:buNone/>
              <a:defRPr>
                <a:gradFill>
                  <a:gsLst>
                    <a:gs pos="1250">
                      <a:schemeClr val="tx1"/>
                    </a:gs>
                    <a:gs pos="100000">
                      <a:schemeClr val="tx1"/>
                    </a:gs>
                  </a:gsLst>
                  <a:lin ang="5400000" scaled="0"/>
                </a:gradFill>
                <a:latin typeface="Consolas" pitchFamily="49" charset="0"/>
                <a:cs typeface="Consolas" pitchFamily="49" charset="0"/>
              </a:defRPr>
            </a:lvl4pPr>
            <a:lvl5pPr marL="105079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22433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4"/>
            <a:ext cx="11375536" cy="2554545"/>
          </a:xfrm>
          <a:prstGeom prst="rect">
            <a:avLst/>
          </a:prstGeom>
        </p:spPr>
        <p:txBody>
          <a:bodyPr>
            <a:spAutoFit/>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1646956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8823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2550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1"/>
            <a:ext cx="11456577" cy="1569126"/>
          </a:xfrm>
        </p:spPr>
        <p:txBody>
          <a:bodyPr/>
          <a:lstStyle>
            <a:lvl1pPr marL="0" indent="0">
              <a:buNone/>
              <a:defRPr lang="en-US" sz="8973"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38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2"/>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38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85299369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57215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27604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3229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28563171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177320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419086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42957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00300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48570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6886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82524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9580626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252546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003601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400100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142445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857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65656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5762991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10730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927201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74880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0674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353153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67777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2" y="1476625"/>
            <a:ext cx="5597871" cy="1940531"/>
          </a:xfrm>
        </p:spPr>
        <p:txBody>
          <a:bodyPr/>
          <a:lstStyle>
            <a:lvl1pPr marL="346713" indent="-346713">
              <a:lnSpc>
                <a:spcPct val="90000"/>
              </a:lnSpc>
              <a:defRPr sz="2900"/>
            </a:lvl1pPr>
            <a:lvl2pPr marL="686682" indent="-331873">
              <a:lnSpc>
                <a:spcPct val="90000"/>
              </a:lnSpc>
              <a:defRPr sz="2400"/>
            </a:lvl2pPr>
            <a:lvl3pPr marL="972686" indent="-294099">
              <a:lnSpc>
                <a:spcPct val="90000"/>
              </a:lnSpc>
              <a:defRPr sz="2000"/>
            </a:lvl3pPr>
            <a:lvl4pPr marL="1251946" indent="-279260">
              <a:lnSpc>
                <a:spcPct val="90000"/>
              </a:lnSpc>
              <a:defRPr sz="1800"/>
            </a:lvl4pPr>
            <a:lvl5pPr marL="1546045" indent="-2860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7" y="1476625"/>
            <a:ext cx="5597871" cy="1940531"/>
          </a:xfrm>
        </p:spPr>
        <p:txBody>
          <a:bodyPr/>
          <a:lstStyle>
            <a:lvl1pPr marL="354809" indent="-354809">
              <a:lnSpc>
                <a:spcPct val="90000"/>
              </a:lnSpc>
              <a:defRPr sz="2900"/>
            </a:lvl1pPr>
            <a:lvl2pPr marL="686682" indent="-346713">
              <a:lnSpc>
                <a:spcPct val="90000"/>
              </a:lnSpc>
              <a:defRPr sz="2400"/>
            </a:lvl2pPr>
            <a:lvl3pPr marL="980781" indent="-308940">
              <a:lnSpc>
                <a:spcPct val="90000"/>
              </a:lnSpc>
              <a:defRPr sz="2000"/>
            </a:lvl3pPr>
            <a:lvl4pPr marL="1251946" indent="-271165">
              <a:lnSpc>
                <a:spcPct val="90000"/>
              </a:lnSpc>
              <a:defRPr sz="1800"/>
            </a:lvl4pPr>
            <a:lvl5pPr marL="1546045" indent="-279260">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196651850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329" y="233153"/>
            <a:ext cx="11375536" cy="476742"/>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7053816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16320253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grpSp>
        <p:nvGrpSpPr>
          <p:cNvPr id="11" name="Group 10"/>
          <p:cNvGrpSpPr/>
          <p:nvPr userDrawn="1"/>
        </p:nvGrpSpPr>
        <p:grpSpPr>
          <a:xfrm>
            <a:off x="174171" y="281904"/>
            <a:ext cx="6405051" cy="3423895"/>
            <a:chOff x="174171" y="186653"/>
            <a:chExt cx="6405051" cy="3423896"/>
          </a:xfrm>
        </p:grpSpPr>
        <p:sp>
          <p:nvSpPr>
            <p:cNvPr id="7" name="TextBox 6"/>
            <p:cNvSpPr txBox="1"/>
            <p:nvPr userDrawn="1"/>
          </p:nvSpPr>
          <p:spPr>
            <a:xfrm>
              <a:off x="3409654" y="2351861"/>
              <a:ext cx="3169568" cy="1258688"/>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6" name="TextBox 5"/>
            <p:cNvSpPr txBox="1"/>
            <p:nvPr userDrawn="1"/>
          </p:nvSpPr>
          <p:spPr>
            <a:xfrm>
              <a:off x="174171" y="186653"/>
              <a:ext cx="4338633" cy="1905133"/>
            </a:xfrm>
            <a:prstGeom prst="rect">
              <a:avLst/>
            </a:prstGeom>
            <a:noFill/>
          </p:spPr>
          <p:txBody>
            <a:bodyPr wrap="none" lIns="182880" tIns="146304" rIns="182880" bIns="146304" rtlCol="0">
              <a:spAutoFit/>
            </a:bodyPr>
            <a:lstStyle/>
            <a:p>
              <a:pPr defTabSz="932563">
                <a:lnSpc>
                  <a:spcPct val="9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9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9" name="Rectangle 8"/>
          <p:cNvSpPr/>
          <p:nvPr userDrawn="1"/>
        </p:nvSpPr>
        <p:spPr>
          <a:xfrm>
            <a:off x="2693486" y="1158855"/>
            <a:ext cx="1099146" cy="1255288"/>
          </a:xfrm>
          <a:prstGeom prst="rect">
            <a:avLst/>
          </a:prstGeom>
        </p:spPr>
        <p:txBody>
          <a:bodyPr wrap="none">
            <a:spAutoFit/>
          </a:bodyPr>
          <a:lstStyle/>
          <a:p>
            <a:pPr defTabSz="932563"/>
            <a:r>
              <a:rPr lang="en-US" sz="7398" spc="-100" dirty="0" smtClean="0">
                <a:gradFill>
                  <a:gsLst>
                    <a:gs pos="0">
                      <a:srgbClr val="94D600"/>
                    </a:gs>
                    <a:gs pos="100000">
                      <a:srgbClr val="94D600"/>
                    </a:gs>
                  </a:gsLst>
                  <a:lin ang="5400000" scaled="1"/>
                </a:gradFill>
              </a:rPr>
              <a:t>@</a:t>
            </a:r>
            <a:endParaRPr lang="en-US" sz="7398" dirty="0">
              <a:gradFill>
                <a:gsLst>
                  <a:gs pos="0">
                    <a:srgbClr val="94D600"/>
                  </a:gs>
                  <a:gs pos="100000">
                    <a:srgbClr val="94D600"/>
                  </a:gs>
                </a:gsLst>
                <a:lin ang="5400000" scaled="1"/>
              </a:gradFill>
            </a:endParaRPr>
          </a:p>
        </p:txBody>
      </p:sp>
    </p:spTree>
    <p:extLst>
      <p:ext uri="{BB962C8B-B14F-4D97-AF65-F5344CB8AC3E}">
        <p14:creationId xmlns:p14="http://schemas.microsoft.com/office/powerpoint/2010/main" val="31144407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grpSp>
        <p:nvGrpSpPr>
          <p:cNvPr id="11" name="Group 10"/>
          <p:cNvGrpSpPr/>
          <p:nvPr userDrawn="1"/>
        </p:nvGrpSpPr>
        <p:grpSpPr>
          <a:xfrm>
            <a:off x="351972" y="361278"/>
            <a:ext cx="4338632" cy="3208845"/>
            <a:chOff x="174171" y="186653"/>
            <a:chExt cx="4338633" cy="3040975"/>
          </a:xfrm>
        </p:grpSpPr>
        <p:sp>
          <p:nvSpPr>
            <p:cNvPr id="7" name="TextBox 6"/>
            <p:cNvSpPr txBox="1"/>
            <p:nvPr userDrawn="1"/>
          </p:nvSpPr>
          <p:spPr>
            <a:xfrm>
              <a:off x="1161754" y="2034788"/>
              <a:ext cx="3169568" cy="1192840"/>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6" name="TextBox 5"/>
            <p:cNvSpPr txBox="1"/>
            <p:nvPr userDrawn="1"/>
          </p:nvSpPr>
          <p:spPr>
            <a:xfrm>
              <a:off x="174171" y="186653"/>
              <a:ext cx="4338633" cy="1805466"/>
            </a:xfrm>
            <a:prstGeom prst="rect">
              <a:avLst/>
            </a:prstGeom>
            <a:noFill/>
          </p:spPr>
          <p:txBody>
            <a:bodyPr wrap="none" lIns="182880" tIns="146304" rIns="182880" bIns="146304" rtlCol="0">
              <a:spAutoFit/>
            </a:bodyPr>
            <a:lstStyle/>
            <a:p>
              <a:pPr defTabSz="932563">
                <a:lnSpc>
                  <a:spcPct val="9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9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9" name="Rectangle 8"/>
          <p:cNvSpPr/>
          <p:nvPr userDrawn="1"/>
        </p:nvSpPr>
        <p:spPr>
          <a:xfrm>
            <a:off x="351971" y="2095480"/>
            <a:ext cx="1099146" cy="1255288"/>
          </a:xfrm>
          <a:prstGeom prst="rect">
            <a:avLst/>
          </a:prstGeom>
        </p:spPr>
        <p:txBody>
          <a:bodyPr wrap="none">
            <a:spAutoFit/>
          </a:bodyPr>
          <a:lstStyle/>
          <a:p>
            <a:pPr defTabSz="932563"/>
            <a:r>
              <a:rPr lang="en-US" sz="7398" spc="-100" dirty="0" smtClean="0">
                <a:gradFill>
                  <a:gsLst>
                    <a:gs pos="0">
                      <a:srgbClr val="94D600"/>
                    </a:gs>
                    <a:gs pos="100000">
                      <a:srgbClr val="94D600"/>
                    </a:gs>
                  </a:gsLst>
                  <a:lin ang="5400000" scaled="1"/>
                </a:gradFill>
              </a:rPr>
              <a:t>@</a:t>
            </a:r>
            <a:endParaRPr lang="en-US" sz="7398" dirty="0">
              <a:gradFill>
                <a:gsLst>
                  <a:gs pos="0">
                    <a:srgbClr val="94D600"/>
                  </a:gs>
                  <a:gs pos="100000">
                    <a:srgbClr val="94D600"/>
                  </a:gs>
                </a:gsLst>
                <a:lin ang="5400000" scaled="1"/>
              </a:gradFill>
            </a:endParaRPr>
          </a:p>
        </p:txBody>
      </p:sp>
    </p:spTree>
    <p:extLst>
      <p:ext uri="{BB962C8B-B14F-4D97-AF65-F5344CB8AC3E}">
        <p14:creationId xmlns:p14="http://schemas.microsoft.com/office/powerpoint/2010/main" val="195059839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2" name="Group 1"/>
          <p:cNvGrpSpPr/>
          <p:nvPr userDrawn="1"/>
        </p:nvGrpSpPr>
        <p:grpSpPr>
          <a:xfrm>
            <a:off x="39512617" y="2314833"/>
            <a:ext cx="6562529" cy="2921540"/>
            <a:chOff x="12685031" y="1199613"/>
            <a:chExt cx="4305550" cy="2921540"/>
          </a:xfrm>
        </p:grpSpPr>
        <p:grpSp>
          <p:nvGrpSpPr>
            <p:cNvPr id="79" name="Group 78"/>
            <p:cNvGrpSpPr/>
            <p:nvPr userDrawn="1"/>
          </p:nvGrpSpPr>
          <p:grpSpPr>
            <a:xfrm>
              <a:off x="12685031" y="1199613"/>
              <a:ext cx="4305550" cy="2921540"/>
              <a:chOff x="174171" y="186653"/>
              <a:chExt cx="4305550" cy="2921540"/>
            </a:xfrm>
          </p:grpSpPr>
          <p:sp>
            <p:nvSpPr>
              <p:cNvPr id="80" name="TextBox 79"/>
              <p:cNvSpPr txBox="1"/>
              <p:nvPr userDrawn="1"/>
            </p:nvSpPr>
            <p:spPr>
              <a:xfrm>
                <a:off x="2400228" y="1849505"/>
                <a:ext cx="2079493" cy="1258688"/>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81" name="TextBox 80"/>
              <p:cNvSpPr txBox="1"/>
              <p:nvPr userDrawn="1"/>
            </p:nvSpPr>
            <p:spPr>
              <a:xfrm>
                <a:off x="174171" y="186653"/>
                <a:ext cx="2846494" cy="1735625"/>
              </a:xfrm>
              <a:prstGeom prst="rect">
                <a:avLst/>
              </a:prstGeom>
              <a:noFill/>
            </p:spPr>
            <p:txBody>
              <a:bodyPr wrap="none" lIns="182880" tIns="146304" rIns="182880" bIns="146304" rtlCol="0">
                <a:spAutoFit/>
              </a:bodyPr>
              <a:lstStyle/>
              <a:p>
                <a:pPr defTabSz="932563">
                  <a:lnSpc>
                    <a:spcPct val="8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8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82" name="Rectangle 81"/>
            <p:cNvSpPr/>
            <p:nvPr userDrawn="1"/>
          </p:nvSpPr>
          <p:spPr>
            <a:xfrm>
              <a:off x="14313054" y="1847125"/>
              <a:ext cx="1196069" cy="1349459"/>
            </a:xfrm>
            <a:prstGeom prst="rect">
              <a:avLst/>
            </a:prstGeom>
          </p:spPr>
          <p:txBody>
            <a:bodyPr wrap="square">
              <a:spAutoFit/>
            </a:bodyPr>
            <a:lstStyle/>
            <a:p>
              <a:pPr defTabSz="932563"/>
              <a:r>
                <a:rPr lang="en-US" sz="7998" spc="-100" dirty="0" smtClean="0">
                  <a:gradFill>
                    <a:gsLst>
                      <a:gs pos="0">
                        <a:srgbClr val="94D600"/>
                      </a:gs>
                      <a:gs pos="100000">
                        <a:srgbClr val="94D600"/>
                      </a:gs>
                    </a:gsLst>
                    <a:lin ang="5400000" scaled="1"/>
                  </a:gradFill>
                </a:rPr>
                <a:t>@</a:t>
              </a:r>
              <a:endParaRPr lang="en-US" sz="7998" dirty="0">
                <a:gradFill>
                  <a:gsLst>
                    <a:gs pos="0">
                      <a:srgbClr val="94D600"/>
                    </a:gs>
                    <a:gs pos="100000">
                      <a:srgbClr val="94D600"/>
                    </a:gs>
                  </a:gsLst>
                  <a:lin ang="5400000" scaled="1"/>
                </a:gradFill>
              </a:endParaRPr>
            </a:p>
          </p:txBody>
        </p:sp>
      </p:grpSp>
      <p:pic>
        <p:nvPicPr>
          <p:cNvPr id="83" name="Picture 82"/>
          <p:cNvPicPr>
            <a:picLocks noChangeAspect="1"/>
          </p:cNvPicPr>
          <p:nvPr userDrawn="1"/>
        </p:nvPicPr>
        <p:blipFill>
          <a:blip r:embed="rId3"/>
          <a:stretch>
            <a:fillRect/>
          </a:stretch>
        </p:blipFill>
        <p:spPr>
          <a:xfrm>
            <a:off x="334183" y="363408"/>
            <a:ext cx="4606074" cy="1644780"/>
          </a:xfrm>
          <a:prstGeom prst="rect">
            <a:avLst/>
          </a:prstGeom>
        </p:spPr>
      </p:pic>
    </p:spTree>
    <p:extLst>
      <p:ext uri="{BB962C8B-B14F-4D97-AF65-F5344CB8AC3E}">
        <p14:creationId xmlns:p14="http://schemas.microsoft.com/office/powerpoint/2010/main" val="2789661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2" name="Group 1"/>
          <p:cNvGrpSpPr/>
          <p:nvPr userDrawn="1"/>
        </p:nvGrpSpPr>
        <p:grpSpPr>
          <a:xfrm>
            <a:off x="19764255" y="1157602"/>
            <a:ext cx="4338632" cy="2921540"/>
            <a:chOff x="12685031" y="1199613"/>
            <a:chExt cx="4338633" cy="2921540"/>
          </a:xfrm>
        </p:grpSpPr>
        <p:grpSp>
          <p:nvGrpSpPr>
            <p:cNvPr id="79" name="Group 78"/>
            <p:cNvGrpSpPr/>
            <p:nvPr userDrawn="1"/>
          </p:nvGrpSpPr>
          <p:grpSpPr>
            <a:xfrm>
              <a:off x="12685031" y="1199613"/>
              <a:ext cx="4338633" cy="2921540"/>
              <a:chOff x="174171" y="186653"/>
              <a:chExt cx="4338633" cy="2921540"/>
            </a:xfrm>
          </p:grpSpPr>
          <p:sp>
            <p:nvSpPr>
              <p:cNvPr id="80" name="TextBox 79"/>
              <p:cNvSpPr txBox="1"/>
              <p:nvPr userDrawn="1"/>
            </p:nvSpPr>
            <p:spPr>
              <a:xfrm>
                <a:off x="1130004" y="1849505"/>
                <a:ext cx="3169568" cy="1258688"/>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81" name="TextBox 80"/>
              <p:cNvSpPr txBox="1"/>
              <p:nvPr userDrawn="1"/>
            </p:nvSpPr>
            <p:spPr>
              <a:xfrm>
                <a:off x="174171" y="186653"/>
                <a:ext cx="4338633" cy="1735625"/>
              </a:xfrm>
              <a:prstGeom prst="rect">
                <a:avLst/>
              </a:prstGeom>
              <a:noFill/>
            </p:spPr>
            <p:txBody>
              <a:bodyPr wrap="none" lIns="182880" tIns="146304" rIns="182880" bIns="146304" rtlCol="0">
                <a:spAutoFit/>
              </a:bodyPr>
              <a:lstStyle/>
              <a:p>
                <a:pPr defTabSz="932563">
                  <a:lnSpc>
                    <a:spcPct val="8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8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82" name="Rectangle 81"/>
            <p:cNvSpPr/>
            <p:nvPr userDrawn="1"/>
          </p:nvSpPr>
          <p:spPr>
            <a:xfrm>
              <a:off x="12685031" y="2630897"/>
              <a:ext cx="1196069" cy="1349459"/>
            </a:xfrm>
            <a:prstGeom prst="rect">
              <a:avLst/>
            </a:prstGeom>
          </p:spPr>
          <p:txBody>
            <a:bodyPr wrap="square">
              <a:spAutoFit/>
            </a:bodyPr>
            <a:lstStyle/>
            <a:p>
              <a:pPr defTabSz="932563"/>
              <a:r>
                <a:rPr lang="en-US" sz="7998" spc="-100" dirty="0" smtClean="0">
                  <a:gradFill>
                    <a:gsLst>
                      <a:gs pos="0">
                        <a:srgbClr val="94D600"/>
                      </a:gs>
                      <a:gs pos="100000">
                        <a:srgbClr val="94D600"/>
                      </a:gs>
                    </a:gsLst>
                    <a:lin ang="5400000" scaled="1"/>
                  </a:gradFill>
                </a:rPr>
                <a:t>@</a:t>
              </a:r>
              <a:endParaRPr lang="en-US" sz="7998" dirty="0">
                <a:gradFill>
                  <a:gsLst>
                    <a:gs pos="0">
                      <a:srgbClr val="94D600"/>
                    </a:gs>
                    <a:gs pos="100000">
                      <a:srgbClr val="94D600"/>
                    </a:gs>
                  </a:gsLst>
                  <a:lin ang="5400000" scaled="1"/>
                </a:gradFill>
              </a:endParaRPr>
            </a:p>
          </p:txBody>
        </p:sp>
      </p:grpSp>
      <p:pic>
        <p:nvPicPr>
          <p:cNvPr id="11" name="Picture 10"/>
          <p:cNvPicPr>
            <a:picLocks noChangeAspect="1"/>
          </p:cNvPicPr>
          <p:nvPr userDrawn="1"/>
        </p:nvPicPr>
        <p:blipFill>
          <a:blip r:embed="rId3"/>
          <a:stretch>
            <a:fillRect/>
          </a:stretch>
        </p:blipFill>
        <p:spPr>
          <a:xfrm>
            <a:off x="337092" y="389908"/>
            <a:ext cx="2317209" cy="1580217"/>
          </a:xfrm>
          <a:prstGeom prst="rect">
            <a:avLst/>
          </a:prstGeom>
        </p:spPr>
      </p:pic>
    </p:spTree>
    <p:extLst>
      <p:ext uri="{BB962C8B-B14F-4D97-AF65-F5344CB8AC3E}">
        <p14:creationId xmlns:p14="http://schemas.microsoft.com/office/powerpoint/2010/main" val="3489940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pic>
        <p:nvPicPr>
          <p:cNvPr id="29" name="Picture 28"/>
          <p:cNvPicPr>
            <a:picLocks noChangeAspect="1"/>
          </p:cNvPicPr>
          <p:nvPr userDrawn="1"/>
        </p:nvPicPr>
        <p:blipFill>
          <a:blip r:embed="rId3"/>
          <a:stretch>
            <a:fillRect/>
          </a:stretch>
        </p:blipFill>
        <p:spPr>
          <a:xfrm>
            <a:off x="334183" y="363408"/>
            <a:ext cx="4606074" cy="1644780"/>
          </a:xfrm>
          <a:prstGeom prst="rect">
            <a:avLst/>
          </a:prstGeom>
        </p:spPr>
      </p:pic>
    </p:spTree>
    <p:extLst>
      <p:ext uri="{BB962C8B-B14F-4D97-AF65-F5344CB8AC3E}">
        <p14:creationId xmlns:p14="http://schemas.microsoft.com/office/powerpoint/2010/main" val="3230658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pic>
        <p:nvPicPr>
          <p:cNvPr id="28" name="Picture 27"/>
          <p:cNvPicPr>
            <a:picLocks noChangeAspect="1"/>
          </p:cNvPicPr>
          <p:nvPr userDrawn="1"/>
        </p:nvPicPr>
        <p:blipFill>
          <a:blip r:embed="rId3"/>
          <a:stretch>
            <a:fillRect/>
          </a:stretch>
        </p:blipFill>
        <p:spPr>
          <a:xfrm>
            <a:off x="337092" y="389908"/>
            <a:ext cx="2317209" cy="1580217"/>
          </a:xfrm>
          <a:prstGeom prst="rect">
            <a:avLst/>
          </a:prstGeom>
        </p:spPr>
      </p:pic>
    </p:spTree>
    <p:extLst>
      <p:ext uri="{BB962C8B-B14F-4D97-AF65-F5344CB8AC3E}">
        <p14:creationId xmlns:p14="http://schemas.microsoft.com/office/powerpoint/2010/main" val="39691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56486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65422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5129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0834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9398161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3247059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035275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527903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652604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877071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482075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theme" Target="../theme/theme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slideLayout" Target="../slideLayouts/slideLayout1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8" Type="http://schemas.openxmlformats.org/officeDocument/2006/relationships/slideLayout" Target="../slideLayouts/slideLayout89.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theme" Target="../theme/theme6.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40678518"/>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7" r:id="rId13"/>
    <p:sldLayoutId id="2147484208" r:id="rId14"/>
    <p:sldLayoutId id="2147484209" r:id="rId15"/>
    <p:sldLayoutId id="2147484210" r:id="rId16"/>
    <p:sldLayoutId id="2147484211" r:id="rId17"/>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0531"/>
            <a:ext cx="511664" cy="127131"/>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defTabSz="932563">
              <a:lnSpc>
                <a:spcPct val="90000"/>
              </a:lnSpc>
            </a:pPr>
            <a:fld id="{1BC86A1F-E589-44B2-A543-2EC98F5547A7}" type="slidenum">
              <a:rPr lang="en-US" smtClean="0">
                <a:gradFill>
                  <a:gsLst>
                    <a:gs pos="0">
                      <a:srgbClr val="505050"/>
                    </a:gs>
                    <a:gs pos="100000">
                      <a:srgbClr val="505050"/>
                    </a:gs>
                  </a:gsLst>
                  <a:lin ang="5400000" scaled="0"/>
                </a:gradFill>
              </a:rPr>
              <a:pPr defTabSz="932563">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03637482"/>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Lst>
  <p:transition>
    <p:fade/>
  </p:transition>
  <p:timing>
    <p:tnLst>
      <p:par>
        <p:cTn id="1" dur="indefinite" restart="never" nodeType="tmRoot"/>
      </p:par>
    </p:tnLst>
  </p:timing>
  <p:hf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gradFill>
            <a:gsLst>
              <a:gs pos="1250">
                <a:schemeClr val="tx1"/>
              </a:gs>
              <a:gs pos="100000">
                <a:schemeClr val="tx1"/>
              </a:gs>
            </a:gsLst>
            <a:lin ang="5400000" scaled="0"/>
          </a:gra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gradFill>
            <a:gsLst>
              <a:gs pos="1250">
                <a:schemeClr val="tx1"/>
              </a:gs>
              <a:gs pos="100000">
                <a:schemeClr val="tx1"/>
              </a:gs>
            </a:gsLst>
            <a:lin ang="5400000" scaled="0"/>
          </a:gra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9293105"/>
      </p:ext>
    </p:extLst>
  </p:cSld>
  <p:clrMap bg1="dk1" tx1="lt1" bg2="dk2" tx2="lt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0702978"/>
      </p:ext>
    </p:extLst>
  </p:cSld>
  <p:clrMap bg1="dk1" tx1="lt1" bg2="dk2" tx2="lt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 id="2147484286" r:id="rId29"/>
    <p:sldLayoutId id="2147484287" r:id="rId30"/>
    <p:sldLayoutId id="2147484288" r:id="rId31"/>
    <p:sldLayoutId id="2147484289" r:id="rId32"/>
    <p:sldLayoutId id="2147484290" r:id="rId33"/>
    <p:sldLayoutId id="2147484291" r:id="rId34"/>
    <p:sldLayoutId id="2147484292" r:id="rId35"/>
    <p:sldLayoutId id="2147484293" r:id="rId36"/>
    <p:sldLayoutId id="2147484294" r:id="rId37"/>
    <p:sldLayoutId id="2147484295" r:id="rId38"/>
    <p:sldLayoutId id="2147484296" r:id="rId39"/>
    <p:sldLayoutId id="2147484297" r:id="rId40"/>
    <p:sldLayoutId id="2147484298" r:id="rId41"/>
    <p:sldLayoutId id="2147484299" r:id="rId42"/>
    <p:sldLayoutId id="2147484300" r:id="rId43"/>
    <p:sldLayoutId id="2147484301" r:id="rId44"/>
    <p:sldLayoutId id="2147484302" r:id="rId45"/>
    <p:sldLayoutId id="2147484303" r:id="rId46"/>
    <p:sldLayoutId id="2147484304" r:id="rId47"/>
    <p:sldLayoutId id="2147484305" r:id="rId48"/>
    <p:sldLayoutId id="2147484306" r:id="rId49"/>
    <p:sldLayoutId id="2147484307" r:id="rId50"/>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20039440"/>
      </p:ext>
    </p:extLst>
  </p:cSld>
  <p:clrMap bg1="dk1" tx1="lt1" bg2="dk2" tx2="lt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 id="2147484322" r:id="rId14"/>
    <p:sldLayoutId id="2147484323" r:id="rId15"/>
    <p:sldLayoutId id="2147484324" r:id="rId16"/>
    <p:sldLayoutId id="2147484325" r:id="rId17"/>
    <p:sldLayoutId id="2147484326" r:id="rId18"/>
    <p:sldLayoutId id="2147484327" r:id="rId19"/>
    <p:sldLayoutId id="2147484328" r:id="rId20"/>
    <p:sldLayoutId id="2147484329" r:id="rId21"/>
    <p:sldLayoutId id="2147484330" r:id="rId22"/>
    <p:sldLayoutId id="2147484331"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4.png"/><Relationship Id="rId2" Type="http://schemas.openxmlformats.org/officeDocument/2006/relationships/notesSlide" Target="../notesSlides/notesSlide8.xml"/><Relationship Id="rId16" Type="http://schemas.openxmlformats.org/officeDocument/2006/relationships/image" Target="../media/image27.png"/><Relationship Id="rId1" Type="http://schemas.openxmlformats.org/officeDocument/2006/relationships/slideLayout" Target="../slideLayouts/slideLayout16.xml"/><Relationship Id="rId6" Type="http://schemas.openxmlformats.org/officeDocument/2006/relationships/diagramColors" Target="../diagrams/colors1.xml"/><Relationship Id="rId11" Type="http://schemas.openxmlformats.org/officeDocument/2006/relationships/image" Target="../media/image13.png"/><Relationship Id="rId5" Type="http://schemas.openxmlformats.org/officeDocument/2006/relationships/diagramQuickStyle" Target="../diagrams/quickStyle1.xml"/><Relationship Id="rId15" Type="http://schemas.microsoft.com/office/2007/relationships/hdphoto" Target="../media/hdphoto2.wdp"/><Relationship Id="rId10" Type="http://schemas.openxmlformats.org/officeDocument/2006/relationships/image" Target="../media/image12.png"/><Relationship Id="rId4" Type="http://schemas.openxmlformats.org/officeDocument/2006/relationships/diagramLayout" Target="../diagrams/layout1.xml"/><Relationship Id="rId9" Type="http://schemas.openxmlformats.org/officeDocument/2006/relationships/image" Target="../media/image17.png"/><Relationship Id="rId14" Type="http://schemas.openxmlformats.org/officeDocument/2006/relationships/image" Target="../media/image2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30.png"/><Relationship Id="rId7" Type="http://schemas.openxmlformats.org/officeDocument/2006/relationships/hyperlink" Target="microsoft.com/dv" TargetMode="External"/><Relationship Id="rId2" Type="http://schemas.openxmlformats.org/officeDocument/2006/relationships/notesSlide" Target="../notesSlides/notesSlide13.xml"/><Relationship Id="rId1" Type="http://schemas.openxmlformats.org/officeDocument/2006/relationships/slideLayout" Target="../slideLayouts/slideLayout73.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www.microsoft.com/workstyle" TargetMode="External"/><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en-us/server-cloud/windows-server/virtual-desktop-infrastructure.aspx" TargetMode="External"/><Relationship Id="rId2" Type="http://schemas.openxmlformats.org/officeDocument/2006/relationships/notesSlide" Target="../notesSlides/notesSlide14.xml"/><Relationship Id="rId1" Type="http://schemas.openxmlformats.org/officeDocument/2006/relationships/slideLayout" Target="../slideLayouts/slideLayout96.xml"/><Relationship Id="rId6" Type="http://schemas.openxmlformats.org/officeDocument/2006/relationships/hyperlink" Target="http://technet.microsoft.com/en-us/evalcenter/hh670538.aspx?ocid=&amp;wt.mc_id=TEC_108_1_33" TargetMode="External"/><Relationship Id="rId11" Type="http://schemas.openxmlformats.org/officeDocument/2006/relationships/image" Target="../media/image32.png"/><Relationship Id="rId5" Type="http://schemas.openxmlformats.org/officeDocument/2006/relationships/hyperlink" Target="http://www.microsoft.com/en-us/server-cloud/windows-server" TargetMode="External"/><Relationship Id="rId10" Type="http://schemas.openxmlformats.org/officeDocument/2006/relationships/image" Target="../media/image31.png"/><Relationship Id="rId4" Type="http://schemas.openxmlformats.org/officeDocument/2006/relationships/hyperlink" Target="http://www.microsoft.com/en-us/windows/windowsintune/try-and-buy" TargetMode="External"/><Relationship Id="rId9" Type="http://schemas.openxmlformats.org/officeDocument/2006/relationships/hyperlink" Target="http://www.microsoft.com/server-cloud/user-device-management"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notesSlide" Target="../notesSlides/notesSlide3.xml"/><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slideLayout" Target="../slideLayouts/slideLayout31.xml"/><Relationship Id="rId1" Type="http://schemas.openxmlformats.org/officeDocument/2006/relationships/tags" Target="../tags/tag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png"/><Relationship Id="rId7"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png"/><Relationship Id="rId9" Type="http://schemas.openxmlformats.org/officeDocument/2006/relationships/image" Target="../media/image40.jpe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147.xml"/><Relationship Id="rId5" Type="http://schemas.openxmlformats.org/officeDocument/2006/relationships/image" Target="../media/image43.png"/><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 I Secure Access?</a:t>
            </a:r>
            <a:endParaRPr lang="en-US" dirty="0"/>
          </a:p>
        </p:txBody>
      </p:sp>
      <p:graphicFrame>
        <p:nvGraphicFramePr>
          <p:cNvPr id="3" name="Diagram 2"/>
          <p:cNvGraphicFramePr/>
          <p:nvPr>
            <p:extLst>
              <p:ext uri="{D42A27DB-BD31-4B8C-83A1-F6EECF244321}">
                <p14:modId xmlns:p14="http://schemas.microsoft.com/office/powerpoint/2010/main" val="2571548654"/>
              </p:ext>
            </p:extLst>
          </p:nvPr>
        </p:nvGraphicFramePr>
        <p:xfrm>
          <a:off x="2207829" y="1392382"/>
          <a:ext cx="7996044" cy="5221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004511" y="4264442"/>
            <a:ext cx="484306" cy="729449"/>
          </a:xfrm>
          <a:prstGeom prst="rect">
            <a:avLst/>
          </a:prstGeom>
          <a:blipFill dpi="0" rotWithShape="1">
            <a:blip r:embed="rId9">
              <a:alphaModFix amt="95000"/>
              <a:duotone>
                <a:schemeClr val="accent1">
                  <a:shade val="45000"/>
                  <a:satMod val="135000"/>
                </a:schemeClr>
                <a:prstClr val="white"/>
              </a:duotone>
            </a:blip>
            <a:srcRect/>
            <a:stretch>
              <a:fillRect/>
            </a:stretch>
          </a:blipFill>
          <a:ln w="55000" cap="flat" cmpd="thickThin" algn="ctr">
            <a:noFill/>
            <a:prstDash val="solid"/>
            <a:headEnd type="none" w="med" len="med"/>
            <a:tailEnd type="none" w="med" len="med"/>
          </a:ln>
          <a:effectLst/>
        </p:spPr>
      </p:pic>
      <p:grpSp>
        <p:nvGrpSpPr>
          <p:cNvPr id="21" name="Group 20"/>
          <p:cNvGrpSpPr/>
          <p:nvPr/>
        </p:nvGrpSpPr>
        <p:grpSpPr>
          <a:xfrm>
            <a:off x="2479677" y="5593890"/>
            <a:ext cx="625090" cy="524986"/>
            <a:chOff x="3405878" y="3091775"/>
            <a:chExt cx="1861327" cy="1493577"/>
          </a:xfrm>
        </p:grpSpPr>
        <p:pic>
          <p:nvPicPr>
            <p:cNvPr id="22" name="Picture 21"/>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30678" y="3121160"/>
              <a:ext cx="752857" cy="648688"/>
            </a:xfrm>
            <a:prstGeom prst="rect">
              <a:avLst/>
            </a:prstGeom>
          </p:spPr>
        </p:pic>
        <p:pic>
          <p:nvPicPr>
            <p:cNvPr id="23" name="Picture 22"/>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05878" y="3790480"/>
              <a:ext cx="1274996" cy="794872"/>
            </a:xfrm>
            <a:prstGeom prst="rect">
              <a:avLst/>
            </a:prstGeom>
          </p:spPr>
        </p:pic>
        <p:pic>
          <p:nvPicPr>
            <p:cNvPr id="24" name="Picture 23"/>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92804" y="3827774"/>
              <a:ext cx="474401" cy="648813"/>
            </a:xfrm>
            <a:prstGeom prst="rect">
              <a:avLst/>
            </a:prstGeom>
          </p:spPr>
        </p:pic>
        <p:pic>
          <p:nvPicPr>
            <p:cNvPr id="25" name="Picture 24"/>
            <p:cNvPicPr>
              <a:picLocks noChangeAspect="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664377" y="3091775"/>
              <a:ext cx="512677" cy="664847"/>
            </a:xfrm>
            <a:prstGeom prst="rect">
              <a:avLst/>
            </a:prstGeom>
          </p:spPr>
        </p:pic>
      </p:grpSp>
      <p:pic>
        <p:nvPicPr>
          <p:cNvPr id="37" name="Picture 4" descr="W:\Open Engagements\Productivity\MS-Unified Communications\#1601 BizProd MOD Team Core Content Work\New Iconography\Words\Draft\061312_Word_Icons\Tools_061312_white-04.png"/>
          <p:cNvPicPr>
            <a:picLocks noChangeAspect="1" noChangeArrowheads="1"/>
          </p:cNvPicPr>
          <p:nvPr/>
        </p:nvPicPr>
        <p:blipFill>
          <a:blip r:embed="rId14" cstate="print">
            <a:duotone>
              <a:prstClr val="black"/>
              <a:schemeClr val="accent1">
                <a:tint val="45000"/>
                <a:satMod val="400000"/>
              </a:schemeClr>
            </a:duotone>
            <a:extLst>
              <a:ext uri="{BEBA8EAE-BF5A-486C-A8C5-ECC9F3942E4B}">
                <a14:imgProps xmlns:a14="http://schemas.microsoft.com/office/drawing/2010/main">
                  <a14:imgLayer r:embed="rId15">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bwMode="auto">
          <a:xfrm>
            <a:off x="2943647" y="3068644"/>
            <a:ext cx="672939" cy="6729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8" name="Picture 3" descr="C:\Users\hannahr\Dropbox\MOD Servers Metro Icon Library\victor melniciuc\PNGs\Tech_Words\TechWords_06-13-12-Security.png"/>
          <p:cNvPicPr>
            <a:picLocks noChangeAspect="1" noChangeArrowheads="1"/>
          </p:cNvPicPr>
          <p:nvPr/>
        </p:nvPicPr>
        <p:blipFill>
          <a:blip r:embed="rId16"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219290" y="1698406"/>
            <a:ext cx="1060826" cy="1060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26734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spTree>
    <p:extLst>
      <p:ext uri="{BB962C8B-B14F-4D97-AF65-F5344CB8AC3E}">
        <p14:creationId xmlns:p14="http://schemas.microsoft.com/office/powerpoint/2010/main" val="13535196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73598649"/>
              </p:ext>
            </p:extLst>
          </p:nvPr>
        </p:nvGraphicFramePr>
        <p:xfrm>
          <a:off x="517385" y="1355349"/>
          <a:ext cx="11295583" cy="4954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840513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Primary Authentication</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312972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99073308"/>
              </p:ext>
            </p:extLst>
          </p:nvPr>
        </p:nvGraphicFramePr>
        <p:xfrm>
          <a:off x="325602" y="1295389"/>
          <a:ext cx="11577307" cy="5119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273654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87463631"/>
              </p:ext>
            </p:extLst>
          </p:nvPr>
        </p:nvGraphicFramePr>
        <p:xfrm>
          <a:off x="277029" y="1378123"/>
          <a:ext cx="11509304" cy="51469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66072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FA Integration with Partners</a:t>
            </a:r>
            <a:endParaRPr lang="en-US" dirty="0"/>
          </a:p>
        </p:txBody>
      </p:sp>
      <p:sp>
        <p:nvSpPr>
          <p:cNvPr id="3" name="Text Placeholder 2"/>
          <p:cNvSpPr>
            <a:spLocks noGrp="1"/>
          </p:cNvSpPr>
          <p:nvPr>
            <p:ph type="body" sz="quarter" idx="10"/>
          </p:nvPr>
        </p:nvSpPr>
        <p:spPr>
          <a:xfrm>
            <a:off x="439531" y="3281492"/>
            <a:ext cx="5486399" cy="3416320"/>
          </a:xfrm>
        </p:spPr>
        <p:txBody>
          <a:bodyPr/>
          <a:lstStyle/>
          <a:p>
            <a:pPr lvl="0"/>
            <a:r>
              <a:rPr lang="en-US" sz="2000" dirty="0"/>
              <a:t>Offers convenient out-of-band phone call, text message, and mobile app authentication, as well as one-time-passcodes</a:t>
            </a:r>
          </a:p>
          <a:p>
            <a:pPr lvl="0"/>
            <a:r>
              <a:rPr lang="en-US" sz="2000" dirty="0"/>
              <a:t>Synchronizes with Active Directory for centralized user management and automated enrollment</a:t>
            </a:r>
          </a:p>
          <a:p>
            <a:pPr lvl="0"/>
            <a:r>
              <a:rPr lang="en-US" sz="2000" dirty="0"/>
              <a:t>Features built-in support for leading on-premises applications as well as federation to cloud services</a:t>
            </a:r>
          </a:p>
          <a:p>
            <a:endParaRPr lang="en-US" sz="2000" dirty="0"/>
          </a:p>
        </p:txBody>
      </p:sp>
      <p:sp>
        <p:nvSpPr>
          <p:cNvPr id="4" name="Text Placeholder 3"/>
          <p:cNvSpPr>
            <a:spLocks noGrp="1"/>
          </p:cNvSpPr>
          <p:nvPr>
            <p:ph type="body" sz="quarter" idx="11"/>
          </p:nvPr>
        </p:nvSpPr>
        <p:spPr>
          <a:xfrm>
            <a:off x="6677485" y="3307056"/>
            <a:ext cx="5486399" cy="3127010"/>
          </a:xfrm>
        </p:spPr>
        <p:txBody>
          <a:bodyPr/>
          <a:lstStyle/>
          <a:p>
            <a:r>
              <a:rPr lang="en-US" sz="2000" dirty="0"/>
              <a:t>SafeNet Authentication Service delivers versatile strong authentication </a:t>
            </a:r>
            <a:r>
              <a:rPr lang="en-US" sz="2000" dirty="0" smtClean="0"/>
              <a:t>as-a-service</a:t>
            </a:r>
          </a:p>
          <a:p>
            <a:r>
              <a:rPr lang="en-US" sz="2000" dirty="0" smtClean="0"/>
              <a:t>Support for Hardware/Software OTP, SMS &amp; </a:t>
            </a:r>
            <a:r>
              <a:rPr lang="en-US" sz="2000" dirty="0" err="1" smtClean="0"/>
              <a:t>GrIDSure</a:t>
            </a:r>
            <a:r>
              <a:rPr lang="en-US" sz="2000" dirty="0" smtClean="0"/>
              <a:t> (pattern based AuthN)</a:t>
            </a:r>
            <a:endParaRPr lang="en-US" sz="2000" dirty="0"/>
          </a:p>
          <a:p>
            <a:r>
              <a:rPr lang="en-US" sz="2000" dirty="0"/>
              <a:t>Available as a Cloud Service </a:t>
            </a:r>
            <a:r>
              <a:rPr lang="en-US" sz="2000" dirty="0" smtClean="0"/>
              <a:t> with no additional infrastructure</a:t>
            </a:r>
            <a:endParaRPr lang="en-US" sz="2000" dirty="0"/>
          </a:p>
          <a:p>
            <a:r>
              <a:rPr lang="en-US" sz="2000" dirty="0"/>
              <a:t>Automated Provisioning</a:t>
            </a:r>
          </a:p>
          <a:p>
            <a:endParaRPr lang="en-US" sz="2800" dirty="0"/>
          </a:p>
        </p:txBody>
      </p:sp>
      <p:pic>
        <p:nvPicPr>
          <p:cNvPr id="5" name="Picture 4"/>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7503426" y="1838668"/>
            <a:ext cx="3874707" cy="1088970"/>
          </a:xfrm>
          <a:prstGeom prst="rect">
            <a:avLst/>
          </a:prstGeom>
        </p:spPr>
      </p:pic>
      <p:pic>
        <p:nvPicPr>
          <p:cNvPr id="6" name="Picture 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21636" y="1259176"/>
            <a:ext cx="675799" cy="1725930"/>
          </a:xfrm>
          <a:prstGeom prst="rect">
            <a:avLst/>
          </a:prstGeom>
        </p:spPr>
      </p:pic>
      <p:sp>
        <p:nvSpPr>
          <p:cNvPr id="7" name="TextBox 6"/>
          <p:cNvSpPr txBox="1"/>
          <p:nvPr/>
        </p:nvSpPr>
        <p:spPr>
          <a:xfrm>
            <a:off x="1633928" y="1828523"/>
            <a:ext cx="3417757" cy="1314655"/>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Windows Azure Active Authentication</a:t>
            </a:r>
          </a:p>
          <a:p>
            <a:pPr>
              <a:lnSpc>
                <a:spcPct val="90000"/>
              </a:lnSpc>
              <a:spcAft>
                <a:spcPts val="600"/>
              </a:spcAft>
            </a:pPr>
            <a:r>
              <a:rPr lang="en-US" sz="2000" b="1"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a:t>
            </a:r>
            <a:r>
              <a:rPr lang="en-US" sz="2000" b="1" dirty="0" err="1"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a.k.a</a:t>
            </a:r>
            <a:r>
              <a:rPr lang="en-US" sz="2000" b="1"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 </a:t>
            </a:r>
            <a:r>
              <a:rPr lang="en-US" sz="2000" b="1" dirty="0" err="1"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PhoneFactor</a:t>
            </a:r>
            <a:r>
              <a:rPr lang="en-US" sz="2000" b="1"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a:t>
            </a:r>
          </a:p>
        </p:txBody>
      </p:sp>
      <p:sp>
        <p:nvSpPr>
          <p:cNvPr id="8" name="Rectangle 7"/>
          <p:cNvSpPr/>
          <p:nvPr/>
        </p:nvSpPr>
        <p:spPr bwMode="auto">
          <a:xfrm>
            <a:off x="5925930" y="6011056"/>
            <a:ext cx="6510545" cy="9834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MORE ON THE WAY!</a:t>
            </a:r>
          </a:p>
        </p:txBody>
      </p:sp>
    </p:spTree>
    <p:extLst>
      <p:ext uri="{BB962C8B-B14F-4D97-AF65-F5344CB8AC3E}">
        <p14:creationId xmlns:p14="http://schemas.microsoft.com/office/powerpoint/2010/main" val="1821528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dditional Authentication</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1366165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orization</a:t>
            </a:r>
            <a:endParaRPr lang="en-US" dirty="0"/>
          </a:p>
        </p:txBody>
      </p:sp>
    </p:spTree>
    <p:extLst>
      <p:ext uri="{BB962C8B-B14F-4D97-AF65-F5344CB8AC3E}">
        <p14:creationId xmlns:p14="http://schemas.microsoft.com/office/powerpoint/2010/main" val="146439891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oriz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181383754"/>
              </p:ext>
            </p:extLst>
          </p:nvPr>
        </p:nvGraphicFramePr>
        <p:xfrm>
          <a:off x="277029" y="1215356"/>
          <a:ext cx="11882419" cy="54102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149561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sz="4000" dirty="0"/>
              <a:t>Secure anywhere access to corporate resources such as Windows Server Work Folders using ADFS</a:t>
            </a:r>
          </a:p>
        </p:txBody>
      </p:sp>
      <p:sp>
        <p:nvSpPr>
          <p:cNvPr id="5" name="Text Placeholder 4"/>
          <p:cNvSpPr>
            <a:spLocks noGrp="1"/>
          </p:cNvSpPr>
          <p:nvPr>
            <p:ph type="body" sz="quarter" idx="12"/>
          </p:nvPr>
        </p:nvSpPr>
        <p:spPr/>
        <p:txBody>
          <a:bodyPr/>
          <a:lstStyle/>
          <a:p>
            <a:r>
              <a:rPr lang="en-US" dirty="0" smtClean="0"/>
              <a:t>Samuel Devasahayam</a:t>
            </a:r>
          </a:p>
          <a:p>
            <a:r>
              <a:rPr lang="en-US" dirty="0" smtClean="0"/>
              <a:t>Adam Skewgar</a:t>
            </a:r>
          </a:p>
          <a:p>
            <a:r>
              <a:rPr lang="en-US" dirty="0" smtClean="0"/>
              <a:t>Microsoft</a:t>
            </a:r>
            <a:endParaRPr lang="en-US" dirty="0"/>
          </a:p>
        </p:txBody>
      </p:sp>
      <p:sp>
        <p:nvSpPr>
          <p:cNvPr id="14" name="Text Placeholder 13"/>
          <p:cNvSpPr>
            <a:spLocks noGrp="1"/>
          </p:cNvSpPr>
          <p:nvPr>
            <p:ph type="body" sz="quarter" idx="13"/>
          </p:nvPr>
        </p:nvSpPr>
        <p:spPr/>
        <p:txBody>
          <a:bodyPr/>
          <a:lstStyle/>
          <a:p>
            <a:r>
              <a:rPr lang="en-US" dirty="0" smtClean="0"/>
              <a:t>WCA-B334</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orization</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2057603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Tree>
    <p:extLst>
      <p:ext uri="{BB962C8B-B14F-4D97-AF65-F5344CB8AC3E}">
        <p14:creationId xmlns:p14="http://schemas.microsoft.com/office/powerpoint/2010/main" val="92118342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
        <p:nvSpPr>
          <p:cNvPr id="3" name="Content Placeholder 2"/>
          <p:cNvSpPr>
            <a:spLocks noGrp="1"/>
          </p:cNvSpPr>
          <p:nvPr>
            <p:ph sz="quarter" idx="10"/>
          </p:nvPr>
        </p:nvSpPr>
        <p:spPr>
          <a:xfrm>
            <a:off x="274321" y="2353725"/>
            <a:ext cx="11889564" cy="3754874"/>
          </a:xfrm>
        </p:spPr>
        <p:txBody>
          <a:bodyPr/>
          <a:lstStyle/>
          <a:p>
            <a:r>
              <a:rPr lang="en-US" dirty="0" smtClean="0"/>
              <a:t>Threshold &amp; ‘Observation Window’ settable by admin</a:t>
            </a:r>
          </a:p>
          <a:p>
            <a:r>
              <a:rPr lang="en-US" dirty="0" smtClean="0"/>
              <a:t>Once threshold has exceeded, authentication with username/</a:t>
            </a:r>
            <a:r>
              <a:rPr lang="en-US" dirty="0" err="1" smtClean="0"/>
              <a:t>pwd</a:t>
            </a:r>
            <a:r>
              <a:rPr lang="en-US" dirty="0" smtClean="0"/>
              <a:t> will be denied authentication for ‘Observation Window’ from extranet</a:t>
            </a:r>
          </a:p>
          <a:p>
            <a:r>
              <a:rPr lang="en-US" dirty="0" smtClean="0"/>
              <a:t>Can be layered on top of AD Lockout policies but </a:t>
            </a:r>
            <a:r>
              <a:rPr lang="en-US" u="sng" dirty="0" smtClean="0"/>
              <a:t>not required</a:t>
            </a:r>
          </a:p>
        </p:txBody>
      </p:sp>
      <p:sp>
        <p:nvSpPr>
          <p:cNvPr id="4" name="Rectangle 3"/>
          <p:cNvSpPr/>
          <p:nvPr/>
        </p:nvSpPr>
        <p:spPr bwMode="auto">
          <a:xfrm>
            <a:off x="864" y="1357281"/>
            <a:ext cx="12163020" cy="7942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3200" dirty="0"/>
              <a:t>Extranet Bad Password Lockout </a:t>
            </a:r>
          </a:p>
        </p:txBody>
      </p:sp>
    </p:spTree>
    <p:extLst>
      <p:ext uri="{BB962C8B-B14F-4D97-AF65-F5344CB8AC3E}">
        <p14:creationId xmlns:p14="http://schemas.microsoft.com/office/powerpoint/2010/main" val="418374378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
        <p:nvSpPr>
          <p:cNvPr id="3" name="Content Placeholder 2"/>
          <p:cNvSpPr>
            <a:spLocks noGrp="1"/>
          </p:cNvSpPr>
          <p:nvPr>
            <p:ph sz="quarter" idx="10"/>
          </p:nvPr>
        </p:nvSpPr>
        <p:spPr>
          <a:xfrm>
            <a:off x="274319" y="2353725"/>
            <a:ext cx="11889565" cy="1969770"/>
          </a:xfrm>
        </p:spPr>
        <p:txBody>
          <a:bodyPr/>
          <a:lstStyle/>
          <a:p>
            <a:r>
              <a:rPr lang="en-US" dirty="0"/>
              <a:t>User@Device objects can be disabled or deleted in AD</a:t>
            </a:r>
          </a:p>
          <a:p>
            <a:r>
              <a:rPr lang="en-US" dirty="0"/>
              <a:t>Authentication is blocked if User@Device is disabled or not found </a:t>
            </a:r>
          </a:p>
        </p:txBody>
      </p:sp>
      <p:sp>
        <p:nvSpPr>
          <p:cNvPr id="4" name="Rectangle 3"/>
          <p:cNvSpPr/>
          <p:nvPr/>
        </p:nvSpPr>
        <p:spPr bwMode="auto">
          <a:xfrm>
            <a:off x="864" y="1357281"/>
            <a:ext cx="12163020" cy="7942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3200" dirty="0"/>
              <a:t>Protection For Lost Devices</a:t>
            </a:r>
          </a:p>
        </p:txBody>
      </p:sp>
    </p:spTree>
    <p:extLst>
      <p:ext uri="{BB962C8B-B14F-4D97-AF65-F5344CB8AC3E}">
        <p14:creationId xmlns:p14="http://schemas.microsoft.com/office/powerpoint/2010/main" val="174515833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
        <p:nvSpPr>
          <p:cNvPr id="3" name="Content Placeholder 2"/>
          <p:cNvSpPr>
            <a:spLocks noGrp="1"/>
          </p:cNvSpPr>
          <p:nvPr>
            <p:ph sz="quarter" idx="10"/>
          </p:nvPr>
        </p:nvSpPr>
        <p:spPr>
          <a:xfrm>
            <a:off x="274319" y="2353725"/>
            <a:ext cx="11889565" cy="3077766"/>
          </a:xfrm>
        </p:spPr>
        <p:txBody>
          <a:bodyPr/>
          <a:lstStyle/>
          <a:p>
            <a:r>
              <a:rPr lang="en-US" dirty="0"/>
              <a:t>Invalidate SSO state generated prior to specific timestamp available for rare ‘breach’ events</a:t>
            </a:r>
          </a:p>
          <a:p>
            <a:r>
              <a:rPr lang="en-US" dirty="0"/>
              <a:t>SSO state invalidated any time User@Device certificate does not match with information stored in SSO state</a:t>
            </a:r>
          </a:p>
        </p:txBody>
      </p:sp>
      <p:sp>
        <p:nvSpPr>
          <p:cNvPr id="4" name="Rectangle 3"/>
          <p:cNvSpPr/>
          <p:nvPr/>
        </p:nvSpPr>
        <p:spPr bwMode="auto">
          <a:xfrm>
            <a:off x="864" y="1357281"/>
            <a:ext cx="12163020" cy="7942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3200" dirty="0" smtClean="0"/>
              <a:t>Other Security</a:t>
            </a:r>
            <a:endParaRPr lang="en-US" sz="3200" dirty="0"/>
          </a:p>
        </p:txBody>
      </p:sp>
    </p:spTree>
    <p:extLst>
      <p:ext uri="{BB962C8B-B14F-4D97-AF65-F5344CB8AC3E}">
        <p14:creationId xmlns:p14="http://schemas.microsoft.com/office/powerpoint/2010/main" val="17905859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on your Users &amp; Devices</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2015343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1089529"/>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204: AD Enables End User Productivity &amp; IT Risk Management across a Variety of Devices</a:t>
            </a:r>
            <a:endParaRPr lang="en-US" sz="3600" dirty="0">
              <a:gradFill>
                <a:gsLst>
                  <a:gs pos="1250">
                    <a:schemeClr val="tx1"/>
                  </a:gs>
                  <a:gs pos="100000">
                    <a:schemeClr val="tx1"/>
                  </a:gs>
                </a:gsLst>
                <a:lin ang="5400000" scaled="0"/>
              </a:gradFill>
              <a:latin typeface="+mj-lt"/>
            </a:endParaRPr>
          </a:p>
        </p:txBody>
      </p:sp>
      <p:sp>
        <p:nvSpPr>
          <p:cNvPr id="8" name="Rectangle 7"/>
          <p:cNvSpPr/>
          <p:nvPr/>
        </p:nvSpPr>
        <p:spPr>
          <a:xfrm>
            <a:off x="371669" y="2742328"/>
            <a:ext cx="11790169" cy="1588127"/>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333</a:t>
            </a:r>
            <a:r>
              <a:rPr lang="en-US" sz="3600" dirty="0">
                <a:gradFill>
                  <a:gsLst>
                    <a:gs pos="1250">
                      <a:schemeClr val="tx1"/>
                    </a:gs>
                    <a:gs pos="100000">
                      <a:schemeClr val="tx1"/>
                    </a:gs>
                  </a:gsLst>
                  <a:lin ang="5400000" scaled="0"/>
                </a:gradFill>
                <a:latin typeface="+mj-lt"/>
              </a:rPr>
              <a:t>: Enable </a:t>
            </a:r>
            <a:r>
              <a:rPr lang="en-US" sz="3600" dirty="0" smtClean="0">
                <a:gradFill>
                  <a:gsLst>
                    <a:gs pos="1250">
                      <a:schemeClr val="tx1"/>
                    </a:gs>
                    <a:gs pos="100000">
                      <a:schemeClr val="tx1"/>
                    </a:gs>
                  </a:gsLst>
                  <a:lin ang="5400000" scaled="0"/>
                </a:gradFill>
                <a:latin typeface="+mj-lt"/>
              </a:rPr>
              <a:t>Work </a:t>
            </a:r>
            <a:r>
              <a:rPr lang="en-US" sz="3600" dirty="0">
                <a:gradFill>
                  <a:gsLst>
                    <a:gs pos="1250">
                      <a:schemeClr val="tx1"/>
                    </a:gs>
                    <a:gs pos="100000">
                      <a:schemeClr val="tx1"/>
                    </a:gs>
                  </a:gsLst>
                  <a:lin ang="5400000" scaled="0"/>
                </a:gradFill>
                <a:latin typeface="+mj-lt"/>
              </a:rPr>
              <a:t>from </a:t>
            </a:r>
            <a:r>
              <a:rPr lang="en-US" sz="3600" dirty="0" smtClean="0">
                <a:gradFill>
                  <a:gsLst>
                    <a:gs pos="1250">
                      <a:schemeClr val="tx1"/>
                    </a:gs>
                    <a:gs pos="100000">
                      <a:schemeClr val="tx1"/>
                    </a:gs>
                  </a:gsLst>
                  <a:lin ang="5400000" scaled="0"/>
                </a:gradFill>
                <a:latin typeface="+mj-lt"/>
              </a:rPr>
              <a:t>Anywhere </a:t>
            </a:r>
            <a:r>
              <a:rPr lang="en-US" sz="3600" dirty="0">
                <a:gradFill>
                  <a:gsLst>
                    <a:gs pos="1250">
                      <a:schemeClr val="tx1"/>
                    </a:gs>
                    <a:gs pos="100000">
                      <a:schemeClr val="tx1"/>
                    </a:gs>
                  </a:gsLst>
                  <a:lin ang="5400000" scaled="0"/>
                </a:gradFill>
                <a:latin typeface="+mj-lt"/>
              </a:rPr>
              <a:t>without </a:t>
            </a:r>
            <a:r>
              <a:rPr lang="en-US" sz="3600" dirty="0" smtClean="0">
                <a:gradFill>
                  <a:gsLst>
                    <a:gs pos="1250">
                      <a:schemeClr val="tx1"/>
                    </a:gs>
                    <a:gs pos="100000">
                      <a:schemeClr val="tx1"/>
                    </a:gs>
                  </a:gsLst>
                  <a:lin ang="5400000" scaled="0"/>
                </a:gradFill>
                <a:latin typeface="+mj-lt"/>
              </a:rPr>
              <a:t>Losing Sleep</a:t>
            </a:r>
            <a:r>
              <a:rPr lang="en-US" sz="3600" dirty="0">
                <a:gradFill>
                  <a:gsLst>
                    <a:gs pos="1250">
                      <a:schemeClr val="tx1"/>
                    </a:gs>
                    <a:gs pos="100000">
                      <a:schemeClr val="tx1"/>
                    </a:gs>
                  </a:gsLst>
                  <a:lin ang="5400000" scaled="0"/>
                </a:gradFill>
                <a:latin typeface="+mj-lt"/>
              </a:rPr>
              <a:t>: </a:t>
            </a:r>
            <a:r>
              <a:rPr lang="en-US" sz="3600" dirty="0" smtClean="0">
                <a:gradFill>
                  <a:gsLst>
                    <a:gs pos="1250">
                      <a:schemeClr val="tx1"/>
                    </a:gs>
                    <a:gs pos="100000">
                      <a:schemeClr val="tx1"/>
                    </a:gs>
                  </a:gsLst>
                  <a:lin ang="5400000" scaled="0"/>
                </a:gradFill>
                <a:latin typeface="+mj-lt"/>
              </a:rPr>
              <a:t>Remote Access </a:t>
            </a:r>
            <a:r>
              <a:rPr lang="en-US" sz="3600" dirty="0">
                <a:gradFill>
                  <a:gsLst>
                    <a:gs pos="1250">
                      <a:schemeClr val="tx1"/>
                    </a:gs>
                    <a:gs pos="100000">
                      <a:schemeClr val="tx1"/>
                    </a:gs>
                  </a:gsLst>
                  <a:lin ang="5400000" scaled="0"/>
                </a:gradFill>
                <a:latin typeface="+mj-lt"/>
              </a:rPr>
              <a:t>with the Web Application Proxy and VPN </a:t>
            </a:r>
            <a:r>
              <a:rPr lang="en-US" sz="3600" dirty="0" smtClean="0">
                <a:gradFill>
                  <a:gsLst>
                    <a:gs pos="1250">
                      <a:schemeClr val="tx1"/>
                    </a:gs>
                    <a:gs pos="100000">
                      <a:schemeClr val="tx1"/>
                    </a:gs>
                  </a:gsLst>
                  <a:lin ang="5400000" scaled="0"/>
                </a:gradFill>
                <a:latin typeface="+mj-lt"/>
              </a:rPr>
              <a:t>Solutions</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a:xfrm>
            <a:off x="371669" y="4480355"/>
            <a:ext cx="11790169" cy="590931"/>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DN03: Enabling People Centric IT</a:t>
            </a:r>
            <a:endParaRPr lang="en-US" sz="3600" dirty="0">
              <a:gradFill>
                <a:gsLst>
                  <a:gs pos="1250">
                    <a:schemeClr val="tx1"/>
                  </a:gs>
                  <a:gs pos="100000">
                    <a:schemeClr val="tx1"/>
                  </a:gs>
                </a:gsLst>
                <a:lin ang="5400000" scaled="0"/>
              </a:gradFill>
              <a:latin typeface="+mj-lt"/>
            </a:endParaRPr>
          </a:p>
        </p:txBody>
      </p:sp>
    </p:spTree>
    <p:extLst>
      <p:ext uri="{BB962C8B-B14F-4D97-AF65-F5344CB8AC3E}">
        <p14:creationId xmlns:p14="http://schemas.microsoft.com/office/powerpoint/2010/main" val="157440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1588127"/>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b="1" dirty="0" smtClean="0">
                <a:gradFill>
                  <a:gsLst>
                    <a:gs pos="1250">
                      <a:schemeClr val="tx1"/>
                    </a:gs>
                    <a:gs pos="100000">
                      <a:schemeClr val="tx1"/>
                    </a:gs>
                  </a:gsLst>
                  <a:lin ang="5400000" scaled="0"/>
                </a:gradFill>
                <a:latin typeface="+mj-lt"/>
              </a:rPr>
              <a:t>ADFS Content Map</a:t>
            </a:r>
            <a:r>
              <a:rPr lang="en-US" sz="3600" dirty="0" smtClean="0">
                <a:gradFill>
                  <a:gsLst>
                    <a:gs pos="1250">
                      <a:schemeClr val="tx1"/>
                    </a:gs>
                    <a:gs pos="100000">
                      <a:schemeClr val="tx1"/>
                    </a:gs>
                  </a:gsLst>
                  <a:lin ang="5400000" scaled="0"/>
                </a:gradFill>
                <a:latin typeface="+mj-lt"/>
              </a:rPr>
              <a:t> </a:t>
            </a:r>
            <a:r>
              <a:rPr lang="en-US" sz="3600" dirty="0">
                <a:gradFill>
                  <a:gsLst>
                    <a:gs pos="1250">
                      <a:schemeClr val="tx1"/>
                    </a:gs>
                    <a:gs pos="100000">
                      <a:schemeClr val="tx1"/>
                    </a:gs>
                  </a:gsLst>
                  <a:lin ang="5400000" scaled="0"/>
                </a:gradFill>
                <a:latin typeface="+mj-lt"/>
              </a:rPr>
              <a:t>http://</a:t>
            </a:r>
            <a:r>
              <a:rPr lang="en-US" sz="3600" dirty="0" smtClean="0">
                <a:gradFill>
                  <a:gsLst>
                    <a:gs pos="1250">
                      <a:schemeClr val="tx1"/>
                    </a:gs>
                    <a:gs pos="100000">
                      <a:schemeClr val="tx1"/>
                    </a:gs>
                  </a:gsLst>
                  <a:lin ang="5400000" scaled="0"/>
                </a:gradFill>
                <a:latin typeface="+mj-lt"/>
              </a:rPr>
              <a:t>social.technet.microsoft.com/wiki/contents/articles/2735.ad-fs-2-0-content-map.aspx  </a:t>
            </a:r>
            <a:endParaRPr lang="en-US" sz="3600" dirty="0">
              <a:gradFill>
                <a:gsLst>
                  <a:gs pos="1250">
                    <a:schemeClr val="tx1"/>
                  </a:gs>
                  <a:gs pos="100000">
                    <a:schemeClr val="tx1"/>
                  </a:gs>
                </a:gsLst>
                <a:lin ang="5400000" scaled="0"/>
              </a:gradFill>
              <a:latin typeface="+mj-lt"/>
            </a:endParaRPr>
          </a:p>
        </p:txBody>
      </p:sp>
      <p:sp>
        <p:nvSpPr>
          <p:cNvPr id="9" name="Rectangle 8"/>
          <p:cNvSpPr/>
          <p:nvPr/>
        </p:nvSpPr>
        <p:spPr>
          <a:xfrm>
            <a:off x="371669" y="3219249"/>
            <a:ext cx="11790169" cy="1089529"/>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b="1" dirty="0" smtClean="0">
                <a:gradFill>
                  <a:gsLst>
                    <a:gs pos="1250">
                      <a:schemeClr val="tx1"/>
                    </a:gs>
                    <a:gs pos="100000">
                      <a:schemeClr val="tx1"/>
                    </a:gs>
                  </a:gsLst>
                  <a:lin ang="5400000" scaled="0"/>
                </a:gradFill>
                <a:latin typeface="+mj-lt"/>
              </a:rPr>
              <a:t>Active </a:t>
            </a:r>
            <a:r>
              <a:rPr lang="en-US" sz="3600" b="1" dirty="0">
                <a:gradFill>
                  <a:gsLst>
                    <a:gs pos="1250">
                      <a:schemeClr val="tx1"/>
                    </a:gs>
                    <a:gs pos="100000">
                      <a:schemeClr val="tx1"/>
                    </a:gs>
                  </a:gsLst>
                  <a:lin ang="5400000" scaled="0"/>
                </a:gradFill>
                <a:latin typeface="+mj-lt"/>
              </a:rPr>
              <a:t>Directory Blog</a:t>
            </a:r>
            <a:r>
              <a:rPr lang="en-US" sz="3600" dirty="0">
                <a:gradFill>
                  <a:gsLst>
                    <a:gs pos="1250">
                      <a:schemeClr val="tx1"/>
                    </a:gs>
                    <a:gs pos="100000">
                      <a:schemeClr val="tx1"/>
                    </a:gs>
                  </a:gsLst>
                  <a:lin ang="5400000" scaled="0"/>
                </a:gradFill>
                <a:latin typeface="+mj-lt"/>
              </a:rPr>
              <a:t> http://blogs.msdn.com/b/active_directory_team_blog/</a:t>
            </a: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solidFill>
                  <a:srgbClr val="FFFFFF"/>
                </a:solidFill>
              </a:rPr>
              <a:t>Windows Enterprise: </a:t>
            </a:r>
            <a:r>
              <a:rPr lang="en-US" sz="3599" u="sng" dirty="0">
                <a:solidFill>
                  <a:srgbClr val="00B0F0"/>
                </a:solidFill>
                <a:hlinkClick r:id="rId4" action="ppaction://hlinkfile"/>
              </a:rPr>
              <a:t>windows.com/enterprise</a:t>
            </a:r>
            <a:r>
              <a:rPr lang="en-US" sz="3599" dirty="0">
                <a:solidFill>
                  <a:srgbClr val="FFFFFF"/>
                </a:solidFill>
              </a:rPr>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34030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1112839" y="1214472"/>
            <a:ext cx="6024123" cy="6014980"/>
          </a:xfrm>
        </p:spPr>
        <p:txBody>
          <a:bodyPr/>
          <a:lstStyle/>
          <a:p>
            <a:pPr defTabSz="932597">
              <a:spcBef>
                <a:spcPts val="600"/>
              </a:spcBef>
              <a:buSzTx/>
            </a:pPr>
            <a:r>
              <a:rPr lang="en-US" sz="2040" dirty="0">
                <a:solidFill>
                  <a:srgbClr val="FFFFFF"/>
                </a:solidFill>
                <a:latin typeface="Segoe UI"/>
              </a:rPr>
              <a:t>System Center 2012 Configuration Manager</a:t>
            </a:r>
          </a:p>
          <a:p>
            <a:pPr defTabSz="932597">
              <a:spcBef>
                <a:spcPts val="600"/>
              </a:spcBef>
              <a:buSzTx/>
            </a:pPr>
            <a:r>
              <a:rPr lang="en-US" sz="1428" dirty="0">
                <a:solidFill>
                  <a:srgbClr val="FFFFFF"/>
                </a:solidFill>
                <a:latin typeface="Segoe UI"/>
                <a:hlinkClick r:id="rId3" action="ppaction://hlinkfile"/>
              </a:rPr>
              <a:t>http://technet.microsoft.com/en-us/evalcenter/hh667640.aspx?wt.mc_id=TEC_105_1_33</a:t>
            </a:r>
            <a:endParaRPr lang="en-US" sz="1428" dirty="0">
              <a:solidFill>
                <a:srgbClr val="FFFFFF"/>
              </a:solidFill>
              <a:latin typeface="Segoe UI"/>
            </a:endParaRPr>
          </a:p>
          <a:p>
            <a:pPr defTabSz="932597">
              <a:spcBef>
                <a:spcPts val="600"/>
              </a:spcBef>
              <a:buSzTx/>
            </a:pPr>
            <a:endParaRPr lang="en-US" sz="816" dirty="0">
              <a:solidFill>
                <a:srgbClr val="FFFFFF"/>
              </a:solidFill>
              <a:latin typeface="Segoe UI"/>
            </a:endParaRPr>
          </a:p>
          <a:p>
            <a:pPr defTabSz="932597">
              <a:spcBef>
                <a:spcPts val="600"/>
              </a:spcBef>
              <a:buSzTx/>
            </a:pPr>
            <a:r>
              <a:rPr lang="en-US" sz="2040" dirty="0">
                <a:solidFill>
                  <a:srgbClr val="FFFFFF"/>
                </a:solidFill>
                <a:latin typeface="Segoe UI"/>
              </a:rPr>
              <a:t>Windows Intune</a:t>
            </a:r>
          </a:p>
          <a:p>
            <a:pPr defTabSz="932597">
              <a:spcBef>
                <a:spcPts val="600"/>
              </a:spcBef>
              <a:buSzTx/>
            </a:pPr>
            <a:r>
              <a:rPr lang="en-US" sz="1428" dirty="0">
                <a:solidFill>
                  <a:srgbClr val="FFFFFF"/>
                </a:solidFill>
                <a:latin typeface="Segoe UI"/>
                <a:hlinkClick r:id="rId4"/>
              </a:rPr>
              <a:t>http://www.microsoft.com/en-us/windows/windowsintune/try-and-buy</a:t>
            </a:r>
            <a:endParaRPr lang="en-US" sz="1428" dirty="0">
              <a:solidFill>
                <a:srgbClr val="FFFFFF"/>
              </a:solidFill>
              <a:latin typeface="Segoe UI"/>
            </a:endParaRPr>
          </a:p>
          <a:p>
            <a:pPr defTabSz="932597">
              <a:spcBef>
                <a:spcPts val="612"/>
              </a:spcBef>
              <a:buSzTx/>
            </a:pPr>
            <a:endParaRPr lang="en-US" sz="816" dirty="0">
              <a:solidFill>
                <a:srgbClr val="FFFFFF"/>
              </a:solidFill>
              <a:latin typeface="Segoe UI"/>
            </a:endParaRPr>
          </a:p>
          <a:p>
            <a:pPr defTabSz="932597">
              <a:spcBef>
                <a:spcPts val="612"/>
              </a:spcBef>
              <a:buSzTx/>
            </a:pPr>
            <a:r>
              <a:rPr lang="en-US" sz="2040" dirty="0">
                <a:solidFill>
                  <a:srgbClr val="FFFFFF"/>
                </a:solidFill>
                <a:latin typeface="Segoe UI"/>
              </a:rPr>
              <a:t>Windows Server 2012 </a:t>
            </a:r>
          </a:p>
          <a:p>
            <a:pPr defTabSz="932597">
              <a:spcBef>
                <a:spcPts val="612"/>
              </a:spcBef>
              <a:buSzTx/>
            </a:pPr>
            <a:r>
              <a:rPr lang="en-US" sz="1428" u="sng" dirty="0">
                <a:solidFill>
                  <a:srgbClr val="FFFFFF"/>
                </a:solidFill>
                <a:hlinkClick r:id="rId5"/>
              </a:rPr>
              <a:t>http://www.microsoft.com/en-us/server-cloud/windows-server</a:t>
            </a:r>
            <a:r>
              <a:rPr lang="en-US" sz="1428" u="sng" dirty="0">
                <a:solidFill>
                  <a:srgbClr val="FFFFFF"/>
                </a:solidFill>
              </a:rPr>
              <a:t> </a:t>
            </a:r>
          </a:p>
          <a:p>
            <a:pPr defTabSz="932597">
              <a:spcBef>
                <a:spcPts val="612"/>
              </a:spcBef>
              <a:buSzTx/>
            </a:pPr>
            <a:endParaRPr lang="en-US" sz="816" u="sng" dirty="0">
              <a:solidFill>
                <a:srgbClr val="FFFFFF"/>
              </a:solidFill>
            </a:endParaRPr>
          </a:p>
          <a:p>
            <a:pPr defTabSz="932597">
              <a:spcBef>
                <a:spcPts val="612"/>
              </a:spcBef>
              <a:buSzTx/>
            </a:pPr>
            <a:r>
              <a:rPr lang="en-US" sz="2040" dirty="0">
                <a:solidFill>
                  <a:srgbClr val="FFFFFF"/>
                </a:solidFill>
                <a:latin typeface="Segoe UI"/>
              </a:rPr>
              <a:t>Windows Server 2012 VDI and </a:t>
            </a:r>
            <a:br>
              <a:rPr lang="en-US" sz="2040" dirty="0">
                <a:solidFill>
                  <a:srgbClr val="FFFFFF"/>
                </a:solidFill>
                <a:latin typeface="Segoe UI"/>
              </a:rPr>
            </a:br>
            <a:r>
              <a:rPr lang="en-US" sz="2040" dirty="0">
                <a:solidFill>
                  <a:srgbClr val="FFFFFF"/>
                </a:solidFill>
                <a:latin typeface="Segoe UI"/>
              </a:rPr>
              <a:t>Remote Desktop Services</a:t>
            </a:r>
          </a:p>
          <a:p>
            <a:pPr defTabSz="932597">
              <a:spcBef>
                <a:spcPts val="612"/>
              </a:spcBef>
              <a:buSzTx/>
            </a:pPr>
            <a:r>
              <a:rPr lang="en-US" sz="1428" dirty="0">
                <a:solidFill>
                  <a:srgbClr val="000000"/>
                </a:solidFill>
                <a:latin typeface="+mn-lt"/>
                <a:hlinkClick r:id="rId6"/>
              </a:rPr>
              <a:t>http://technet.microsoft.com/en-us/evalcenter/hh670538.aspx?ocid=&amp;wt.mc_id=TEC_108_1_33</a:t>
            </a:r>
            <a:endParaRPr lang="en-US" sz="1428" dirty="0">
              <a:solidFill>
                <a:srgbClr val="000000"/>
              </a:solidFill>
              <a:latin typeface="+mn-lt"/>
            </a:endParaRPr>
          </a:p>
          <a:p>
            <a:pPr defTabSz="932597">
              <a:spcBef>
                <a:spcPts val="612"/>
              </a:spcBef>
              <a:buSzTx/>
            </a:pPr>
            <a:r>
              <a:rPr lang="en-US" sz="1428" dirty="0">
                <a:solidFill>
                  <a:srgbClr val="000000"/>
                </a:solidFill>
                <a:latin typeface="+mn-lt"/>
                <a:hlinkClick r:id="rId7"/>
              </a:rPr>
              <a:t>http://www.microsoft.com/en-us/server-cloud/windows-server/virtual-desktop-infrastructure.aspx</a:t>
            </a:r>
            <a:r>
              <a:rPr lang="en-US" sz="1428" dirty="0">
                <a:solidFill>
                  <a:srgbClr val="000000"/>
                </a:solidFill>
                <a:latin typeface="+mn-lt"/>
              </a:rPr>
              <a:t> </a:t>
            </a:r>
          </a:p>
          <a:p>
            <a:pPr defTabSz="932597">
              <a:spcBef>
                <a:spcPts val="612"/>
              </a:spcBef>
              <a:buSzTx/>
            </a:pPr>
            <a:endParaRPr lang="en-US" sz="816" dirty="0">
              <a:solidFill>
                <a:srgbClr val="000000"/>
              </a:solidFill>
              <a:latin typeface="+mn-lt"/>
            </a:endParaRPr>
          </a:p>
          <a:p>
            <a:pPr defTabSz="932597">
              <a:spcBef>
                <a:spcPts val="612"/>
              </a:spcBef>
              <a:buSzTx/>
            </a:pPr>
            <a:r>
              <a:rPr lang="en-US" sz="2000" dirty="0">
                <a:solidFill>
                  <a:srgbClr val="FFFFFF"/>
                </a:solidFill>
                <a:latin typeface="Segoe UI"/>
              </a:rPr>
              <a:t>More Resources:</a:t>
            </a:r>
          </a:p>
          <a:p>
            <a:pPr lvl="1" defTabSz="932597" fontAlgn="base">
              <a:spcAft>
                <a:spcPts val="408"/>
              </a:spcAft>
              <a:buClr>
                <a:srgbClr val="000000">
                  <a:lumMod val="75000"/>
                  <a:lumOff val="25000"/>
                </a:srgbClr>
              </a:buClr>
              <a:tabLst>
                <a:tab pos="642783" algn="l"/>
              </a:tabLst>
            </a:pPr>
            <a:r>
              <a:rPr lang="en-US" sz="1428" dirty="0">
                <a:solidFill>
                  <a:srgbClr val="000000"/>
                </a:solidFill>
                <a:hlinkClick r:id="rId8"/>
              </a:rPr>
              <a:t>microsoft.com/</a:t>
            </a:r>
            <a:r>
              <a:rPr lang="en-US" sz="1428" b="1" dirty="0" err="1">
                <a:solidFill>
                  <a:srgbClr val="000000"/>
                </a:solidFill>
                <a:hlinkClick r:id="rId8"/>
              </a:rPr>
              <a:t>workstyle</a:t>
            </a:r>
            <a:r>
              <a:rPr lang="en-US" sz="1428" dirty="0">
                <a:solidFill>
                  <a:srgbClr val="000000"/>
                </a:solidFill>
              </a:rPr>
              <a:t/>
            </a:r>
            <a:br>
              <a:rPr lang="en-US" sz="1428" dirty="0">
                <a:solidFill>
                  <a:srgbClr val="000000"/>
                </a:solidFill>
              </a:rPr>
            </a:br>
            <a:r>
              <a:rPr lang="en-US" sz="1428" dirty="0">
                <a:solidFill>
                  <a:srgbClr val="000000"/>
                </a:solidFill>
                <a:hlinkClick r:id="rId9"/>
              </a:rPr>
              <a:t>microsoft.com/</a:t>
            </a:r>
            <a:r>
              <a:rPr lang="en-US" sz="1428" b="1" dirty="0">
                <a:solidFill>
                  <a:srgbClr val="000000"/>
                </a:solidFill>
                <a:hlinkClick r:id="rId9"/>
              </a:rPr>
              <a:t>server-cloud/user-device-management</a:t>
            </a:r>
            <a:endParaRPr lang="en-US" sz="1399" b="1" dirty="0">
              <a:solidFill>
                <a:srgbClr val="000000"/>
              </a:solidFill>
            </a:endParaRPr>
          </a:p>
          <a:p>
            <a:pPr lvl="1" defTabSz="932597" fontAlgn="base">
              <a:spcAft>
                <a:spcPts val="408"/>
              </a:spcAft>
              <a:buClr>
                <a:srgbClr val="000000">
                  <a:lumMod val="75000"/>
                  <a:lumOff val="25000"/>
                </a:srgbClr>
              </a:buClr>
              <a:tabLst>
                <a:tab pos="642783" algn="l"/>
              </a:tabLst>
            </a:pPr>
            <a:endParaRPr lang="en-US" i="1" dirty="0" smtClean="0">
              <a:solidFill>
                <a:srgbClr val="FFFFFF"/>
              </a:solidFill>
            </a:endParaRPr>
          </a:p>
          <a:p>
            <a:pPr lvl="1" defTabSz="932597" fontAlgn="base">
              <a:spcBef>
                <a:spcPts val="0"/>
              </a:spcBef>
              <a:spcAft>
                <a:spcPts val="1248"/>
              </a:spcAft>
              <a:buClr>
                <a:srgbClr val="FFFFFF">
                  <a:lumMod val="75000"/>
                  <a:lumOff val="25000"/>
                </a:srgbClr>
              </a:buClr>
              <a:tabLst>
                <a:tab pos="655700" algn="l"/>
                <a:tab pos="1843224" algn="l"/>
              </a:tabLst>
            </a:pPr>
            <a:endParaRPr lang="en-US" sz="1632" dirty="0">
              <a:solidFill>
                <a:srgbClr val="000000"/>
              </a:solidFill>
            </a:endParaRPr>
          </a:p>
        </p:txBody>
      </p:sp>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defTabSz="932597" fontAlgn="base">
              <a:lnSpc>
                <a:spcPct val="90000"/>
              </a:lnSpc>
              <a:spcBef>
                <a:spcPct val="20000"/>
              </a:spcBef>
              <a:spcAft>
                <a:spcPts val="408"/>
              </a:spcAft>
              <a:buClr>
                <a:srgbClr val="FFFFFF">
                  <a:lumMod val="75000"/>
                  <a:lumOff val="25000"/>
                </a:srgbClr>
              </a:buClr>
              <a:buSzPct val="90000"/>
              <a:tabLst>
                <a:tab pos="642783" algn="l"/>
              </a:tabLst>
            </a:pPr>
            <a:endParaRPr lang="en-US" sz="2000" b="1" spc="-51" dirty="0">
              <a:solidFill>
                <a:srgbClr val="000000"/>
              </a:solidFill>
            </a:endParaRPr>
          </a:p>
        </p:txBody>
      </p:sp>
      <p:sp>
        <p:nvSpPr>
          <p:cNvPr id="23" name="Freeform 9"/>
          <p:cNvSpPr>
            <a:spLocks noEditPoints="1"/>
          </p:cNvSpPr>
          <p:nvPr/>
        </p:nvSpPr>
        <p:spPr bwMode="black">
          <a:xfrm>
            <a:off x="422584" y="5734519"/>
            <a:ext cx="637146"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sp>
        <p:nvSpPr>
          <p:cNvPr id="5" name="Title 4"/>
          <p:cNvSpPr>
            <a:spLocks noGrp="1"/>
          </p:cNvSpPr>
          <p:nvPr>
            <p:ph type="title"/>
          </p:nvPr>
        </p:nvSpPr>
        <p:spPr/>
        <p:txBody>
          <a:bodyPr/>
          <a:lstStyle/>
          <a:p>
            <a:r>
              <a:rPr lang="en-US" sz="4896" dirty="0">
                <a:solidFill>
                  <a:schemeClr val="tx2"/>
                </a:solidFill>
                <a:latin typeface="Segoe UI Light" pitchFamily="34" charset="0"/>
              </a:rPr>
              <a:t>For More Information</a:t>
            </a:r>
            <a:endParaRPr lang="en-US" dirty="0"/>
          </a:p>
        </p:txBody>
      </p:sp>
      <p:sp>
        <p:nvSpPr>
          <p:cNvPr id="11" name="Freeform 9"/>
          <p:cNvSpPr>
            <a:spLocks noEditPoints="1"/>
          </p:cNvSpPr>
          <p:nvPr/>
        </p:nvSpPr>
        <p:spPr bwMode="black">
          <a:xfrm>
            <a:off x="422584" y="130155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sp>
        <p:nvSpPr>
          <p:cNvPr id="12" name="Freeform 9"/>
          <p:cNvSpPr>
            <a:spLocks noEditPoints="1"/>
          </p:cNvSpPr>
          <p:nvPr/>
        </p:nvSpPr>
        <p:spPr bwMode="black">
          <a:xfrm>
            <a:off x="422584" y="2190280"/>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sp>
        <p:nvSpPr>
          <p:cNvPr id="13" name="Freeform 9"/>
          <p:cNvSpPr>
            <a:spLocks noEditPoints="1"/>
          </p:cNvSpPr>
          <p:nvPr/>
        </p:nvSpPr>
        <p:spPr bwMode="black">
          <a:xfrm>
            <a:off x="422584" y="307900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invGray">
          <a:xfrm>
            <a:off x="10252632" y="6009852"/>
            <a:ext cx="1569764" cy="336267"/>
          </a:xfrm>
          <a:prstGeom prst="rect">
            <a:avLst/>
          </a:prstGeom>
        </p:spPr>
      </p:pic>
      <p:sp>
        <p:nvSpPr>
          <p:cNvPr id="20" name="Freeform 9"/>
          <p:cNvSpPr>
            <a:spLocks noEditPoints="1"/>
          </p:cNvSpPr>
          <p:nvPr/>
        </p:nvSpPr>
        <p:spPr bwMode="black">
          <a:xfrm>
            <a:off x="422584" y="3967733"/>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grpSp>
        <p:nvGrpSpPr>
          <p:cNvPr id="24" name="Group 23"/>
          <p:cNvGrpSpPr/>
          <p:nvPr/>
        </p:nvGrpSpPr>
        <p:grpSpPr>
          <a:xfrm>
            <a:off x="7424749" y="2215415"/>
            <a:ext cx="4709054" cy="2300750"/>
            <a:chOff x="269239" y="2376280"/>
            <a:chExt cx="4617139" cy="2255842"/>
          </a:xfrm>
        </p:grpSpPr>
        <p:sp>
          <p:nvSpPr>
            <p:cNvPr id="25" name="Freeform 9"/>
            <p:cNvSpPr>
              <a:spLocks noEditPoints="1"/>
            </p:cNvSpPr>
            <p:nvPr/>
          </p:nvSpPr>
          <p:spPr bwMode="auto">
            <a:xfrm>
              <a:off x="269240" y="3280554"/>
              <a:ext cx="3828481" cy="399007"/>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26" name="Freeform 5"/>
            <p:cNvSpPr>
              <a:spLocks noEditPoints="1"/>
            </p:cNvSpPr>
            <p:nvPr/>
          </p:nvSpPr>
          <p:spPr bwMode="auto">
            <a:xfrm>
              <a:off x="269408" y="2376280"/>
              <a:ext cx="2801159" cy="406857"/>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rgbClr val="FFFFFF"/>
                  </a:solidFill>
                </a:ln>
                <a:solidFill>
                  <a:srgbClr val="FFFFFF"/>
                </a:solidFill>
              </a:endParaRPr>
            </a:p>
          </p:txBody>
        </p:sp>
        <p:sp>
          <p:nvSpPr>
            <p:cNvPr id="27" name="Freeform 13"/>
            <p:cNvSpPr>
              <a:spLocks noEditPoints="1"/>
            </p:cNvSpPr>
            <p:nvPr/>
          </p:nvSpPr>
          <p:spPr bwMode="auto">
            <a:xfrm>
              <a:off x="824453" y="4269317"/>
              <a:ext cx="4061925" cy="313208"/>
            </a:xfrm>
            <a:custGeom>
              <a:avLst/>
              <a:gdLst>
                <a:gd name="T0" fmla="*/ 905 w 1754"/>
                <a:gd name="T1" fmla="*/ 38 h 133"/>
                <a:gd name="T2" fmla="*/ 1676 w 1754"/>
                <a:gd name="T3" fmla="*/ 52 h 133"/>
                <a:gd name="T4" fmla="*/ 1678 w 1754"/>
                <a:gd name="T5" fmla="*/ 80 h 133"/>
                <a:gd name="T6" fmla="*/ 1453 w 1754"/>
                <a:gd name="T7" fmla="*/ 100 h 133"/>
                <a:gd name="T8" fmla="*/ 971 w 1754"/>
                <a:gd name="T9" fmla="*/ 14 h 133"/>
                <a:gd name="T10" fmla="*/ 1018 w 1754"/>
                <a:gd name="T11" fmla="*/ 88 h 133"/>
                <a:gd name="T12" fmla="*/ 1082 w 1754"/>
                <a:gd name="T13" fmla="*/ 98 h 133"/>
                <a:gd name="T14" fmla="*/ 1030 w 1754"/>
                <a:gd name="T15" fmla="*/ 76 h 133"/>
                <a:gd name="T16" fmla="*/ 763 w 1754"/>
                <a:gd name="T17" fmla="*/ 86 h 133"/>
                <a:gd name="T18" fmla="*/ 1265 w 1754"/>
                <a:gd name="T19" fmla="*/ 58 h 133"/>
                <a:gd name="T20" fmla="*/ 1256 w 1754"/>
                <a:gd name="T21" fmla="*/ 100 h 133"/>
                <a:gd name="T22" fmla="*/ 582 w 1754"/>
                <a:gd name="T23" fmla="*/ 20 h 133"/>
                <a:gd name="T24" fmla="*/ 1564 w 1754"/>
                <a:gd name="T25" fmla="*/ 7 h 133"/>
                <a:gd name="T26" fmla="*/ 1538 w 1754"/>
                <a:gd name="T27" fmla="*/ 71 h 133"/>
                <a:gd name="T28" fmla="*/ 1746 w 1754"/>
                <a:gd name="T29" fmla="*/ 16 h 133"/>
                <a:gd name="T30" fmla="*/ 1718 w 1754"/>
                <a:gd name="T31" fmla="*/ 62 h 133"/>
                <a:gd name="T32" fmla="*/ 1748 w 1754"/>
                <a:gd name="T33" fmla="*/ 44 h 133"/>
                <a:gd name="T34" fmla="*/ 1377 w 1754"/>
                <a:gd name="T35" fmla="*/ 65 h 133"/>
                <a:gd name="T36" fmla="*/ 1381 w 1754"/>
                <a:gd name="T37" fmla="*/ 19 h 133"/>
                <a:gd name="T38" fmla="*/ 653 w 1754"/>
                <a:gd name="T39" fmla="*/ 41 h 133"/>
                <a:gd name="T40" fmla="*/ 598 w 1754"/>
                <a:gd name="T41" fmla="*/ 50 h 133"/>
                <a:gd name="T42" fmla="*/ 1114 w 1754"/>
                <a:gd name="T43" fmla="*/ 41 h 133"/>
                <a:gd name="T44" fmla="*/ 668 w 1754"/>
                <a:gd name="T45" fmla="*/ 36 h 133"/>
                <a:gd name="T46" fmla="*/ 696 w 1754"/>
                <a:gd name="T47" fmla="*/ 95 h 133"/>
                <a:gd name="T48" fmla="*/ 723 w 1754"/>
                <a:gd name="T49" fmla="*/ 101 h 133"/>
                <a:gd name="T50" fmla="*/ 201 w 1754"/>
                <a:gd name="T51" fmla="*/ 36 h 133"/>
                <a:gd name="T52" fmla="*/ 1174 w 1754"/>
                <a:gd name="T53" fmla="*/ 84 h 133"/>
                <a:gd name="T54" fmla="*/ 697 w 1754"/>
                <a:gd name="T55" fmla="*/ 46 h 133"/>
                <a:gd name="T56" fmla="*/ 1410 w 1754"/>
                <a:gd name="T57" fmla="*/ 69 h 133"/>
                <a:gd name="T58" fmla="*/ 963 w 1754"/>
                <a:gd name="T59" fmla="*/ 49 h 133"/>
                <a:gd name="T60" fmla="*/ 986 w 1754"/>
                <a:gd name="T61" fmla="*/ 103 h 133"/>
                <a:gd name="T62" fmla="*/ 1424 w 1754"/>
                <a:gd name="T63" fmla="*/ 11 h 133"/>
                <a:gd name="T64" fmla="*/ 754 w 1754"/>
                <a:gd name="T65" fmla="*/ 92 h 133"/>
                <a:gd name="T66" fmla="*/ 1377 w 1754"/>
                <a:gd name="T67" fmla="*/ 17 h 133"/>
                <a:gd name="T68" fmla="*/ 964 w 1754"/>
                <a:gd name="T69" fmla="*/ 41 h 133"/>
                <a:gd name="T70" fmla="*/ 1015 w 1754"/>
                <a:gd name="T71" fmla="*/ 90 h 133"/>
                <a:gd name="T72" fmla="*/ 603 w 1754"/>
                <a:gd name="T73" fmla="*/ 123 h 133"/>
                <a:gd name="T74" fmla="*/ 1356 w 1754"/>
                <a:gd name="T75" fmla="*/ 19 h 133"/>
                <a:gd name="T76" fmla="*/ 1261 w 1754"/>
                <a:gd name="T77" fmla="*/ 45 h 133"/>
                <a:gd name="T78" fmla="*/ 788 w 1754"/>
                <a:gd name="T79" fmla="*/ 34 h 133"/>
                <a:gd name="T80" fmla="*/ 966 w 1754"/>
                <a:gd name="T81" fmla="*/ 36 h 133"/>
                <a:gd name="T82" fmla="*/ 689 w 1754"/>
                <a:gd name="T83" fmla="*/ 67 h 133"/>
                <a:gd name="T84" fmla="*/ 966 w 1754"/>
                <a:gd name="T85" fmla="*/ 73 h 133"/>
                <a:gd name="T86" fmla="*/ 1677 w 1754"/>
                <a:gd name="T87" fmla="*/ 78 h 133"/>
                <a:gd name="T88" fmla="*/ 1355 w 1754"/>
                <a:gd name="T89" fmla="*/ 9 h 133"/>
                <a:gd name="T90" fmla="*/ 1212 w 1754"/>
                <a:gd name="T91" fmla="*/ 49 h 133"/>
                <a:gd name="T92" fmla="*/ 639 w 1754"/>
                <a:gd name="T93" fmla="*/ 49 h 133"/>
                <a:gd name="T94" fmla="*/ 740 w 1754"/>
                <a:gd name="T95" fmla="*/ 93 h 133"/>
                <a:gd name="T96" fmla="*/ 1260 w 1754"/>
                <a:gd name="T97" fmla="*/ 98 h 133"/>
                <a:gd name="T98" fmla="*/ 800 w 1754"/>
                <a:gd name="T99" fmla="*/ 43 h 133"/>
                <a:gd name="T100" fmla="*/ 606 w 1754"/>
                <a:gd name="T101" fmla="*/ 40 h 133"/>
                <a:gd name="T102" fmla="*/ 1041 w 1754"/>
                <a:gd name="T103" fmla="*/ 39 h 133"/>
                <a:gd name="T104" fmla="*/ 1360 w 1754"/>
                <a:gd name="T105" fmla="*/ 78 h 133"/>
                <a:gd name="T106" fmla="*/ 1139 w 1754"/>
                <a:gd name="T107" fmla="*/ 45 h 133"/>
                <a:gd name="T108" fmla="*/ 1563 w 1754"/>
                <a:gd name="T109" fmla="*/ 50 h 133"/>
                <a:gd name="T110" fmla="*/ 1571 w 1754"/>
                <a:gd name="T111" fmla="*/ 57 h 133"/>
                <a:gd name="T112" fmla="*/ 579 w 1754"/>
                <a:gd name="T113" fmla="*/ 58 h 133"/>
                <a:gd name="T114" fmla="*/ 585 w 1754"/>
                <a:gd name="T115" fmla="*/ 92 h 133"/>
                <a:gd name="T116" fmla="*/ 1654 w 1754"/>
                <a:gd name="T117" fmla="*/ 63 h 133"/>
                <a:gd name="T118" fmla="*/ 1422 w 1754"/>
                <a:gd name="T119" fmla="*/ 97 h 133"/>
                <a:gd name="T120" fmla="*/ 720 w 1754"/>
                <a:gd name="T121" fmla="*/ 99 h 133"/>
                <a:gd name="T122" fmla="*/ 1700 w 1754"/>
                <a:gd name="T123" fmla="*/ 26 h 133"/>
                <a:gd name="T124" fmla="*/ 795 w 1754"/>
                <a:gd name="T125" fmla="*/ 3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4" h="133">
                  <a:moveTo>
                    <a:pt x="48" y="83"/>
                  </a:moveTo>
                  <a:cubicBezTo>
                    <a:pt x="49" y="82"/>
                    <a:pt x="49" y="82"/>
                    <a:pt x="49" y="81"/>
                  </a:cubicBezTo>
                  <a:cubicBezTo>
                    <a:pt x="60" y="57"/>
                    <a:pt x="71" y="33"/>
                    <a:pt x="82" y="9"/>
                  </a:cubicBezTo>
                  <a:cubicBezTo>
                    <a:pt x="82" y="9"/>
                    <a:pt x="82" y="9"/>
                    <a:pt x="82" y="8"/>
                  </a:cubicBezTo>
                  <a:cubicBezTo>
                    <a:pt x="82" y="8"/>
                    <a:pt x="83" y="7"/>
                    <a:pt x="83" y="7"/>
                  </a:cubicBezTo>
                  <a:cubicBezTo>
                    <a:pt x="87" y="7"/>
                    <a:pt x="91" y="7"/>
                    <a:pt x="95" y="7"/>
                  </a:cubicBezTo>
                  <a:cubicBezTo>
                    <a:pt x="96" y="7"/>
                    <a:pt x="96" y="8"/>
                    <a:pt x="96" y="9"/>
                  </a:cubicBezTo>
                  <a:cubicBezTo>
                    <a:pt x="96" y="9"/>
                    <a:pt x="96" y="9"/>
                    <a:pt x="96" y="10"/>
                  </a:cubicBezTo>
                  <a:cubicBezTo>
                    <a:pt x="96" y="40"/>
                    <a:pt x="96" y="69"/>
                    <a:pt x="96" y="99"/>
                  </a:cubicBezTo>
                  <a:cubicBezTo>
                    <a:pt x="96" y="102"/>
                    <a:pt x="97" y="101"/>
                    <a:pt x="94" y="101"/>
                  </a:cubicBezTo>
                  <a:cubicBezTo>
                    <a:pt x="91" y="102"/>
                    <a:pt x="89" y="101"/>
                    <a:pt x="86" y="101"/>
                  </a:cubicBezTo>
                  <a:cubicBezTo>
                    <a:pt x="85" y="102"/>
                    <a:pt x="85" y="101"/>
                    <a:pt x="85" y="101"/>
                  </a:cubicBezTo>
                  <a:cubicBezTo>
                    <a:pt x="85" y="100"/>
                    <a:pt x="85" y="100"/>
                    <a:pt x="85" y="99"/>
                  </a:cubicBezTo>
                  <a:cubicBezTo>
                    <a:pt x="85" y="75"/>
                    <a:pt x="85" y="51"/>
                    <a:pt x="85" y="27"/>
                  </a:cubicBezTo>
                  <a:cubicBezTo>
                    <a:pt x="85" y="27"/>
                    <a:pt x="85" y="26"/>
                    <a:pt x="85" y="25"/>
                  </a:cubicBezTo>
                  <a:cubicBezTo>
                    <a:pt x="84" y="26"/>
                    <a:pt x="84" y="26"/>
                    <a:pt x="84" y="27"/>
                  </a:cubicBezTo>
                  <a:cubicBezTo>
                    <a:pt x="73" y="51"/>
                    <a:pt x="63" y="75"/>
                    <a:pt x="52" y="100"/>
                  </a:cubicBezTo>
                  <a:cubicBezTo>
                    <a:pt x="52" y="100"/>
                    <a:pt x="52" y="100"/>
                    <a:pt x="51" y="101"/>
                  </a:cubicBezTo>
                  <a:cubicBezTo>
                    <a:pt x="51" y="101"/>
                    <a:pt x="51" y="102"/>
                    <a:pt x="50" y="101"/>
                  </a:cubicBezTo>
                  <a:cubicBezTo>
                    <a:pt x="49" y="101"/>
                    <a:pt x="47" y="102"/>
                    <a:pt x="46" y="101"/>
                  </a:cubicBezTo>
                  <a:cubicBezTo>
                    <a:pt x="45" y="101"/>
                    <a:pt x="44" y="99"/>
                    <a:pt x="44" y="98"/>
                  </a:cubicBezTo>
                  <a:cubicBezTo>
                    <a:pt x="33" y="74"/>
                    <a:pt x="23" y="50"/>
                    <a:pt x="12" y="27"/>
                  </a:cubicBezTo>
                  <a:cubicBezTo>
                    <a:pt x="12" y="26"/>
                    <a:pt x="12" y="25"/>
                    <a:pt x="11" y="25"/>
                  </a:cubicBezTo>
                  <a:cubicBezTo>
                    <a:pt x="11" y="26"/>
                    <a:pt x="11" y="26"/>
                    <a:pt x="11" y="27"/>
                  </a:cubicBezTo>
                  <a:cubicBezTo>
                    <a:pt x="11" y="51"/>
                    <a:pt x="11" y="75"/>
                    <a:pt x="11" y="99"/>
                  </a:cubicBezTo>
                  <a:cubicBezTo>
                    <a:pt x="11" y="102"/>
                    <a:pt x="11" y="101"/>
                    <a:pt x="9" y="101"/>
                  </a:cubicBezTo>
                  <a:cubicBezTo>
                    <a:pt x="6" y="102"/>
                    <a:pt x="4" y="101"/>
                    <a:pt x="2" y="101"/>
                  </a:cubicBezTo>
                  <a:cubicBezTo>
                    <a:pt x="0" y="101"/>
                    <a:pt x="0" y="101"/>
                    <a:pt x="0" y="100"/>
                  </a:cubicBezTo>
                  <a:cubicBezTo>
                    <a:pt x="0" y="100"/>
                    <a:pt x="0" y="100"/>
                    <a:pt x="0" y="99"/>
                  </a:cubicBezTo>
                  <a:cubicBezTo>
                    <a:pt x="0" y="69"/>
                    <a:pt x="0" y="39"/>
                    <a:pt x="0" y="9"/>
                  </a:cubicBezTo>
                  <a:cubicBezTo>
                    <a:pt x="0" y="9"/>
                    <a:pt x="0" y="9"/>
                    <a:pt x="0" y="9"/>
                  </a:cubicBezTo>
                  <a:cubicBezTo>
                    <a:pt x="0" y="7"/>
                    <a:pt x="0" y="7"/>
                    <a:pt x="2" y="7"/>
                  </a:cubicBezTo>
                  <a:cubicBezTo>
                    <a:pt x="6" y="7"/>
                    <a:pt x="9" y="7"/>
                    <a:pt x="13" y="7"/>
                  </a:cubicBezTo>
                  <a:cubicBezTo>
                    <a:pt x="15" y="7"/>
                    <a:pt x="15" y="8"/>
                    <a:pt x="16" y="9"/>
                  </a:cubicBezTo>
                  <a:cubicBezTo>
                    <a:pt x="23" y="26"/>
                    <a:pt x="31" y="44"/>
                    <a:pt x="39" y="61"/>
                  </a:cubicBezTo>
                  <a:cubicBezTo>
                    <a:pt x="42" y="68"/>
                    <a:pt x="44" y="74"/>
                    <a:pt x="47" y="81"/>
                  </a:cubicBezTo>
                  <a:cubicBezTo>
                    <a:pt x="48" y="82"/>
                    <a:pt x="48" y="82"/>
                    <a:pt x="48" y="83"/>
                  </a:cubicBezTo>
                  <a:close/>
                  <a:moveTo>
                    <a:pt x="493" y="94"/>
                  </a:moveTo>
                  <a:cubicBezTo>
                    <a:pt x="490" y="93"/>
                    <a:pt x="488" y="91"/>
                    <a:pt x="487" y="88"/>
                  </a:cubicBezTo>
                  <a:cubicBezTo>
                    <a:pt x="486" y="86"/>
                    <a:pt x="486" y="84"/>
                    <a:pt x="486" y="81"/>
                  </a:cubicBezTo>
                  <a:cubicBezTo>
                    <a:pt x="486" y="69"/>
                    <a:pt x="486" y="57"/>
                    <a:pt x="486" y="45"/>
                  </a:cubicBezTo>
                  <a:cubicBezTo>
                    <a:pt x="486" y="45"/>
                    <a:pt x="486" y="45"/>
                    <a:pt x="486" y="44"/>
                  </a:cubicBezTo>
                  <a:cubicBezTo>
                    <a:pt x="486" y="44"/>
                    <a:pt x="486" y="43"/>
                    <a:pt x="487" y="43"/>
                  </a:cubicBezTo>
                  <a:cubicBezTo>
                    <a:pt x="487" y="43"/>
                    <a:pt x="487" y="43"/>
                    <a:pt x="488" y="43"/>
                  </a:cubicBezTo>
                  <a:cubicBezTo>
                    <a:pt x="492" y="43"/>
                    <a:pt x="497" y="43"/>
                    <a:pt x="501" y="43"/>
                  </a:cubicBezTo>
                  <a:cubicBezTo>
                    <a:pt x="502" y="43"/>
                    <a:pt x="503" y="43"/>
                    <a:pt x="503" y="42"/>
                  </a:cubicBezTo>
                  <a:cubicBezTo>
                    <a:pt x="503" y="40"/>
                    <a:pt x="503" y="38"/>
                    <a:pt x="503" y="36"/>
                  </a:cubicBezTo>
                  <a:cubicBezTo>
                    <a:pt x="503" y="34"/>
                    <a:pt x="503" y="34"/>
                    <a:pt x="501" y="34"/>
                  </a:cubicBezTo>
                  <a:cubicBezTo>
                    <a:pt x="497" y="34"/>
                    <a:pt x="492" y="34"/>
                    <a:pt x="487" y="34"/>
                  </a:cubicBezTo>
                  <a:cubicBezTo>
                    <a:pt x="486" y="34"/>
                    <a:pt x="486" y="35"/>
                    <a:pt x="486" y="33"/>
                  </a:cubicBezTo>
                  <a:cubicBezTo>
                    <a:pt x="486" y="27"/>
                    <a:pt x="486" y="22"/>
                    <a:pt x="486" y="16"/>
                  </a:cubicBezTo>
                  <a:cubicBezTo>
                    <a:pt x="486" y="16"/>
                    <a:pt x="486" y="15"/>
                    <a:pt x="485" y="15"/>
                  </a:cubicBezTo>
                  <a:cubicBezTo>
                    <a:pt x="482" y="16"/>
                    <a:pt x="479" y="17"/>
                    <a:pt x="476" y="18"/>
                  </a:cubicBezTo>
                  <a:cubicBezTo>
                    <a:pt x="475" y="18"/>
                    <a:pt x="475" y="18"/>
                    <a:pt x="475" y="19"/>
                  </a:cubicBezTo>
                  <a:cubicBezTo>
                    <a:pt x="475" y="19"/>
                    <a:pt x="475" y="19"/>
                    <a:pt x="475" y="20"/>
                  </a:cubicBezTo>
                  <a:cubicBezTo>
                    <a:pt x="475" y="24"/>
                    <a:pt x="475" y="28"/>
                    <a:pt x="475" y="33"/>
                  </a:cubicBezTo>
                  <a:cubicBezTo>
                    <a:pt x="475" y="34"/>
                    <a:pt x="475" y="34"/>
                    <a:pt x="474" y="34"/>
                  </a:cubicBezTo>
                  <a:cubicBezTo>
                    <a:pt x="466" y="34"/>
                    <a:pt x="458" y="34"/>
                    <a:pt x="450" y="34"/>
                  </a:cubicBezTo>
                  <a:cubicBezTo>
                    <a:pt x="449" y="34"/>
                    <a:pt x="448" y="34"/>
                    <a:pt x="448" y="33"/>
                  </a:cubicBezTo>
                  <a:cubicBezTo>
                    <a:pt x="448" y="30"/>
                    <a:pt x="448" y="27"/>
                    <a:pt x="449" y="24"/>
                  </a:cubicBezTo>
                  <a:cubicBezTo>
                    <a:pt x="449" y="22"/>
                    <a:pt x="449" y="19"/>
                    <a:pt x="450" y="16"/>
                  </a:cubicBezTo>
                  <a:cubicBezTo>
                    <a:pt x="451" y="13"/>
                    <a:pt x="453" y="11"/>
                    <a:pt x="455" y="10"/>
                  </a:cubicBezTo>
                  <a:cubicBezTo>
                    <a:pt x="457" y="10"/>
                    <a:pt x="459" y="10"/>
                    <a:pt x="461" y="10"/>
                  </a:cubicBezTo>
                  <a:cubicBezTo>
                    <a:pt x="463" y="10"/>
                    <a:pt x="465" y="10"/>
                    <a:pt x="467" y="11"/>
                  </a:cubicBezTo>
                  <a:cubicBezTo>
                    <a:pt x="467" y="8"/>
                    <a:pt x="467" y="6"/>
                    <a:pt x="467" y="3"/>
                  </a:cubicBezTo>
                  <a:cubicBezTo>
                    <a:pt x="467" y="2"/>
                    <a:pt x="466" y="2"/>
                    <a:pt x="466" y="1"/>
                  </a:cubicBezTo>
                  <a:cubicBezTo>
                    <a:pt x="461" y="0"/>
                    <a:pt x="455" y="0"/>
                    <a:pt x="451" y="2"/>
                  </a:cubicBezTo>
                  <a:cubicBezTo>
                    <a:pt x="443" y="6"/>
                    <a:pt x="439" y="12"/>
                    <a:pt x="438" y="20"/>
                  </a:cubicBezTo>
                  <a:cubicBezTo>
                    <a:pt x="437" y="24"/>
                    <a:pt x="438" y="28"/>
                    <a:pt x="438" y="32"/>
                  </a:cubicBezTo>
                  <a:cubicBezTo>
                    <a:pt x="438" y="34"/>
                    <a:pt x="438" y="34"/>
                    <a:pt x="435" y="34"/>
                  </a:cubicBezTo>
                  <a:cubicBezTo>
                    <a:pt x="433" y="34"/>
                    <a:pt x="430" y="34"/>
                    <a:pt x="428" y="34"/>
                  </a:cubicBezTo>
                  <a:cubicBezTo>
                    <a:pt x="426" y="34"/>
                    <a:pt x="426" y="34"/>
                    <a:pt x="426" y="36"/>
                  </a:cubicBezTo>
                  <a:cubicBezTo>
                    <a:pt x="426" y="38"/>
                    <a:pt x="426" y="40"/>
                    <a:pt x="426" y="42"/>
                  </a:cubicBezTo>
                  <a:cubicBezTo>
                    <a:pt x="426" y="44"/>
                    <a:pt x="426" y="43"/>
                    <a:pt x="428" y="43"/>
                  </a:cubicBezTo>
                  <a:cubicBezTo>
                    <a:pt x="431" y="43"/>
                    <a:pt x="434" y="43"/>
                    <a:pt x="436" y="43"/>
                  </a:cubicBezTo>
                  <a:cubicBezTo>
                    <a:pt x="437" y="43"/>
                    <a:pt x="438" y="44"/>
                    <a:pt x="438" y="45"/>
                  </a:cubicBezTo>
                  <a:cubicBezTo>
                    <a:pt x="438" y="45"/>
                    <a:pt x="438" y="45"/>
                    <a:pt x="438" y="46"/>
                  </a:cubicBezTo>
                  <a:cubicBezTo>
                    <a:pt x="438" y="64"/>
                    <a:pt x="438" y="81"/>
                    <a:pt x="438" y="99"/>
                  </a:cubicBezTo>
                  <a:cubicBezTo>
                    <a:pt x="438" y="100"/>
                    <a:pt x="438" y="100"/>
                    <a:pt x="438" y="100"/>
                  </a:cubicBezTo>
                  <a:cubicBezTo>
                    <a:pt x="438" y="101"/>
                    <a:pt x="438" y="102"/>
                    <a:pt x="439" y="102"/>
                  </a:cubicBezTo>
                  <a:cubicBezTo>
                    <a:pt x="441" y="101"/>
                    <a:pt x="444" y="102"/>
                    <a:pt x="446" y="101"/>
                  </a:cubicBezTo>
                  <a:cubicBezTo>
                    <a:pt x="449" y="101"/>
                    <a:pt x="448" y="102"/>
                    <a:pt x="448" y="99"/>
                  </a:cubicBezTo>
                  <a:cubicBezTo>
                    <a:pt x="448" y="81"/>
                    <a:pt x="448" y="63"/>
                    <a:pt x="448" y="45"/>
                  </a:cubicBezTo>
                  <a:cubicBezTo>
                    <a:pt x="448" y="43"/>
                    <a:pt x="449" y="43"/>
                    <a:pt x="450" y="43"/>
                  </a:cubicBezTo>
                  <a:cubicBezTo>
                    <a:pt x="458" y="43"/>
                    <a:pt x="465" y="43"/>
                    <a:pt x="473" y="43"/>
                  </a:cubicBezTo>
                  <a:cubicBezTo>
                    <a:pt x="475" y="43"/>
                    <a:pt x="475" y="43"/>
                    <a:pt x="475" y="46"/>
                  </a:cubicBezTo>
                  <a:cubicBezTo>
                    <a:pt x="475" y="58"/>
                    <a:pt x="475" y="71"/>
                    <a:pt x="475" y="83"/>
                  </a:cubicBezTo>
                  <a:cubicBezTo>
                    <a:pt x="475" y="87"/>
                    <a:pt x="475" y="91"/>
                    <a:pt x="477" y="94"/>
                  </a:cubicBezTo>
                  <a:cubicBezTo>
                    <a:pt x="479" y="98"/>
                    <a:pt x="482" y="101"/>
                    <a:pt x="486" y="102"/>
                  </a:cubicBezTo>
                  <a:cubicBezTo>
                    <a:pt x="490" y="103"/>
                    <a:pt x="493" y="103"/>
                    <a:pt x="497" y="103"/>
                  </a:cubicBezTo>
                  <a:cubicBezTo>
                    <a:pt x="498" y="103"/>
                    <a:pt x="500" y="102"/>
                    <a:pt x="502" y="101"/>
                  </a:cubicBezTo>
                  <a:cubicBezTo>
                    <a:pt x="502" y="101"/>
                    <a:pt x="503" y="101"/>
                    <a:pt x="503" y="100"/>
                  </a:cubicBezTo>
                  <a:cubicBezTo>
                    <a:pt x="503" y="97"/>
                    <a:pt x="503" y="95"/>
                    <a:pt x="503" y="92"/>
                  </a:cubicBezTo>
                  <a:cubicBezTo>
                    <a:pt x="499" y="94"/>
                    <a:pt x="496" y="94"/>
                    <a:pt x="493" y="94"/>
                  </a:cubicBezTo>
                  <a:close/>
                  <a:moveTo>
                    <a:pt x="841" y="42"/>
                  </a:moveTo>
                  <a:cubicBezTo>
                    <a:pt x="841" y="42"/>
                    <a:pt x="841" y="42"/>
                    <a:pt x="841" y="42"/>
                  </a:cubicBezTo>
                  <a:cubicBezTo>
                    <a:pt x="841" y="42"/>
                    <a:pt x="841" y="42"/>
                    <a:pt x="841" y="42"/>
                  </a:cubicBezTo>
                  <a:cubicBezTo>
                    <a:pt x="842" y="42"/>
                    <a:pt x="842" y="42"/>
                    <a:pt x="843" y="42"/>
                  </a:cubicBezTo>
                  <a:cubicBezTo>
                    <a:pt x="844" y="42"/>
                    <a:pt x="845" y="42"/>
                    <a:pt x="845" y="42"/>
                  </a:cubicBezTo>
                  <a:cubicBezTo>
                    <a:pt x="846" y="42"/>
                    <a:pt x="847" y="42"/>
                    <a:pt x="848" y="42"/>
                  </a:cubicBezTo>
                  <a:cubicBezTo>
                    <a:pt x="848" y="42"/>
                    <a:pt x="848" y="42"/>
                    <a:pt x="848" y="42"/>
                  </a:cubicBezTo>
                  <a:cubicBezTo>
                    <a:pt x="848" y="42"/>
                    <a:pt x="848" y="42"/>
                    <a:pt x="848" y="42"/>
                  </a:cubicBezTo>
                  <a:cubicBezTo>
                    <a:pt x="848" y="43"/>
                    <a:pt x="849" y="42"/>
                    <a:pt x="849" y="43"/>
                  </a:cubicBezTo>
                  <a:cubicBezTo>
                    <a:pt x="849" y="43"/>
                    <a:pt x="849" y="43"/>
                    <a:pt x="849" y="43"/>
                  </a:cubicBezTo>
                  <a:cubicBezTo>
                    <a:pt x="849" y="43"/>
                    <a:pt x="849" y="43"/>
                    <a:pt x="849" y="43"/>
                  </a:cubicBezTo>
                  <a:cubicBezTo>
                    <a:pt x="850" y="43"/>
                    <a:pt x="850" y="43"/>
                    <a:pt x="850" y="43"/>
                  </a:cubicBezTo>
                  <a:cubicBezTo>
                    <a:pt x="850" y="43"/>
                    <a:pt x="850" y="43"/>
                    <a:pt x="850" y="43"/>
                  </a:cubicBezTo>
                  <a:cubicBezTo>
                    <a:pt x="851" y="43"/>
                    <a:pt x="851" y="43"/>
                    <a:pt x="851" y="43"/>
                  </a:cubicBezTo>
                  <a:cubicBezTo>
                    <a:pt x="851" y="43"/>
                    <a:pt x="851" y="43"/>
                    <a:pt x="851" y="43"/>
                  </a:cubicBezTo>
                  <a:cubicBezTo>
                    <a:pt x="851" y="44"/>
                    <a:pt x="852" y="44"/>
                    <a:pt x="852" y="44"/>
                  </a:cubicBezTo>
                  <a:cubicBezTo>
                    <a:pt x="852" y="44"/>
                    <a:pt x="852" y="44"/>
                    <a:pt x="852" y="44"/>
                  </a:cubicBezTo>
                  <a:cubicBezTo>
                    <a:pt x="852" y="44"/>
                    <a:pt x="852" y="44"/>
                    <a:pt x="852" y="44"/>
                  </a:cubicBezTo>
                  <a:cubicBezTo>
                    <a:pt x="852" y="44"/>
                    <a:pt x="852" y="44"/>
                    <a:pt x="852" y="44"/>
                  </a:cubicBezTo>
                  <a:cubicBezTo>
                    <a:pt x="853" y="44"/>
                    <a:pt x="853" y="44"/>
                    <a:pt x="853" y="44"/>
                  </a:cubicBezTo>
                  <a:cubicBezTo>
                    <a:pt x="853" y="44"/>
                    <a:pt x="853" y="44"/>
                    <a:pt x="853" y="44"/>
                  </a:cubicBezTo>
                  <a:cubicBezTo>
                    <a:pt x="853" y="45"/>
                    <a:pt x="853" y="45"/>
                    <a:pt x="853" y="45"/>
                  </a:cubicBezTo>
                  <a:cubicBezTo>
                    <a:pt x="853" y="45"/>
                    <a:pt x="853" y="45"/>
                    <a:pt x="853" y="45"/>
                  </a:cubicBezTo>
                  <a:cubicBezTo>
                    <a:pt x="854" y="45"/>
                    <a:pt x="854" y="45"/>
                    <a:pt x="854" y="45"/>
                  </a:cubicBezTo>
                  <a:cubicBezTo>
                    <a:pt x="854" y="45"/>
                    <a:pt x="854" y="45"/>
                    <a:pt x="854" y="45"/>
                  </a:cubicBezTo>
                  <a:cubicBezTo>
                    <a:pt x="854" y="45"/>
                    <a:pt x="854" y="45"/>
                    <a:pt x="854" y="45"/>
                  </a:cubicBezTo>
                  <a:cubicBezTo>
                    <a:pt x="854" y="45"/>
                    <a:pt x="854" y="45"/>
                    <a:pt x="854" y="45"/>
                  </a:cubicBezTo>
                  <a:cubicBezTo>
                    <a:pt x="854" y="46"/>
                    <a:pt x="854" y="46"/>
                    <a:pt x="855" y="46"/>
                  </a:cubicBezTo>
                  <a:cubicBezTo>
                    <a:pt x="855" y="46"/>
                    <a:pt x="855" y="46"/>
                    <a:pt x="855" y="46"/>
                  </a:cubicBezTo>
                  <a:cubicBezTo>
                    <a:pt x="855" y="46"/>
                    <a:pt x="855" y="46"/>
                    <a:pt x="855" y="46"/>
                  </a:cubicBezTo>
                  <a:cubicBezTo>
                    <a:pt x="855" y="46"/>
                    <a:pt x="855" y="46"/>
                    <a:pt x="855" y="46"/>
                  </a:cubicBezTo>
                  <a:cubicBezTo>
                    <a:pt x="855" y="46"/>
                    <a:pt x="855" y="46"/>
                    <a:pt x="855" y="47"/>
                  </a:cubicBezTo>
                  <a:cubicBezTo>
                    <a:pt x="855" y="47"/>
                    <a:pt x="855" y="47"/>
                    <a:pt x="855" y="47"/>
                  </a:cubicBezTo>
                  <a:cubicBezTo>
                    <a:pt x="856" y="47"/>
                    <a:pt x="856" y="47"/>
                    <a:pt x="856" y="48"/>
                  </a:cubicBezTo>
                  <a:cubicBezTo>
                    <a:pt x="856" y="47"/>
                    <a:pt x="856" y="47"/>
                    <a:pt x="856" y="47"/>
                  </a:cubicBezTo>
                  <a:cubicBezTo>
                    <a:pt x="856" y="48"/>
                    <a:pt x="856" y="48"/>
                    <a:pt x="856" y="48"/>
                  </a:cubicBezTo>
                  <a:cubicBezTo>
                    <a:pt x="856" y="48"/>
                    <a:pt x="856" y="48"/>
                    <a:pt x="856" y="48"/>
                  </a:cubicBezTo>
                  <a:cubicBezTo>
                    <a:pt x="857" y="48"/>
                    <a:pt x="856" y="48"/>
                    <a:pt x="857" y="49"/>
                  </a:cubicBezTo>
                  <a:cubicBezTo>
                    <a:pt x="857" y="49"/>
                    <a:pt x="857" y="49"/>
                    <a:pt x="857" y="49"/>
                  </a:cubicBezTo>
                  <a:cubicBezTo>
                    <a:pt x="857" y="49"/>
                    <a:pt x="857" y="49"/>
                    <a:pt x="857" y="49"/>
                  </a:cubicBezTo>
                  <a:cubicBezTo>
                    <a:pt x="857" y="49"/>
                    <a:pt x="857" y="49"/>
                    <a:pt x="857" y="49"/>
                  </a:cubicBezTo>
                  <a:cubicBezTo>
                    <a:pt x="857" y="49"/>
                    <a:pt x="857" y="50"/>
                    <a:pt x="857" y="50"/>
                  </a:cubicBezTo>
                  <a:cubicBezTo>
                    <a:pt x="857" y="50"/>
                    <a:pt x="857" y="50"/>
                    <a:pt x="857" y="50"/>
                  </a:cubicBezTo>
                  <a:cubicBezTo>
                    <a:pt x="858" y="50"/>
                    <a:pt x="857" y="50"/>
                    <a:pt x="858" y="51"/>
                  </a:cubicBezTo>
                  <a:cubicBezTo>
                    <a:pt x="858" y="51"/>
                    <a:pt x="858" y="51"/>
                    <a:pt x="858" y="51"/>
                  </a:cubicBezTo>
                  <a:cubicBezTo>
                    <a:pt x="858" y="51"/>
                    <a:pt x="858" y="51"/>
                    <a:pt x="858" y="52"/>
                  </a:cubicBezTo>
                  <a:cubicBezTo>
                    <a:pt x="858" y="52"/>
                    <a:pt x="858" y="52"/>
                    <a:pt x="858" y="52"/>
                  </a:cubicBezTo>
                  <a:cubicBezTo>
                    <a:pt x="858" y="52"/>
                    <a:pt x="858" y="53"/>
                    <a:pt x="858" y="53"/>
                  </a:cubicBezTo>
                  <a:cubicBezTo>
                    <a:pt x="858" y="53"/>
                    <a:pt x="858" y="53"/>
                    <a:pt x="858" y="53"/>
                  </a:cubicBezTo>
                  <a:cubicBezTo>
                    <a:pt x="859" y="54"/>
                    <a:pt x="858" y="54"/>
                    <a:pt x="859" y="55"/>
                  </a:cubicBezTo>
                  <a:cubicBezTo>
                    <a:pt x="859" y="55"/>
                    <a:pt x="859" y="55"/>
                    <a:pt x="859" y="55"/>
                  </a:cubicBezTo>
                  <a:cubicBezTo>
                    <a:pt x="859" y="55"/>
                    <a:pt x="859" y="56"/>
                    <a:pt x="859" y="57"/>
                  </a:cubicBezTo>
                  <a:cubicBezTo>
                    <a:pt x="859" y="57"/>
                    <a:pt x="859" y="57"/>
                    <a:pt x="859" y="57"/>
                  </a:cubicBezTo>
                  <a:cubicBezTo>
                    <a:pt x="859" y="58"/>
                    <a:pt x="859" y="59"/>
                    <a:pt x="859" y="60"/>
                  </a:cubicBezTo>
                  <a:cubicBezTo>
                    <a:pt x="859" y="73"/>
                    <a:pt x="859" y="86"/>
                    <a:pt x="859" y="100"/>
                  </a:cubicBezTo>
                  <a:cubicBezTo>
                    <a:pt x="859" y="100"/>
                    <a:pt x="859" y="101"/>
                    <a:pt x="859" y="101"/>
                  </a:cubicBezTo>
                  <a:cubicBezTo>
                    <a:pt x="859" y="101"/>
                    <a:pt x="859" y="101"/>
                    <a:pt x="859" y="101"/>
                  </a:cubicBezTo>
                  <a:cubicBezTo>
                    <a:pt x="862" y="102"/>
                    <a:pt x="864" y="102"/>
                    <a:pt x="866" y="102"/>
                  </a:cubicBezTo>
                  <a:cubicBezTo>
                    <a:pt x="867" y="102"/>
                    <a:pt x="869" y="102"/>
                    <a:pt x="870" y="101"/>
                  </a:cubicBezTo>
                  <a:cubicBezTo>
                    <a:pt x="870" y="101"/>
                    <a:pt x="870" y="101"/>
                    <a:pt x="870" y="101"/>
                  </a:cubicBezTo>
                  <a:cubicBezTo>
                    <a:pt x="871" y="101"/>
                    <a:pt x="870" y="100"/>
                    <a:pt x="870" y="100"/>
                  </a:cubicBezTo>
                  <a:cubicBezTo>
                    <a:pt x="870" y="87"/>
                    <a:pt x="870" y="74"/>
                    <a:pt x="870" y="62"/>
                  </a:cubicBezTo>
                  <a:cubicBezTo>
                    <a:pt x="870" y="61"/>
                    <a:pt x="870" y="61"/>
                    <a:pt x="871" y="60"/>
                  </a:cubicBezTo>
                  <a:cubicBezTo>
                    <a:pt x="870" y="60"/>
                    <a:pt x="870" y="60"/>
                    <a:pt x="871" y="59"/>
                  </a:cubicBezTo>
                  <a:cubicBezTo>
                    <a:pt x="871" y="59"/>
                    <a:pt x="871" y="58"/>
                    <a:pt x="871" y="58"/>
                  </a:cubicBezTo>
                  <a:cubicBezTo>
                    <a:pt x="871" y="57"/>
                    <a:pt x="871" y="57"/>
                    <a:pt x="871" y="57"/>
                  </a:cubicBezTo>
                  <a:cubicBezTo>
                    <a:pt x="871" y="57"/>
                    <a:pt x="871" y="57"/>
                    <a:pt x="871" y="56"/>
                  </a:cubicBezTo>
                  <a:cubicBezTo>
                    <a:pt x="871" y="56"/>
                    <a:pt x="871" y="56"/>
                    <a:pt x="871" y="56"/>
                  </a:cubicBezTo>
                  <a:cubicBezTo>
                    <a:pt x="871" y="56"/>
                    <a:pt x="871" y="55"/>
                    <a:pt x="872" y="55"/>
                  </a:cubicBezTo>
                  <a:cubicBezTo>
                    <a:pt x="872" y="55"/>
                    <a:pt x="872" y="55"/>
                    <a:pt x="872" y="55"/>
                  </a:cubicBezTo>
                  <a:cubicBezTo>
                    <a:pt x="872" y="55"/>
                    <a:pt x="872" y="55"/>
                    <a:pt x="872" y="55"/>
                  </a:cubicBezTo>
                  <a:cubicBezTo>
                    <a:pt x="872" y="55"/>
                    <a:pt x="872" y="54"/>
                    <a:pt x="872" y="54"/>
                  </a:cubicBezTo>
                  <a:cubicBezTo>
                    <a:pt x="872" y="54"/>
                    <a:pt x="872" y="54"/>
                    <a:pt x="872" y="54"/>
                  </a:cubicBezTo>
                  <a:cubicBezTo>
                    <a:pt x="872" y="54"/>
                    <a:pt x="872" y="53"/>
                    <a:pt x="872" y="53"/>
                  </a:cubicBezTo>
                  <a:cubicBezTo>
                    <a:pt x="872" y="53"/>
                    <a:pt x="872" y="53"/>
                    <a:pt x="872" y="53"/>
                  </a:cubicBezTo>
                  <a:cubicBezTo>
                    <a:pt x="872" y="53"/>
                    <a:pt x="872" y="53"/>
                    <a:pt x="873" y="52"/>
                  </a:cubicBezTo>
                  <a:cubicBezTo>
                    <a:pt x="873" y="52"/>
                    <a:pt x="873" y="52"/>
                    <a:pt x="873" y="52"/>
                  </a:cubicBezTo>
                  <a:cubicBezTo>
                    <a:pt x="873" y="52"/>
                    <a:pt x="873" y="52"/>
                    <a:pt x="873" y="52"/>
                  </a:cubicBezTo>
                  <a:cubicBezTo>
                    <a:pt x="873" y="52"/>
                    <a:pt x="873" y="52"/>
                    <a:pt x="873" y="52"/>
                  </a:cubicBezTo>
                  <a:cubicBezTo>
                    <a:pt x="873" y="52"/>
                    <a:pt x="873" y="51"/>
                    <a:pt x="873" y="51"/>
                  </a:cubicBezTo>
                  <a:cubicBezTo>
                    <a:pt x="873" y="51"/>
                    <a:pt x="873" y="51"/>
                    <a:pt x="873" y="51"/>
                  </a:cubicBezTo>
                  <a:cubicBezTo>
                    <a:pt x="874" y="51"/>
                    <a:pt x="873" y="51"/>
                    <a:pt x="874" y="50"/>
                  </a:cubicBezTo>
                  <a:cubicBezTo>
                    <a:pt x="874" y="50"/>
                    <a:pt x="874" y="50"/>
                    <a:pt x="874" y="50"/>
                  </a:cubicBezTo>
                  <a:cubicBezTo>
                    <a:pt x="874" y="50"/>
                    <a:pt x="874" y="50"/>
                    <a:pt x="874" y="50"/>
                  </a:cubicBezTo>
                  <a:cubicBezTo>
                    <a:pt x="874" y="50"/>
                    <a:pt x="874" y="50"/>
                    <a:pt x="874" y="50"/>
                  </a:cubicBezTo>
                  <a:cubicBezTo>
                    <a:pt x="874" y="50"/>
                    <a:pt x="874" y="49"/>
                    <a:pt x="874" y="49"/>
                  </a:cubicBezTo>
                  <a:cubicBezTo>
                    <a:pt x="874" y="49"/>
                    <a:pt x="874" y="49"/>
                    <a:pt x="874" y="49"/>
                  </a:cubicBezTo>
                  <a:cubicBezTo>
                    <a:pt x="874" y="49"/>
                    <a:pt x="875" y="49"/>
                    <a:pt x="875" y="49"/>
                  </a:cubicBezTo>
                  <a:cubicBezTo>
                    <a:pt x="875" y="49"/>
                    <a:pt x="875" y="49"/>
                    <a:pt x="875" y="49"/>
                  </a:cubicBezTo>
                  <a:cubicBezTo>
                    <a:pt x="875" y="49"/>
                    <a:pt x="875" y="48"/>
                    <a:pt x="875" y="48"/>
                  </a:cubicBezTo>
                  <a:cubicBezTo>
                    <a:pt x="875" y="48"/>
                    <a:pt x="875" y="48"/>
                    <a:pt x="875" y="48"/>
                  </a:cubicBezTo>
                  <a:cubicBezTo>
                    <a:pt x="875" y="48"/>
                    <a:pt x="875" y="48"/>
                    <a:pt x="875" y="48"/>
                  </a:cubicBezTo>
                  <a:cubicBezTo>
                    <a:pt x="875" y="48"/>
                    <a:pt x="875" y="48"/>
                    <a:pt x="875" y="48"/>
                  </a:cubicBezTo>
                  <a:cubicBezTo>
                    <a:pt x="876" y="48"/>
                    <a:pt x="876" y="48"/>
                    <a:pt x="876" y="47"/>
                  </a:cubicBezTo>
                  <a:cubicBezTo>
                    <a:pt x="876" y="48"/>
                    <a:pt x="876" y="48"/>
                    <a:pt x="876" y="48"/>
                  </a:cubicBezTo>
                  <a:cubicBezTo>
                    <a:pt x="876" y="47"/>
                    <a:pt x="876" y="47"/>
                    <a:pt x="876" y="47"/>
                  </a:cubicBezTo>
                  <a:cubicBezTo>
                    <a:pt x="876" y="47"/>
                    <a:pt x="876" y="47"/>
                    <a:pt x="876" y="47"/>
                  </a:cubicBezTo>
                  <a:cubicBezTo>
                    <a:pt x="877" y="47"/>
                    <a:pt x="877" y="46"/>
                    <a:pt x="878" y="45"/>
                  </a:cubicBezTo>
                  <a:cubicBezTo>
                    <a:pt x="878" y="45"/>
                    <a:pt x="878" y="45"/>
                    <a:pt x="878" y="45"/>
                  </a:cubicBezTo>
                  <a:cubicBezTo>
                    <a:pt x="878" y="45"/>
                    <a:pt x="878" y="45"/>
                    <a:pt x="878" y="45"/>
                  </a:cubicBezTo>
                  <a:cubicBezTo>
                    <a:pt x="878" y="45"/>
                    <a:pt x="878" y="45"/>
                    <a:pt x="878" y="45"/>
                  </a:cubicBezTo>
                  <a:cubicBezTo>
                    <a:pt x="878" y="45"/>
                    <a:pt x="878" y="45"/>
                    <a:pt x="879" y="45"/>
                  </a:cubicBezTo>
                  <a:cubicBezTo>
                    <a:pt x="879" y="45"/>
                    <a:pt x="879" y="45"/>
                    <a:pt x="879" y="45"/>
                  </a:cubicBezTo>
                  <a:cubicBezTo>
                    <a:pt x="879" y="45"/>
                    <a:pt x="879" y="44"/>
                    <a:pt x="880" y="44"/>
                  </a:cubicBezTo>
                  <a:cubicBezTo>
                    <a:pt x="880" y="44"/>
                    <a:pt x="880" y="44"/>
                    <a:pt x="880" y="44"/>
                  </a:cubicBezTo>
                  <a:cubicBezTo>
                    <a:pt x="880" y="44"/>
                    <a:pt x="880" y="44"/>
                    <a:pt x="880" y="44"/>
                  </a:cubicBezTo>
                  <a:cubicBezTo>
                    <a:pt x="880" y="44"/>
                    <a:pt x="880" y="44"/>
                    <a:pt x="880" y="44"/>
                  </a:cubicBezTo>
                  <a:cubicBezTo>
                    <a:pt x="880" y="44"/>
                    <a:pt x="881" y="44"/>
                    <a:pt x="881" y="43"/>
                  </a:cubicBezTo>
                  <a:cubicBezTo>
                    <a:pt x="881" y="43"/>
                    <a:pt x="881" y="43"/>
                    <a:pt x="881" y="43"/>
                  </a:cubicBezTo>
                  <a:cubicBezTo>
                    <a:pt x="881" y="43"/>
                    <a:pt x="881" y="43"/>
                    <a:pt x="881" y="43"/>
                  </a:cubicBezTo>
                  <a:cubicBezTo>
                    <a:pt x="881" y="43"/>
                    <a:pt x="881" y="43"/>
                    <a:pt x="882" y="43"/>
                  </a:cubicBezTo>
                  <a:cubicBezTo>
                    <a:pt x="882" y="43"/>
                    <a:pt x="882" y="43"/>
                    <a:pt x="882" y="43"/>
                  </a:cubicBezTo>
                  <a:cubicBezTo>
                    <a:pt x="882" y="43"/>
                    <a:pt x="882" y="43"/>
                    <a:pt x="882" y="43"/>
                  </a:cubicBezTo>
                  <a:cubicBezTo>
                    <a:pt x="882" y="43"/>
                    <a:pt x="882" y="43"/>
                    <a:pt x="882" y="43"/>
                  </a:cubicBezTo>
                  <a:cubicBezTo>
                    <a:pt x="883" y="43"/>
                    <a:pt x="883" y="43"/>
                    <a:pt x="883" y="43"/>
                  </a:cubicBezTo>
                  <a:cubicBezTo>
                    <a:pt x="883" y="43"/>
                    <a:pt x="883" y="43"/>
                    <a:pt x="883" y="42"/>
                  </a:cubicBezTo>
                  <a:cubicBezTo>
                    <a:pt x="884" y="42"/>
                    <a:pt x="884" y="42"/>
                    <a:pt x="884" y="42"/>
                  </a:cubicBezTo>
                  <a:cubicBezTo>
                    <a:pt x="884" y="42"/>
                    <a:pt x="884" y="42"/>
                    <a:pt x="884" y="42"/>
                  </a:cubicBezTo>
                  <a:cubicBezTo>
                    <a:pt x="884" y="42"/>
                    <a:pt x="885" y="42"/>
                    <a:pt x="886" y="42"/>
                  </a:cubicBezTo>
                  <a:cubicBezTo>
                    <a:pt x="887" y="42"/>
                    <a:pt x="887" y="42"/>
                    <a:pt x="888" y="42"/>
                  </a:cubicBezTo>
                  <a:cubicBezTo>
                    <a:pt x="889" y="42"/>
                    <a:pt x="890" y="42"/>
                    <a:pt x="890" y="42"/>
                  </a:cubicBezTo>
                  <a:cubicBezTo>
                    <a:pt x="891" y="42"/>
                    <a:pt x="891" y="42"/>
                    <a:pt x="891" y="42"/>
                  </a:cubicBezTo>
                  <a:cubicBezTo>
                    <a:pt x="891" y="42"/>
                    <a:pt x="891" y="42"/>
                    <a:pt x="891" y="42"/>
                  </a:cubicBezTo>
                  <a:cubicBezTo>
                    <a:pt x="891" y="43"/>
                    <a:pt x="892" y="42"/>
                    <a:pt x="892" y="43"/>
                  </a:cubicBezTo>
                  <a:cubicBezTo>
                    <a:pt x="892" y="43"/>
                    <a:pt x="892" y="43"/>
                    <a:pt x="892" y="43"/>
                  </a:cubicBezTo>
                  <a:cubicBezTo>
                    <a:pt x="892" y="43"/>
                    <a:pt x="892" y="43"/>
                    <a:pt x="892" y="43"/>
                  </a:cubicBezTo>
                  <a:cubicBezTo>
                    <a:pt x="892" y="43"/>
                    <a:pt x="893" y="43"/>
                    <a:pt x="893" y="43"/>
                  </a:cubicBezTo>
                  <a:cubicBezTo>
                    <a:pt x="893" y="43"/>
                    <a:pt x="893" y="43"/>
                    <a:pt x="893" y="43"/>
                  </a:cubicBezTo>
                  <a:cubicBezTo>
                    <a:pt x="893" y="43"/>
                    <a:pt x="894" y="43"/>
                    <a:pt x="894" y="43"/>
                  </a:cubicBezTo>
                  <a:cubicBezTo>
                    <a:pt x="894" y="43"/>
                    <a:pt x="894" y="43"/>
                    <a:pt x="894" y="43"/>
                  </a:cubicBezTo>
                  <a:cubicBezTo>
                    <a:pt x="894" y="44"/>
                    <a:pt x="894" y="44"/>
                    <a:pt x="895" y="44"/>
                  </a:cubicBezTo>
                  <a:cubicBezTo>
                    <a:pt x="895" y="44"/>
                    <a:pt x="895" y="44"/>
                    <a:pt x="895" y="44"/>
                  </a:cubicBezTo>
                  <a:cubicBezTo>
                    <a:pt x="895" y="44"/>
                    <a:pt x="895" y="44"/>
                    <a:pt x="895" y="44"/>
                  </a:cubicBezTo>
                  <a:cubicBezTo>
                    <a:pt x="895" y="44"/>
                    <a:pt x="895" y="44"/>
                    <a:pt x="895" y="44"/>
                  </a:cubicBezTo>
                  <a:cubicBezTo>
                    <a:pt x="895" y="44"/>
                    <a:pt x="896" y="44"/>
                    <a:pt x="896" y="44"/>
                  </a:cubicBezTo>
                  <a:cubicBezTo>
                    <a:pt x="896" y="44"/>
                    <a:pt x="896" y="44"/>
                    <a:pt x="896" y="44"/>
                  </a:cubicBezTo>
                  <a:cubicBezTo>
                    <a:pt x="896" y="45"/>
                    <a:pt x="896" y="45"/>
                    <a:pt x="896" y="45"/>
                  </a:cubicBezTo>
                  <a:cubicBezTo>
                    <a:pt x="896" y="45"/>
                    <a:pt x="896" y="45"/>
                    <a:pt x="896" y="45"/>
                  </a:cubicBezTo>
                  <a:cubicBezTo>
                    <a:pt x="896" y="45"/>
                    <a:pt x="897" y="45"/>
                    <a:pt x="897" y="45"/>
                  </a:cubicBezTo>
                  <a:cubicBezTo>
                    <a:pt x="897" y="45"/>
                    <a:pt x="897" y="45"/>
                    <a:pt x="897" y="45"/>
                  </a:cubicBezTo>
                  <a:cubicBezTo>
                    <a:pt x="897" y="45"/>
                    <a:pt x="897" y="45"/>
                    <a:pt x="897" y="45"/>
                  </a:cubicBezTo>
                  <a:cubicBezTo>
                    <a:pt x="897" y="45"/>
                    <a:pt x="897" y="45"/>
                    <a:pt x="897" y="45"/>
                  </a:cubicBezTo>
                  <a:cubicBezTo>
                    <a:pt x="897" y="46"/>
                    <a:pt x="897" y="46"/>
                    <a:pt x="897" y="46"/>
                  </a:cubicBezTo>
                  <a:cubicBezTo>
                    <a:pt x="897" y="46"/>
                    <a:pt x="897" y="46"/>
                    <a:pt x="897" y="46"/>
                  </a:cubicBezTo>
                  <a:cubicBezTo>
                    <a:pt x="897" y="46"/>
                    <a:pt x="898" y="46"/>
                    <a:pt x="898" y="46"/>
                  </a:cubicBezTo>
                  <a:cubicBezTo>
                    <a:pt x="898" y="46"/>
                    <a:pt x="898" y="46"/>
                    <a:pt x="898" y="46"/>
                  </a:cubicBezTo>
                  <a:cubicBezTo>
                    <a:pt x="898" y="46"/>
                    <a:pt x="898" y="47"/>
                    <a:pt x="898" y="47"/>
                  </a:cubicBezTo>
                  <a:cubicBezTo>
                    <a:pt x="898" y="47"/>
                    <a:pt x="898" y="47"/>
                    <a:pt x="898" y="47"/>
                  </a:cubicBezTo>
                  <a:cubicBezTo>
                    <a:pt x="898" y="47"/>
                    <a:pt x="898" y="47"/>
                    <a:pt x="898" y="47"/>
                  </a:cubicBezTo>
                  <a:cubicBezTo>
                    <a:pt x="898" y="47"/>
                    <a:pt x="898" y="47"/>
                    <a:pt x="898" y="47"/>
                  </a:cubicBezTo>
                  <a:cubicBezTo>
                    <a:pt x="899" y="47"/>
                    <a:pt x="899" y="48"/>
                    <a:pt x="899" y="48"/>
                  </a:cubicBezTo>
                  <a:cubicBezTo>
                    <a:pt x="899" y="48"/>
                    <a:pt x="899" y="48"/>
                    <a:pt x="899" y="48"/>
                  </a:cubicBezTo>
                  <a:cubicBezTo>
                    <a:pt x="899" y="48"/>
                    <a:pt x="899" y="48"/>
                    <a:pt x="899" y="48"/>
                  </a:cubicBezTo>
                  <a:cubicBezTo>
                    <a:pt x="899" y="48"/>
                    <a:pt x="899" y="48"/>
                    <a:pt x="899" y="48"/>
                  </a:cubicBezTo>
                  <a:cubicBezTo>
                    <a:pt x="899" y="48"/>
                    <a:pt x="899" y="48"/>
                    <a:pt x="899" y="48"/>
                  </a:cubicBezTo>
                  <a:cubicBezTo>
                    <a:pt x="899" y="49"/>
                    <a:pt x="899" y="49"/>
                    <a:pt x="899" y="49"/>
                  </a:cubicBezTo>
                  <a:cubicBezTo>
                    <a:pt x="900" y="49"/>
                    <a:pt x="900" y="49"/>
                    <a:pt x="899" y="49"/>
                  </a:cubicBezTo>
                  <a:cubicBezTo>
                    <a:pt x="900" y="49"/>
                    <a:pt x="900" y="50"/>
                    <a:pt x="900" y="50"/>
                  </a:cubicBezTo>
                  <a:cubicBezTo>
                    <a:pt x="900" y="50"/>
                    <a:pt x="900" y="50"/>
                    <a:pt x="900" y="50"/>
                  </a:cubicBezTo>
                  <a:cubicBezTo>
                    <a:pt x="900" y="50"/>
                    <a:pt x="900" y="51"/>
                    <a:pt x="900" y="51"/>
                  </a:cubicBezTo>
                  <a:cubicBezTo>
                    <a:pt x="900" y="51"/>
                    <a:pt x="900" y="51"/>
                    <a:pt x="900" y="51"/>
                  </a:cubicBezTo>
                  <a:cubicBezTo>
                    <a:pt x="900" y="51"/>
                    <a:pt x="900" y="52"/>
                    <a:pt x="900" y="52"/>
                  </a:cubicBezTo>
                  <a:cubicBezTo>
                    <a:pt x="901" y="52"/>
                    <a:pt x="901" y="52"/>
                    <a:pt x="901" y="52"/>
                  </a:cubicBezTo>
                  <a:cubicBezTo>
                    <a:pt x="901" y="53"/>
                    <a:pt x="901" y="53"/>
                    <a:pt x="901" y="53"/>
                  </a:cubicBezTo>
                  <a:cubicBezTo>
                    <a:pt x="901" y="54"/>
                    <a:pt x="901" y="54"/>
                    <a:pt x="901" y="54"/>
                  </a:cubicBezTo>
                  <a:cubicBezTo>
                    <a:pt x="901" y="54"/>
                    <a:pt x="901" y="55"/>
                    <a:pt x="901" y="56"/>
                  </a:cubicBezTo>
                  <a:cubicBezTo>
                    <a:pt x="901" y="56"/>
                    <a:pt x="901" y="56"/>
                    <a:pt x="901" y="56"/>
                  </a:cubicBezTo>
                  <a:cubicBezTo>
                    <a:pt x="902" y="57"/>
                    <a:pt x="901" y="58"/>
                    <a:pt x="902" y="59"/>
                  </a:cubicBezTo>
                  <a:cubicBezTo>
                    <a:pt x="902" y="60"/>
                    <a:pt x="902" y="60"/>
                    <a:pt x="902" y="61"/>
                  </a:cubicBezTo>
                  <a:cubicBezTo>
                    <a:pt x="902" y="62"/>
                    <a:pt x="902" y="62"/>
                    <a:pt x="902" y="63"/>
                  </a:cubicBezTo>
                  <a:cubicBezTo>
                    <a:pt x="902" y="75"/>
                    <a:pt x="902" y="87"/>
                    <a:pt x="902" y="99"/>
                  </a:cubicBezTo>
                  <a:cubicBezTo>
                    <a:pt x="902" y="102"/>
                    <a:pt x="901" y="102"/>
                    <a:pt x="904" y="102"/>
                  </a:cubicBezTo>
                  <a:cubicBezTo>
                    <a:pt x="906" y="102"/>
                    <a:pt x="908" y="102"/>
                    <a:pt x="911" y="102"/>
                  </a:cubicBezTo>
                  <a:cubicBezTo>
                    <a:pt x="912" y="102"/>
                    <a:pt x="912" y="102"/>
                    <a:pt x="912" y="100"/>
                  </a:cubicBezTo>
                  <a:cubicBezTo>
                    <a:pt x="912" y="85"/>
                    <a:pt x="912" y="71"/>
                    <a:pt x="912" y="56"/>
                  </a:cubicBezTo>
                  <a:cubicBezTo>
                    <a:pt x="912" y="56"/>
                    <a:pt x="913" y="55"/>
                    <a:pt x="912" y="55"/>
                  </a:cubicBezTo>
                  <a:cubicBezTo>
                    <a:pt x="912" y="54"/>
                    <a:pt x="912" y="54"/>
                    <a:pt x="912" y="54"/>
                  </a:cubicBezTo>
                  <a:cubicBezTo>
                    <a:pt x="912" y="53"/>
                    <a:pt x="912" y="52"/>
                    <a:pt x="912" y="52"/>
                  </a:cubicBezTo>
                  <a:cubicBezTo>
                    <a:pt x="912" y="52"/>
                    <a:pt x="912" y="51"/>
                    <a:pt x="912" y="51"/>
                  </a:cubicBezTo>
                  <a:cubicBezTo>
                    <a:pt x="912" y="51"/>
                    <a:pt x="912" y="50"/>
                    <a:pt x="912" y="50"/>
                  </a:cubicBezTo>
                  <a:cubicBezTo>
                    <a:pt x="912" y="50"/>
                    <a:pt x="912" y="50"/>
                    <a:pt x="912" y="50"/>
                  </a:cubicBezTo>
                  <a:cubicBezTo>
                    <a:pt x="912" y="49"/>
                    <a:pt x="912" y="49"/>
                    <a:pt x="912" y="49"/>
                  </a:cubicBezTo>
                  <a:cubicBezTo>
                    <a:pt x="911" y="49"/>
                    <a:pt x="912" y="49"/>
                    <a:pt x="911" y="48"/>
                  </a:cubicBezTo>
                  <a:cubicBezTo>
                    <a:pt x="911" y="48"/>
                    <a:pt x="911" y="48"/>
                    <a:pt x="911" y="48"/>
                  </a:cubicBezTo>
                  <a:cubicBezTo>
                    <a:pt x="911" y="48"/>
                    <a:pt x="911" y="48"/>
                    <a:pt x="911" y="48"/>
                  </a:cubicBezTo>
                  <a:cubicBezTo>
                    <a:pt x="911" y="48"/>
                    <a:pt x="911" y="47"/>
                    <a:pt x="911" y="47"/>
                  </a:cubicBezTo>
                  <a:cubicBezTo>
                    <a:pt x="911" y="47"/>
                    <a:pt x="911" y="47"/>
                    <a:pt x="911" y="47"/>
                  </a:cubicBezTo>
                  <a:cubicBezTo>
                    <a:pt x="911" y="47"/>
                    <a:pt x="911" y="46"/>
                    <a:pt x="911" y="46"/>
                  </a:cubicBezTo>
                  <a:cubicBezTo>
                    <a:pt x="911" y="46"/>
                    <a:pt x="911" y="46"/>
                    <a:pt x="911" y="46"/>
                  </a:cubicBezTo>
                  <a:cubicBezTo>
                    <a:pt x="910" y="46"/>
                    <a:pt x="910" y="45"/>
                    <a:pt x="910" y="45"/>
                  </a:cubicBezTo>
                  <a:cubicBezTo>
                    <a:pt x="910" y="45"/>
                    <a:pt x="910" y="45"/>
                    <a:pt x="910" y="45"/>
                  </a:cubicBezTo>
                  <a:cubicBezTo>
                    <a:pt x="910" y="45"/>
                    <a:pt x="910" y="44"/>
                    <a:pt x="910" y="44"/>
                  </a:cubicBezTo>
                  <a:cubicBezTo>
                    <a:pt x="910" y="44"/>
                    <a:pt x="910" y="44"/>
                    <a:pt x="910" y="44"/>
                  </a:cubicBezTo>
                  <a:cubicBezTo>
                    <a:pt x="910" y="44"/>
                    <a:pt x="910" y="44"/>
                    <a:pt x="910" y="43"/>
                  </a:cubicBezTo>
                  <a:cubicBezTo>
                    <a:pt x="910" y="43"/>
                    <a:pt x="910" y="43"/>
                    <a:pt x="910" y="43"/>
                  </a:cubicBezTo>
                  <a:cubicBezTo>
                    <a:pt x="909" y="43"/>
                    <a:pt x="909" y="43"/>
                    <a:pt x="909" y="43"/>
                  </a:cubicBezTo>
                  <a:cubicBezTo>
                    <a:pt x="909" y="43"/>
                    <a:pt x="909" y="43"/>
                    <a:pt x="909" y="43"/>
                  </a:cubicBezTo>
                  <a:cubicBezTo>
                    <a:pt x="909" y="43"/>
                    <a:pt x="909" y="42"/>
                    <a:pt x="909" y="42"/>
                  </a:cubicBezTo>
                  <a:cubicBezTo>
                    <a:pt x="909" y="42"/>
                    <a:pt x="909" y="42"/>
                    <a:pt x="909" y="42"/>
                  </a:cubicBezTo>
                  <a:cubicBezTo>
                    <a:pt x="909" y="42"/>
                    <a:pt x="909" y="41"/>
                    <a:pt x="908" y="41"/>
                  </a:cubicBezTo>
                  <a:cubicBezTo>
                    <a:pt x="908" y="41"/>
                    <a:pt x="908" y="41"/>
                    <a:pt x="908" y="41"/>
                  </a:cubicBezTo>
                  <a:cubicBezTo>
                    <a:pt x="908" y="41"/>
                    <a:pt x="908" y="41"/>
                    <a:pt x="908" y="41"/>
                  </a:cubicBezTo>
                  <a:cubicBezTo>
                    <a:pt x="908" y="41"/>
                    <a:pt x="908" y="41"/>
                    <a:pt x="908" y="41"/>
                  </a:cubicBezTo>
                  <a:cubicBezTo>
                    <a:pt x="908" y="41"/>
                    <a:pt x="908" y="40"/>
                    <a:pt x="908" y="40"/>
                  </a:cubicBezTo>
                  <a:cubicBezTo>
                    <a:pt x="908" y="40"/>
                    <a:pt x="908" y="40"/>
                    <a:pt x="908" y="40"/>
                  </a:cubicBezTo>
                  <a:cubicBezTo>
                    <a:pt x="908" y="40"/>
                    <a:pt x="908" y="40"/>
                    <a:pt x="907" y="40"/>
                  </a:cubicBezTo>
                  <a:cubicBezTo>
                    <a:pt x="907" y="40"/>
                    <a:pt x="907" y="40"/>
                    <a:pt x="907" y="40"/>
                  </a:cubicBezTo>
                  <a:cubicBezTo>
                    <a:pt x="907" y="40"/>
                    <a:pt x="907" y="40"/>
                    <a:pt x="907" y="40"/>
                  </a:cubicBezTo>
                  <a:cubicBezTo>
                    <a:pt x="907" y="40"/>
                    <a:pt x="907" y="40"/>
                    <a:pt x="907" y="40"/>
                  </a:cubicBezTo>
                  <a:cubicBezTo>
                    <a:pt x="907" y="39"/>
                    <a:pt x="907" y="39"/>
                    <a:pt x="906" y="39"/>
                  </a:cubicBezTo>
                  <a:cubicBezTo>
                    <a:pt x="906" y="39"/>
                    <a:pt x="906" y="39"/>
                    <a:pt x="906" y="39"/>
                  </a:cubicBezTo>
                  <a:cubicBezTo>
                    <a:pt x="906" y="38"/>
                    <a:pt x="906" y="38"/>
                    <a:pt x="906" y="38"/>
                  </a:cubicBezTo>
                  <a:cubicBezTo>
                    <a:pt x="906" y="38"/>
                    <a:pt x="906" y="38"/>
                    <a:pt x="906" y="38"/>
                  </a:cubicBezTo>
                  <a:cubicBezTo>
                    <a:pt x="906" y="38"/>
                    <a:pt x="906" y="38"/>
                    <a:pt x="906" y="38"/>
                  </a:cubicBezTo>
                  <a:cubicBezTo>
                    <a:pt x="906" y="38"/>
                    <a:pt x="906" y="38"/>
                    <a:pt x="906" y="38"/>
                  </a:cubicBezTo>
                  <a:cubicBezTo>
                    <a:pt x="906" y="38"/>
                    <a:pt x="905" y="38"/>
                    <a:pt x="905" y="38"/>
                  </a:cubicBezTo>
                  <a:cubicBezTo>
                    <a:pt x="905" y="38"/>
                    <a:pt x="905" y="38"/>
                    <a:pt x="905" y="38"/>
                  </a:cubicBezTo>
                  <a:cubicBezTo>
                    <a:pt x="905" y="37"/>
                    <a:pt x="905" y="37"/>
                    <a:pt x="904" y="37"/>
                  </a:cubicBezTo>
                  <a:cubicBezTo>
                    <a:pt x="904" y="37"/>
                    <a:pt x="904" y="37"/>
                    <a:pt x="904" y="37"/>
                  </a:cubicBezTo>
                  <a:cubicBezTo>
                    <a:pt x="904" y="37"/>
                    <a:pt x="904" y="37"/>
                    <a:pt x="904" y="36"/>
                  </a:cubicBezTo>
                  <a:cubicBezTo>
                    <a:pt x="904" y="36"/>
                    <a:pt x="904" y="36"/>
                    <a:pt x="904" y="36"/>
                  </a:cubicBezTo>
                  <a:cubicBezTo>
                    <a:pt x="904" y="36"/>
                    <a:pt x="904" y="36"/>
                    <a:pt x="904" y="36"/>
                  </a:cubicBezTo>
                  <a:cubicBezTo>
                    <a:pt x="904" y="36"/>
                    <a:pt x="904" y="36"/>
                    <a:pt x="904" y="36"/>
                  </a:cubicBezTo>
                  <a:cubicBezTo>
                    <a:pt x="903" y="36"/>
                    <a:pt x="903" y="36"/>
                    <a:pt x="903" y="36"/>
                  </a:cubicBezTo>
                  <a:cubicBezTo>
                    <a:pt x="903" y="36"/>
                    <a:pt x="903" y="36"/>
                    <a:pt x="903" y="36"/>
                  </a:cubicBezTo>
                  <a:cubicBezTo>
                    <a:pt x="903" y="36"/>
                    <a:pt x="903" y="35"/>
                    <a:pt x="902" y="35"/>
                  </a:cubicBezTo>
                  <a:cubicBezTo>
                    <a:pt x="902" y="35"/>
                    <a:pt x="902" y="35"/>
                    <a:pt x="902" y="35"/>
                  </a:cubicBezTo>
                  <a:cubicBezTo>
                    <a:pt x="902" y="35"/>
                    <a:pt x="902" y="35"/>
                    <a:pt x="902" y="35"/>
                  </a:cubicBezTo>
                  <a:cubicBezTo>
                    <a:pt x="902" y="35"/>
                    <a:pt x="902" y="35"/>
                    <a:pt x="902" y="35"/>
                  </a:cubicBezTo>
                  <a:cubicBezTo>
                    <a:pt x="902" y="35"/>
                    <a:pt x="902" y="35"/>
                    <a:pt x="902" y="35"/>
                  </a:cubicBezTo>
                  <a:cubicBezTo>
                    <a:pt x="902" y="35"/>
                    <a:pt x="901" y="35"/>
                    <a:pt x="901" y="35"/>
                  </a:cubicBezTo>
                  <a:cubicBezTo>
                    <a:pt x="901" y="35"/>
                    <a:pt x="901" y="35"/>
                    <a:pt x="901" y="35"/>
                  </a:cubicBezTo>
                  <a:cubicBezTo>
                    <a:pt x="901" y="34"/>
                    <a:pt x="901" y="34"/>
                    <a:pt x="900" y="34"/>
                  </a:cubicBezTo>
                  <a:cubicBezTo>
                    <a:pt x="900" y="34"/>
                    <a:pt x="900" y="34"/>
                    <a:pt x="900" y="34"/>
                  </a:cubicBezTo>
                  <a:cubicBezTo>
                    <a:pt x="900" y="34"/>
                    <a:pt x="900" y="34"/>
                    <a:pt x="900" y="34"/>
                  </a:cubicBezTo>
                  <a:cubicBezTo>
                    <a:pt x="900" y="34"/>
                    <a:pt x="900" y="34"/>
                    <a:pt x="899" y="34"/>
                  </a:cubicBezTo>
                  <a:cubicBezTo>
                    <a:pt x="899" y="34"/>
                    <a:pt x="899" y="34"/>
                    <a:pt x="899" y="34"/>
                  </a:cubicBezTo>
                  <a:cubicBezTo>
                    <a:pt x="899" y="34"/>
                    <a:pt x="899" y="34"/>
                    <a:pt x="898" y="34"/>
                  </a:cubicBezTo>
                  <a:cubicBezTo>
                    <a:pt x="898" y="34"/>
                    <a:pt x="898" y="34"/>
                    <a:pt x="898" y="34"/>
                  </a:cubicBezTo>
                  <a:cubicBezTo>
                    <a:pt x="898" y="33"/>
                    <a:pt x="898" y="34"/>
                    <a:pt x="897" y="33"/>
                  </a:cubicBezTo>
                  <a:cubicBezTo>
                    <a:pt x="897" y="33"/>
                    <a:pt x="897" y="33"/>
                    <a:pt x="897" y="33"/>
                  </a:cubicBezTo>
                  <a:cubicBezTo>
                    <a:pt x="897" y="33"/>
                    <a:pt x="897" y="33"/>
                    <a:pt x="897" y="33"/>
                  </a:cubicBezTo>
                  <a:cubicBezTo>
                    <a:pt x="897" y="33"/>
                    <a:pt x="896" y="33"/>
                    <a:pt x="896" y="33"/>
                  </a:cubicBezTo>
                  <a:cubicBezTo>
                    <a:pt x="895" y="33"/>
                    <a:pt x="895" y="33"/>
                    <a:pt x="895" y="33"/>
                  </a:cubicBezTo>
                  <a:cubicBezTo>
                    <a:pt x="894" y="33"/>
                    <a:pt x="894" y="33"/>
                    <a:pt x="893" y="33"/>
                  </a:cubicBezTo>
                  <a:cubicBezTo>
                    <a:pt x="891" y="33"/>
                    <a:pt x="890" y="33"/>
                    <a:pt x="888" y="33"/>
                  </a:cubicBezTo>
                  <a:cubicBezTo>
                    <a:pt x="887" y="33"/>
                    <a:pt x="886" y="33"/>
                    <a:pt x="886" y="33"/>
                  </a:cubicBezTo>
                  <a:cubicBezTo>
                    <a:pt x="885" y="33"/>
                    <a:pt x="885" y="33"/>
                    <a:pt x="885" y="33"/>
                  </a:cubicBezTo>
                  <a:cubicBezTo>
                    <a:pt x="885" y="33"/>
                    <a:pt x="885" y="33"/>
                    <a:pt x="885" y="33"/>
                  </a:cubicBezTo>
                  <a:cubicBezTo>
                    <a:pt x="885" y="33"/>
                    <a:pt x="884" y="33"/>
                    <a:pt x="884" y="33"/>
                  </a:cubicBezTo>
                  <a:cubicBezTo>
                    <a:pt x="884" y="33"/>
                    <a:pt x="884" y="33"/>
                    <a:pt x="884" y="33"/>
                  </a:cubicBezTo>
                  <a:cubicBezTo>
                    <a:pt x="884" y="34"/>
                    <a:pt x="883" y="33"/>
                    <a:pt x="883" y="34"/>
                  </a:cubicBezTo>
                  <a:cubicBezTo>
                    <a:pt x="883" y="34"/>
                    <a:pt x="883" y="34"/>
                    <a:pt x="882" y="34"/>
                  </a:cubicBezTo>
                  <a:cubicBezTo>
                    <a:pt x="882" y="34"/>
                    <a:pt x="882" y="34"/>
                    <a:pt x="882" y="34"/>
                  </a:cubicBezTo>
                  <a:cubicBezTo>
                    <a:pt x="882" y="34"/>
                    <a:pt x="882" y="34"/>
                    <a:pt x="881" y="34"/>
                  </a:cubicBezTo>
                  <a:cubicBezTo>
                    <a:pt x="881" y="34"/>
                    <a:pt x="881" y="34"/>
                    <a:pt x="881" y="34"/>
                  </a:cubicBezTo>
                  <a:cubicBezTo>
                    <a:pt x="881" y="34"/>
                    <a:pt x="881" y="34"/>
                    <a:pt x="881" y="34"/>
                  </a:cubicBezTo>
                  <a:cubicBezTo>
                    <a:pt x="880" y="35"/>
                    <a:pt x="880" y="34"/>
                    <a:pt x="880" y="35"/>
                  </a:cubicBezTo>
                  <a:cubicBezTo>
                    <a:pt x="880" y="35"/>
                    <a:pt x="880" y="35"/>
                    <a:pt x="880" y="35"/>
                  </a:cubicBezTo>
                  <a:cubicBezTo>
                    <a:pt x="879" y="35"/>
                    <a:pt x="879" y="35"/>
                    <a:pt x="879" y="35"/>
                  </a:cubicBezTo>
                  <a:cubicBezTo>
                    <a:pt x="879" y="35"/>
                    <a:pt x="879" y="35"/>
                    <a:pt x="879" y="35"/>
                  </a:cubicBezTo>
                  <a:cubicBezTo>
                    <a:pt x="879" y="35"/>
                    <a:pt x="879" y="35"/>
                    <a:pt x="879" y="35"/>
                  </a:cubicBezTo>
                  <a:cubicBezTo>
                    <a:pt x="878" y="35"/>
                    <a:pt x="878" y="35"/>
                    <a:pt x="878" y="35"/>
                  </a:cubicBezTo>
                  <a:cubicBezTo>
                    <a:pt x="878" y="35"/>
                    <a:pt x="878" y="35"/>
                    <a:pt x="878" y="35"/>
                  </a:cubicBezTo>
                  <a:cubicBezTo>
                    <a:pt x="878" y="35"/>
                    <a:pt x="878" y="36"/>
                    <a:pt x="878" y="36"/>
                  </a:cubicBezTo>
                  <a:cubicBezTo>
                    <a:pt x="878" y="36"/>
                    <a:pt x="878" y="36"/>
                    <a:pt x="878" y="36"/>
                  </a:cubicBezTo>
                  <a:cubicBezTo>
                    <a:pt x="878" y="36"/>
                    <a:pt x="877" y="36"/>
                    <a:pt x="877" y="36"/>
                  </a:cubicBezTo>
                  <a:cubicBezTo>
                    <a:pt x="877" y="36"/>
                    <a:pt x="877" y="36"/>
                    <a:pt x="877" y="36"/>
                  </a:cubicBezTo>
                  <a:cubicBezTo>
                    <a:pt x="877" y="36"/>
                    <a:pt x="876" y="36"/>
                    <a:pt x="876" y="37"/>
                  </a:cubicBezTo>
                  <a:cubicBezTo>
                    <a:pt x="876" y="37"/>
                    <a:pt x="876" y="37"/>
                    <a:pt x="876" y="37"/>
                  </a:cubicBezTo>
                  <a:cubicBezTo>
                    <a:pt x="876" y="37"/>
                    <a:pt x="876" y="37"/>
                    <a:pt x="876" y="37"/>
                  </a:cubicBezTo>
                  <a:cubicBezTo>
                    <a:pt x="876" y="37"/>
                    <a:pt x="876" y="37"/>
                    <a:pt x="876" y="37"/>
                  </a:cubicBezTo>
                  <a:cubicBezTo>
                    <a:pt x="876" y="37"/>
                    <a:pt x="875" y="37"/>
                    <a:pt x="875" y="38"/>
                  </a:cubicBezTo>
                  <a:cubicBezTo>
                    <a:pt x="875" y="38"/>
                    <a:pt x="875" y="38"/>
                    <a:pt x="875" y="38"/>
                  </a:cubicBezTo>
                  <a:cubicBezTo>
                    <a:pt x="875" y="38"/>
                    <a:pt x="875" y="38"/>
                    <a:pt x="875" y="38"/>
                  </a:cubicBezTo>
                  <a:cubicBezTo>
                    <a:pt x="875" y="38"/>
                    <a:pt x="875" y="38"/>
                    <a:pt x="875" y="38"/>
                  </a:cubicBezTo>
                  <a:cubicBezTo>
                    <a:pt x="875" y="38"/>
                    <a:pt x="874" y="38"/>
                    <a:pt x="874" y="38"/>
                  </a:cubicBezTo>
                  <a:cubicBezTo>
                    <a:pt x="874" y="38"/>
                    <a:pt x="874" y="38"/>
                    <a:pt x="874" y="38"/>
                  </a:cubicBezTo>
                  <a:cubicBezTo>
                    <a:pt x="874" y="38"/>
                    <a:pt x="874" y="38"/>
                    <a:pt x="874" y="39"/>
                  </a:cubicBezTo>
                  <a:cubicBezTo>
                    <a:pt x="874" y="39"/>
                    <a:pt x="874" y="39"/>
                    <a:pt x="874" y="39"/>
                  </a:cubicBezTo>
                  <a:cubicBezTo>
                    <a:pt x="874" y="39"/>
                    <a:pt x="874" y="39"/>
                    <a:pt x="874" y="39"/>
                  </a:cubicBezTo>
                  <a:cubicBezTo>
                    <a:pt x="874" y="39"/>
                    <a:pt x="874" y="39"/>
                    <a:pt x="874" y="39"/>
                  </a:cubicBezTo>
                  <a:cubicBezTo>
                    <a:pt x="874" y="39"/>
                    <a:pt x="873" y="39"/>
                    <a:pt x="873" y="39"/>
                  </a:cubicBezTo>
                  <a:cubicBezTo>
                    <a:pt x="873" y="39"/>
                    <a:pt x="873" y="39"/>
                    <a:pt x="873" y="39"/>
                  </a:cubicBezTo>
                  <a:cubicBezTo>
                    <a:pt x="873" y="39"/>
                    <a:pt x="873" y="39"/>
                    <a:pt x="873" y="40"/>
                  </a:cubicBezTo>
                  <a:cubicBezTo>
                    <a:pt x="873" y="40"/>
                    <a:pt x="873" y="40"/>
                    <a:pt x="873" y="40"/>
                  </a:cubicBezTo>
                  <a:cubicBezTo>
                    <a:pt x="873" y="40"/>
                    <a:pt x="873" y="40"/>
                    <a:pt x="873" y="40"/>
                  </a:cubicBezTo>
                  <a:cubicBezTo>
                    <a:pt x="873" y="40"/>
                    <a:pt x="873" y="40"/>
                    <a:pt x="873" y="40"/>
                  </a:cubicBezTo>
                  <a:cubicBezTo>
                    <a:pt x="873" y="40"/>
                    <a:pt x="872" y="40"/>
                    <a:pt x="872" y="40"/>
                  </a:cubicBezTo>
                  <a:cubicBezTo>
                    <a:pt x="872" y="40"/>
                    <a:pt x="872" y="40"/>
                    <a:pt x="872" y="40"/>
                  </a:cubicBezTo>
                  <a:cubicBezTo>
                    <a:pt x="872" y="40"/>
                    <a:pt x="872" y="40"/>
                    <a:pt x="872" y="41"/>
                  </a:cubicBezTo>
                  <a:cubicBezTo>
                    <a:pt x="872" y="41"/>
                    <a:pt x="872" y="41"/>
                    <a:pt x="872" y="41"/>
                  </a:cubicBezTo>
                  <a:cubicBezTo>
                    <a:pt x="872" y="41"/>
                    <a:pt x="872" y="41"/>
                    <a:pt x="872" y="41"/>
                  </a:cubicBezTo>
                  <a:cubicBezTo>
                    <a:pt x="872" y="41"/>
                    <a:pt x="872" y="41"/>
                    <a:pt x="872" y="41"/>
                  </a:cubicBezTo>
                  <a:cubicBezTo>
                    <a:pt x="871" y="41"/>
                    <a:pt x="871" y="41"/>
                    <a:pt x="871" y="41"/>
                  </a:cubicBezTo>
                  <a:cubicBezTo>
                    <a:pt x="871" y="41"/>
                    <a:pt x="871" y="41"/>
                    <a:pt x="871" y="41"/>
                  </a:cubicBezTo>
                  <a:cubicBezTo>
                    <a:pt x="871" y="41"/>
                    <a:pt x="871" y="42"/>
                    <a:pt x="871" y="42"/>
                  </a:cubicBezTo>
                  <a:cubicBezTo>
                    <a:pt x="871" y="42"/>
                    <a:pt x="871" y="42"/>
                    <a:pt x="871" y="42"/>
                  </a:cubicBezTo>
                  <a:cubicBezTo>
                    <a:pt x="871" y="42"/>
                    <a:pt x="871" y="42"/>
                    <a:pt x="871" y="42"/>
                  </a:cubicBezTo>
                  <a:cubicBezTo>
                    <a:pt x="871" y="42"/>
                    <a:pt x="871" y="42"/>
                    <a:pt x="871" y="42"/>
                  </a:cubicBezTo>
                  <a:cubicBezTo>
                    <a:pt x="870" y="42"/>
                    <a:pt x="870" y="43"/>
                    <a:pt x="870" y="43"/>
                  </a:cubicBezTo>
                  <a:cubicBezTo>
                    <a:pt x="870" y="43"/>
                    <a:pt x="870" y="43"/>
                    <a:pt x="870" y="43"/>
                  </a:cubicBezTo>
                  <a:cubicBezTo>
                    <a:pt x="870" y="43"/>
                    <a:pt x="870" y="43"/>
                    <a:pt x="870" y="43"/>
                  </a:cubicBezTo>
                  <a:cubicBezTo>
                    <a:pt x="870" y="43"/>
                    <a:pt x="870" y="43"/>
                    <a:pt x="870" y="43"/>
                  </a:cubicBezTo>
                  <a:cubicBezTo>
                    <a:pt x="870" y="44"/>
                    <a:pt x="870" y="44"/>
                    <a:pt x="870" y="44"/>
                  </a:cubicBezTo>
                  <a:cubicBezTo>
                    <a:pt x="870" y="44"/>
                    <a:pt x="870" y="44"/>
                    <a:pt x="870" y="44"/>
                  </a:cubicBezTo>
                  <a:cubicBezTo>
                    <a:pt x="869" y="44"/>
                    <a:pt x="869" y="44"/>
                    <a:pt x="869" y="44"/>
                  </a:cubicBezTo>
                  <a:cubicBezTo>
                    <a:pt x="869" y="44"/>
                    <a:pt x="869" y="44"/>
                    <a:pt x="869" y="44"/>
                  </a:cubicBezTo>
                  <a:cubicBezTo>
                    <a:pt x="869" y="45"/>
                    <a:pt x="869" y="45"/>
                    <a:pt x="869" y="45"/>
                  </a:cubicBezTo>
                  <a:cubicBezTo>
                    <a:pt x="869" y="45"/>
                    <a:pt x="869" y="45"/>
                    <a:pt x="869" y="45"/>
                  </a:cubicBezTo>
                  <a:cubicBezTo>
                    <a:pt x="869" y="45"/>
                    <a:pt x="869" y="45"/>
                    <a:pt x="869" y="46"/>
                  </a:cubicBezTo>
                  <a:cubicBezTo>
                    <a:pt x="869" y="46"/>
                    <a:pt x="869" y="46"/>
                    <a:pt x="869" y="46"/>
                  </a:cubicBezTo>
                  <a:cubicBezTo>
                    <a:pt x="868" y="46"/>
                    <a:pt x="868" y="46"/>
                    <a:pt x="868" y="45"/>
                  </a:cubicBezTo>
                  <a:cubicBezTo>
                    <a:pt x="868" y="45"/>
                    <a:pt x="868" y="45"/>
                    <a:pt x="868" y="45"/>
                  </a:cubicBezTo>
                  <a:cubicBezTo>
                    <a:pt x="868" y="45"/>
                    <a:pt x="868" y="45"/>
                    <a:pt x="868" y="45"/>
                  </a:cubicBezTo>
                  <a:cubicBezTo>
                    <a:pt x="868" y="45"/>
                    <a:pt x="868" y="45"/>
                    <a:pt x="867" y="44"/>
                  </a:cubicBezTo>
                  <a:cubicBezTo>
                    <a:pt x="867" y="44"/>
                    <a:pt x="867" y="44"/>
                    <a:pt x="867" y="44"/>
                  </a:cubicBezTo>
                  <a:cubicBezTo>
                    <a:pt x="867" y="44"/>
                    <a:pt x="867" y="44"/>
                    <a:pt x="867" y="44"/>
                  </a:cubicBezTo>
                  <a:cubicBezTo>
                    <a:pt x="867" y="44"/>
                    <a:pt x="867" y="44"/>
                    <a:pt x="867" y="44"/>
                  </a:cubicBezTo>
                  <a:cubicBezTo>
                    <a:pt x="867" y="44"/>
                    <a:pt x="867" y="43"/>
                    <a:pt x="867" y="43"/>
                  </a:cubicBezTo>
                  <a:cubicBezTo>
                    <a:pt x="867" y="43"/>
                    <a:pt x="867" y="43"/>
                    <a:pt x="867" y="43"/>
                  </a:cubicBezTo>
                  <a:cubicBezTo>
                    <a:pt x="867" y="43"/>
                    <a:pt x="867" y="43"/>
                    <a:pt x="866" y="42"/>
                  </a:cubicBezTo>
                  <a:cubicBezTo>
                    <a:pt x="866" y="42"/>
                    <a:pt x="866" y="42"/>
                    <a:pt x="866" y="42"/>
                  </a:cubicBezTo>
                  <a:cubicBezTo>
                    <a:pt x="866" y="42"/>
                    <a:pt x="866" y="42"/>
                    <a:pt x="866" y="42"/>
                  </a:cubicBezTo>
                  <a:cubicBezTo>
                    <a:pt x="866" y="42"/>
                    <a:pt x="866" y="42"/>
                    <a:pt x="866" y="42"/>
                  </a:cubicBezTo>
                  <a:cubicBezTo>
                    <a:pt x="866" y="42"/>
                    <a:pt x="866" y="41"/>
                    <a:pt x="866" y="41"/>
                  </a:cubicBezTo>
                  <a:cubicBezTo>
                    <a:pt x="866" y="41"/>
                    <a:pt x="866" y="41"/>
                    <a:pt x="866" y="41"/>
                  </a:cubicBezTo>
                  <a:cubicBezTo>
                    <a:pt x="865" y="41"/>
                    <a:pt x="866" y="41"/>
                    <a:pt x="865" y="41"/>
                  </a:cubicBezTo>
                  <a:cubicBezTo>
                    <a:pt x="865" y="41"/>
                    <a:pt x="865" y="41"/>
                    <a:pt x="865" y="41"/>
                  </a:cubicBezTo>
                  <a:cubicBezTo>
                    <a:pt x="865" y="40"/>
                    <a:pt x="865" y="40"/>
                    <a:pt x="865" y="40"/>
                  </a:cubicBezTo>
                  <a:cubicBezTo>
                    <a:pt x="865" y="40"/>
                    <a:pt x="865" y="40"/>
                    <a:pt x="865" y="40"/>
                  </a:cubicBezTo>
                  <a:cubicBezTo>
                    <a:pt x="865" y="40"/>
                    <a:pt x="865"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3" y="38"/>
                    <a:pt x="863" y="38"/>
                    <a:pt x="863" y="38"/>
                  </a:cubicBezTo>
                  <a:cubicBezTo>
                    <a:pt x="863" y="38"/>
                    <a:pt x="863" y="38"/>
                    <a:pt x="863" y="38"/>
                  </a:cubicBezTo>
                  <a:cubicBezTo>
                    <a:pt x="863" y="38"/>
                    <a:pt x="863" y="38"/>
                    <a:pt x="863" y="38"/>
                  </a:cubicBezTo>
                  <a:cubicBezTo>
                    <a:pt x="863" y="38"/>
                    <a:pt x="863" y="38"/>
                    <a:pt x="863" y="38"/>
                  </a:cubicBezTo>
                  <a:cubicBezTo>
                    <a:pt x="863" y="38"/>
                    <a:pt x="863" y="38"/>
                    <a:pt x="862" y="38"/>
                  </a:cubicBezTo>
                  <a:cubicBezTo>
                    <a:pt x="862" y="38"/>
                    <a:pt x="862" y="38"/>
                    <a:pt x="862" y="38"/>
                  </a:cubicBezTo>
                  <a:cubicBezTo>
                    <a:pt x="862" y="37"/>
                    <a:pt x="862" y="37"/>
                    <a:pt x="862" y="37"/>
                  </a:cubicBezTo>
                  <a:cubicBezTo>
                    <a:pt x="862" y="37"/>
                    <a:pt x="862" y="37"/>
                    <a:pt x="862" y="37"/>
                  </a:cubicBezTo>
                  <a:cubicBezTo>
                    <a:pt x="862" y="37"/>
                    <a:pt x="862" y="37"/>
                    <a:pt x="862" y="37"/>
                  </a:cubicBezTo>
                  <a:cubicBezTo>
                    <a:pt x="862" y="37"/>
                    <a:pt x="862" y="37"/>
                    <a:pt x="862" y="37"/>
                  </a:cubicBezTo>
                  <a:cubicBezTo>
                    <a:pt x="861" y="37"/>
                    <a:pt x="861" y="37"/>
                    <a:pt x="861" y="36"/>
                  </a:cubicBezTo>
                  <a:cubicBezTo>
                    <a:pt x="861" y="36"/>
                    <a:pt x="861" y="36"/>
                    <a:pt x="861" y="36"/>
                  </a:cubicBezTo>
                  <a:cubicBezTo>
                    <a:pt x="861" y="36"/>
                    <a:pt x="861" y="36"/>
                    <a:pt x="861" y="36"/>
                  </a:cubicBezTo>
                  <a:cubicBezTo>
                    <a:pt x="861" y="36"/>
                    <a:pt x="861" y="36"/>
                    <a:pt x="861" y="36"/>
                  </a:cubicBezTo>
                  <a:cubicBezTo>
                    <a:pt x="861" y="36"/>
                    <a:pt x="860" y="36"/>
                    <a:pt x="860" y="36"/>
                  </a:cubicBezTo>
                  <a:cubicBezTo>
                    <a:pt x="860" y="36"/>
                    <a:pt x="860" y="36"/>
                    <a:pt x="860" y="36"/>
                  </a:cubicBezTo>
                  <a:cubicBezTo>
                    <a:pt x="860" y="36"/>
                    <a:pt x="860" y="36"/>
                    <a:pt x="859" y="35"/>
                  </a:cubicBezTo>
                  <a:cubicBezTo>
                    <a:pt x="859" y="35"/>
                    <a:pt x="859" y="35"/>
                    <a:pt x="859" y="35"/>
                  </a:cubicBezTo>
                  <a:cubicBezTo>
                    <a:pt x="859" y="35"/>
                    <a:pt x="859" y="35"/>
                    <a:pt x="859" y="35"/>
                  </a:cubicBezTo>
                  <a:cubicBezTo>
                    <a:pt x="859" y="35"/>
                    <a:pt x="859" y="35"/>
                    <a:pt x="859" y="35"/>
                  </a:cubicBezTo>
                  <a:cubicBezTo>
                    <a:pt x="859" y="35"/>
                    <a:pt x="859" y="35"/>
                    <a:pt x="858" y="35"/>
                  </a:cubicBezTo>
                  <a:cubicBezTo>
                    <a:pt x="858" y="35"/>
                    <a:pt x="858" y="35"/>
                    <a:pt x="858" y="35"/>
                  </a:cubicBezTo>
                  <a:cubicBezTo>
                    <a:pt x="858" y="34"/>
                    <a:pt x="858" y="35"/>
                    <a:pt x="858" y="34"/>
                  </a:cubicBezTo>
                  <a:cubicBezTo>
                    <a:pt x="858" y="34"/>
                    <a:pt x="858" y="34"/>
                    <a:pt x="858" y="34"/>
                  </a:cubicBezTo>
                  <a:cubicBezTo>
                    <a:pt x="857" y="34"/>
                    <a:pt x="857" y="34"/>
                    <a:pt x="857" y="34"/>
                  </a:cubicBezTo>
                  <a:cubicBezTo>
                    <a:pt x="857" y="34"/>
                    <a:pt x="857" y="34"/>
                    <a:pt x="857" y="34"/>
                  </a:cubicBezTo>
                  <a:cubicBezTo>
                    <a:pt x="857" y="34"/>
                    <a:pt x="857" y="34"/>
                    <a:pt x="857" y="34"/>
                  </a:cubicBezTo>
                  <a:cubicBezTo>
                    <a:pt x="856" y="34"/>
                    <a:pt x="856" y="34"/>
                    <a:pt x="856" y="34"/>
                  </a:cubicBezTo>
                  <a:cubicBezTo>
                    <a:pt x="856" y="34"/>
                    <a:pt x="856" y="34"/>
                    <a:pt x="856" y="34"/>
                  </a:cubicBezTo>
                  <a:cubicBezTo>
                    <a:pt x="855" y="33"/>
                    <a:pt x="855" y="33"/>
                    <a:pt x="855" y="33"/>
                  </a:cubicBezTo>
                  <a:cubicBezTo>
                    <a:pt x="855" y="33"/>
                    <a:pt x="855" y="33"/>
                    <a:pt x="855" y="33"/>
                  </a:cubicBezTo>
                  <a:cubicBezTo>
                    <a:pt x="855" y="33"/>
                    <a:pt x="855" y="33"/>
                    <a:pt x="855" y="33"/>
                  </a:cubicBezTo>
                  <a:cubicBezTo>
                    <a:pt x="854" y="33"/>
                    <a:pt x="854" y="33"/>
                    <a:pt x="853" y="33"/>
                  </a:cubicBezTo>
                  <a:cubicBezTo>
                    <a:pt x="853" y="33"/>
                    <a:pt x="853" y="33"/>
                    <a:pt x="853" y="33"/>
                  </a:cubicBezTo>
                  <a:cubicBezTo>
                    <a:pt x="853" y="33"/>
                    <a:pt x="853" y="33"/>
                    <a:pt x="853" y="33"/>
                  </a:cubicBezTo>
                  <a:cubicBezTo>
                    <a:pt x="852" y="33"/>
                    <a:pt x="852" y="33"/>
                    <a:pt x="851" y="33"/>
                  </a:cubicBezTo>
                  <a:cubicBezTo>
                    <a:pt x="850" y="33"/>
                    <a:pt x="848" y="33"/>
                    <a:pt x="847" y="33"/>
                  </a:cubicBezTo>
                  <a:cubicBezTo>
                    <a:pt x="846" y="33"/>
                    <a:pt x="845" y="33"/>
                    <a:pt x="844" y="33"/>
                  </a:cubicBezTo>
                  <a:cubicBezTo>
                    <a:pt x="844" y="33"/>
                    <a:pt x="844" y="33"/>
                    <a:pt x="844" y="33"/>
                  </a:cubicBezTo>
                  <a:cubicBezTo>
                    <a:pt x="844" y="33"/>
                    <a:pt x="843" y="33"/>
                    <a:pt x="843" y="33"/>
                  </a:cubicBezTo>
                  <a:cubicBezTo>
                    <a:pt x="843" y="33"/>
                    <a:pt x="843" y="33"/>
                    <a:pt x="842" y="33"/>
                  </a:cubicBezTo>
                  <a:cubicBezTo>
                    <a:pt x="842" y="34"/>
                    <a:pt x="842" y="33"/>
                    <a:pt x="841" y="34"/>
                  </a:cubicBezTo>
                  <a:cubicBezTo>
                    <a:pt x="841" y="34"/>
                    <a:pt x="841" y="34"/>
                    <a:pt x="841" y="34"/>
                  </a:cubicBezTo>
                  <a:cubicBezTo>
                    <a:pt x="841" y="34"/>
                    <a:pt x="841" y="34"/>
                    <a:pt x="840" y="34"/>
                  </a:cubicBezTo>
                  <a:cubicBezTo>
                    <a:pt x="840" y="34"/>
                    <a:pt x="840" y="34"/>
                    <a:pt x="840" y="34"/>
                  </a:cubicBezTo>
                  <a:cubicBezTo>
                    <a:pt x="840" y="34"/>
                    <a:pt x="840" y="34"/>
                    <a:pt x="840" y="34"/>
                  </a:cubicBezTo>
                  <a:cubicBezTo>
                    <a:pt x="839" y="34"/>
                    <a:pt x="839" y="34"/>
                    <a:pt x="839" y="34"/>
                  </a:cubicBezTo>
                  <a:cubicBezTo>
                    <a:pt x="839" y="34"/>
                    <a:pt x="839" y="34"/>
                    <a:pt x="839" y="34"/>
                  </a:cubicBezTo>
                  <a:cubicBezTo>
                    <a:pt x="839" y="34"/>
                    <a:pt x="839" y="34"/>
                    <a:pt x="839" y="35"/>
                  </a:cubicBezTo>
                  <a:cubicBezTo>
                    <a:pt x="839" y="35"/>
                    <a:pt x="839" y="35"/>
                    <a:pt x="839" y="35"/>
                  </a:cubicBezTo>
                  <a:cubicBezTo>
                    <a:pt x="838" y="35"/>
                    <a:pt x="838" y="35"/>
                    <a:pt x="838" y="35"/>
                  </a:cubicBezTo>
                  <a:cubicBezTo>
                    <a:pt x="838" y="35"/>
                    <a:pt x="838" y="35"/>
                    <a:pt x="838" y="35"/>
                  </a:cubicBezTo>
                  <a:cubicBezTo>
                    <a:pt x="838" y="35"/>
                    <a:pt x="837" y="35"/>
                    <a:pt x="837" y="35"/>
                  </a:cubicBezTo>
                  <a:cubicBezTo>
                    <a:pt x="837" y="35"/>
                    <a:pt x="837" y="35"/>
                    <a:pt x="837" y="35"/>
                  </a:cubicBezTo>
                  <a:cubicBezTo>
                    <a:pt x="837" y="35"/>
                    <a:pt x="837" y="36"/>
                    <a:pt x="837" y="36"/>
                  </a:cubicBezTo>
                  <a:cubicBezTo>
                    <a:pt x="837" y="36"/>
                    <a:pt x="837" y="36"/>
                    <a:pt x="837" y="36"/>
                  </a:cubicBezTo>
                  <a:cubicBezTo>
                    <a:pt x="837" y="36"/>
                    <a:pt x="836" y="36"/>
                    <a:pt x="836" y="36"/>
                  </a:cubicBezTo>
                  <a:cubicBezTo>
                    <a:pt x="836" y="36"/>
                    <a:pt x="836" y="36"/>
                    <a:pt x="836" y="36"/>
                  </a:cubicBezTo>
                  <a:cubicBezTo>
                    <a:pt x="836" y="36"/>
                    <a:pt x="835" y="36"/>
                    <a:pt x="835" y="37"/>
                  </a:cubicBezTo>
                  <a:cubicBezTo>
                    <a:pt x="835" y="37"/>
                    <a:pt x="835" y="37"/>
                    <a:pt x="835" y="37"/>
                  </a:cubicBezTo>
                  <a:cubicBezTo>
                    <a:pt x="835" y="37"/>
                    <a:pt x="835" y="37"/>
                    <a:pt x="835" y="37"/>
                  </a:cubicBezTo>
                  <a:cubicBezTo>
                    <a:pt x="835" y="37"/>
                    <a:pt x="835" y="37"/>
                    <a:pt x="835" y="37"/>
                  </a:cubicBezTo>
                  <a:cubicBezTo>
                    <a:pt x="834" y="37"/>
                    <a:pt x="834" y="37"/>
                    <a:pt x="834" y="38"/>
                  </a:cubicBezTo>
                  <a:cubicBezTo>
                    <a:pt x="834" y="38"/>
                    <a:pt x="834" y="38"/>
                    <a:pt x="834" y="38"/>
                  </a:cubicBezTo>
                  <a:cubicBezTo>
                    <a:pt x="834" y="38"/>
                    <a:pt x="833" y="38"/>
                    <a:pt x="833" y="38"/>
                  </a:cubicBezTo>
                  <a:cubicBezTo>
                    <a:pt x="833" y="38"/>
                    <a:pt x="833" y="38"/>
                    <a:pt x="833" y="38"/>
                  </a:cubicBezTo>
                  <a:cubicBezTo>
                    <a:pt x="833" y="38"/>
                    <a:pt x="833" y="38"/>
                    <a:pt x="833" y="39"/>
                  </a:cubicBezTo>
                  <a:cubicBezTo>
                    <a:pt x="833" y="39"/>
                    <a:pt x="833" y="39"/>
                    <a:pt x="833" y="39"/>
                  </a:cubicBezTo>
                  <a:cubicBezTo>
                    <a:pt x="833" y="39"/>
                    <a:pt x="833" y="39"/>
                    <a:pt x="833" y="39"/>
                  </a:cubicBezTo>
                  <a:cubicBezTo>
                    <a:pt x="833" y="39"/>
                    <a:pt x="833" y="39"/>
                    <a:pt x="833" y="39"/>
                  </a:cubicBezTo>
                  <a:cubicBezTo>
                    <a:pt x="832" y="39"/>
                    <a:pt x="832" y="39"/>
                    <a:pt x="832" y="39"/>
                  </a:cubicBezTo>
                  <a:cubicBezTo>
                    <a:pt x="832" y="39"/>
                    <a:pt x="832" y="39"/>
                    <a:pt x="832" y="39"/>
                  </a:cubicBezTo>
                  <a:cubicBezTo>
                    <a:pt x="832" y="39"/>
                    <a:pt x="832" y="39"/>
                    <a:pt x="832" y="40"/>
                  </a:cubicBezTo>
                  <a:cubicBezTo>
                    <a:pt x="832" y="40"/>
                    <a:pt x="832" y="40"/>
                    <a:pt x="832" y="40"/>
                  </a:cubicBezTo>
                  <a:cubicBezTo>
                    <a:pt x="832" y="40"/>
                    <a:pt x="832" y="40"/>
                    <a:pt x="832" y="40"/>
                  </a:cubicBezTo>
                  <a:cubicBezTo>
                    <a:pt x="832" y="40"/>
                    <a:pt x="832" y="40"/>
                    <a:pt x="832" y="40"/>
                  </a:cubicBezTo>
                  <a:cubicBezTo>
                    <a:pt x="831" y="40"/>
                    <a:pt x="831" y="40"/>
                    <a:pt x="831" y="40"/>
                  </a:cubicBezTo>
                  <a:cubicBezTo>
                    <a:pt x="831" y="40"/>
                    <a:pt x="831" y="40"/>
                    <a:pt x="831" y="40"/>
                  </a:cubicBezTo>
                  <a:cubicBezTo>
                    <a:pt x="831" y="41"/>
                    <a:pt x="831" y="41"/>
                    <a:pt x="831" y="41"/>
                  </a:cubicBezTo>
                  <a:cubicBezTo>
                    <a:pt x="831" y="41"/>
                    <a:pt x="831" y="41"/>
                    <a:pt x="831" y="41"/>
                  </a:cubicBezTo>
                  <a:cubicBezTo>
                    <a:pt x="830" y="41"/>
                    <a:pt x="830" y="42"/>
                    <a:pt x="830" y="42"/>
                  </a:cubicBezTo>
                  <a:cubicBezTo>
                    <a:pt x="830" y="42"/>
                    <a:pt x="830" y="42"/>
                    <a:pt x="830" y="42"/>
                  </a:cubicBezTo>
                  <a:cubicBezTo>
                    <a:pt x="830" y="42"/>
                    <a:pt x="830" y="42"/>
                    <a:pt x="830" y="42"/>
                  </a:cubicBezTo>
                  <a:cubicBezTo>
                    <a:pt x="830" y="42"/>
                    <a:pt x="830" y="42"/>
                    <a:pt x="830" y="42"/>
                  </a:cubicBezTo>
                  <a:cubicBezTo>
                    <a:pt x="830" y="42"/>
                    <a:pt x="830" y="43"/>
                    <a:pt x="829" y="43"/>
                  </a:cubicBezTo>
                  <a:cubicBezTo>
                    <a:pt x="829" y="43"/>
                    <a:pt x="829" y="43"/>
                    <a:pt x="829" y="43"/>
                  </a:cubicBezTo>
                  <a:cubicBezTo>
                    <a:pt x="829" y="43"/>
                    <a:pt x="829" y="43"/>
                    <a:pt x="829" y="43"/>
                  </a:cubicBezTo>
                  <a:cubicBezTo>
                    <a:pt x="829" y="43"/>
                    <a:pt x="829" y="43"/>
                    <a:pt x="829" y="43"/>
                  </a:cubicBezTo>
                  <a:cubicBezTo>
                    <a:pt x="829" y="43"/>
                    <a:pt x="829" y="44"/>
                    <a:pt x="829" y="44"/>
                  </a:cubicBezTo>
                  <a:cubicBezTo>
                    <a:pt x="829" y="44"/>
                    <a:pt x="829" y="44"/>
                    <a:pt x="829" y="44"/>
                  </a:cubicBezTo>
                  <a:cubicBezTo>
                    <a:pt x="829" y="44"/>
                    <a:pt x="829" y="44"/>
                    <a:pt x="828" y="44"/>
                  </a:cubicBezTo>
                  <a:cubicBezTo>
                    <a:pt x="828" y="44"/>
                    <a:pt x="828" y="44"/>
                    <a:pt x="828" y="44"/>
                  </a:cubicBezTo>
                  <a:cubicBezTo>
                    <a:pt x="828" y="44"/>
                    <a:pt x="828" y="43"/>
                    <a:pt x="828" y="43"/>
                  </a:cubicBezTo>
                  <a:cubicBezTo>
                    <a:pt x="828" y="40"/>
                    <a:pt x="828" y="38"/>
                    <a:pt x="828" y="36"/>
                  </a:cubicBezTo>
                  <a:cubicBezTo>
                    <a:pt x="828" y="34"/>
                    <a:pt x="827" y="34"/>
                    <a:pt x="826" y="34"/>
                  </a:cubicBezTo>
                  <a:cubicBezTo>
                    <a:pt x="824" y="34"/>
                    <a:pt x="821" y="34"/>
                    <a:pt x="819" y="34"/>
                  </a:cubicBezTo>
                  <a:cubicBezTo>
                    <a:pt x="817" y="34"/>
                    <a:pt x="817" y="34"/>
                    <a:pt x="817" y="36"/>
                  </a:cubicBezTo>
                  <a:cubicBezTo>
                    <a:pt x="817" y="50"/>
                    <a:pt x="817" y="63"/>
                    <a:pt x="817" y="77"/>
                  </a:cubicBezTo>
                  <a:cubicBezTo>
                    <a:pt x="817" y="85"/>
                    <a:pt x="817" y="92"/>
                    <a:pt x="817" y="100"/>
                  </a:cubicBezTo>
                  <a:cubicBezTo>
                    <a:pt x="817" y="101"/>
                    <a:pt x="817" y="102"/>
                    <a:pt x="819" y="102"/>
                  </a:cubicBezTo>
                  <a:cubicBezTo>
                    <a:pt x="821" y="102"/>
                    <a:pt x="824" y="102"/>
                    <a:pt x="826" y="102"/>
                  </a:cubicBezTo>
                  <a:cubicBezTo>
                    <a:pt x="828" y="102"/>
                    <a:pt x="828" y="102"/>
                    <a:pt x="828" y="100"/>
                  </a:cubicBezTo>
                  <a:cubicBezTo>
                    <a:pt x="828" y="88"/>
                    <a:pt x="828" y="76"/>
                    <a:pt x="828" y="65"/>
                  </a:cubicBezTo>
                  <a:cubicBezTo>
                    <a:pt x="828" y="64"/>
                    <a:pt x="828" y="63"/>
                    <a:pt x="828" y="63"/>
                  </a:cubicBezTo>
                  <a:cubicBezTo>
                    <a:pt x="828" y="62"/>
                    <a:pt x="828" y="61"/>
                    <a:pt x="828" y="61"/>
                  </a:cubicBezTo>
                  <a:cubicBezTo>
                    <a:pt x="828" y="60"/>
                    <a:pt x="828" y="59"/>
                    <a:pt x="828" y="58"/>
                  </a:cubicBezTo>
                  <a:cubicBezTo>
                    <a:pt x="828" y="58"/>
                    <a:pt x="828" y="58"/>
                    <a:pt x="828" y="58"/>
                  </a:cubicBezTo>
                  <a:cubicBezTo>
                    <a:pt x="828" y="58"/>
                    <a:pt x="828" y="58"/>
                    <a:pt x="828" y="58"/>
                  </a:cubicBezTo>
                  <a:cubicBezTo>
                    <a:pt x="829" y="58"/>
                    <a:pt x="828" y="57"/>
                    <a:pt x="829" y="56"/>
                  </a:cubicBezTo>
                  <a:cubicBezTo>
                    <a:pt x="829" y="56"/>
                    <a:pt x="829" y="56"/>
                    <a:pt x="829" y="56"/>
                  </a:cubicBezTo>
                  <a:cubicBezTo>
                    <a:pt x="829" y="56"/>
                    <a:pt x="829" y="56"/>
                    <a:pt x="829" y="56"/>
                  </a:cubicBezTo>
                  <a:cubicBezTo>
                    <a:pt x="829" y="56"/>
                    <a:pt x="829" y="55"/>
                    <a:pt x="829" y="55"/>
                  </a:cubicBezTo>
                  <a:cubicBezTo>
                    <a:pt x="829" y="55"/>
                    <a:pt x="829" y="55"/>
                    <a:pt x="829" y="55"/>
                  </a:cubicBezTo>
                  <a:cubicBezTo>
                    <a:pt x="829" y="55"/>
                    <a:pt x="829" y="55"/>
                    <a:pt x="829" y="55"/>
                  </a:cubicBezTo>
                  <a:cubicBezTo>
                    <a:pt x="829" y="55"/>
                    <a:pt x="829" y="54"/>
                    <a:pt x="829" y="54"/>
                  </a:cubicBezTo>
                  <a:cubicBezTo>
                    <a:pt x="829" y="54"/>
                    <a:pt x="829" y="54"/>
                    <a:pt x="829" y="54"/>
                  </a:cubicBezTo>
                  <a:cubicBezTo>
                    <a:pt x="830" y="54"/>
                    <a:pt x="829" y="53"/>
                    <a:pt x="830" y="53"/>
                  </a:cubicBezTo>
                  <a:cubicBezTo>
                    <a:pt x="830" y="53"/>
                    <a:pt x="830" y="53"/>
                    <a:pt x="830" y="53"/>
                  </a:cubicBezTo>
                  <a:cubicBezTo>
                    <a:pt x="830" y="53"/>
                    <a:pt x="830" y="52"/>
                    <a:pt x="830" y="52"/>
                  </a:cubicBezTo>
                  <a:cubicBezTo>
                    <a:pt x="830" y="52"/>
                    <a:pt x="830" y="52"/>
                    <a:pt x="830" y="52"/>
                  </a:cubicBezTo>
                  <a:cubicBezTo>
                    <a:pt x="830" y="52"/>
                    <a:pt x="830" y="52"/>
                    <a:pt x="830" y="51"/>
                  </a:cubicBezTo>
                  <a:cubicBezTo>
                    <a:pt x="830" y="51"/>
                    <a:pt x="830" y="51"/>
                    <a:pt x="830" y="51"/>
                  </a:cubicBezTo>
                  <a:cubicBezTo>
                    <a:pt x="831" y="51"/>
                    <a:pt x="831" y="51"/>
                    <a:pt x="831" y="51"/>
                  </a:cubicBezTo>
                  <a:cubicBezTo>
                    <a:pt x="831" y="51"/>
                    <a:pt x="831" y="51"/>
                    <a:pt x="831" y="51"/>
                  </a:cubicBezTo>
                  <a:cubicBezTo>
                    <a:pt x="831" y="51"/>
                    <a:pt x="831" y="50"/>
                    <a:pt x="831" y="50"/>
                  </a:cubicBezTo>
                  <a:cubicBezTo>
                    <a:pt x="831" y="50"/>
                    <a:pt x="831" y="50"/>
                    <a:pt x="831" y="50"/>
                  </a:cubicBezTo>
                  <a:cubicBezTo>
                    <a:pt x="831" y="50"/>
                    <a:pt x="831" y="49"/>
                    <a:pt x="832" y="49"/>
                  </a:cubicBezTo>
                  <a:cubicBezTo>
                    <a:pt x="832" y="49"/>
                    <a:pt x="832" y="49"/>
                    <a:pt x="832" y="49"/>
                  </a:cubicBezTo>
                  <a:cubicBezTo>
                    <a:pt x="832" y="49"/>
                    <a:pt x="832" y="49"/>
                    <a:pt x="832" y="49"/>
                  </a:cubicBezTo>
                  <a:cubicBezTo>
                    <a:pt x="832" y="49"/>
                    <a:pt x="832" y="49"/>
                    <a:pt x="832" y="49"/>
                  </a:cubicBezTo>
                  <a:cubicBezTo>
                    <a:pt x="832" y="49"/>
                    <a:pt x="832" y="48"/>
                    <a:pt x="832" y="48"/>
                  </a:cubicBezTo>
                  <a:cubicBezTo>
                    <a:pt x="832" y="48"/>
                    <a:pt x="832" y="48"/>
                    <a:pt x="832" y="48"/>
                  </a:cubicBezTo>
                  <a:cubicBezTo>
                    <a:pt x="832" y="48"/>
                    <a:pt x="833" y="48"/>
                    <a:pt x="833" y="48"/>
                  </a:cubicBezTo>
                  <a:cubicBezTo>
                    <a:pt x="833" y="48"/>
                    <a:pt x="833" y="48"/>
                    <a:pt x="833" y="48"/>
                  </a:cubicBezTo>
                  <a:cubicBezTo>
                    <a:pt x="833" y="48"/>
                    <a:pt x="833" y="48"/>
                    <a:pt x="833" y="47"/>
                  </a:cubicBezTo>
                  <a:cubicBezTo>
                    <a:pt x="833" y="48"/>
                    <a:pt x="833" y="48"/>
                    <a:pt x="833" y="48"/>
                  </a:cubicBezTo>
                  <a:cubicBezTo>
                    <a:pt x="833" y="47"/>
                    <a:pt x="833" y="47"/>
                    <a:pt x="833" y="47"/>
                  </a:cubicBezTo>
                  <a:cubicBezTo>
                    <a:pt x="833" y="47"/>
                    <a:pt x="833" y="47"/>
                    <a:pt x="833" y="47"/>
                  </a:cubicBezTo>
                  <a:cubicBezTo>
                    <a:pt x="834" y="47"/>
                    <a:pt x="834" y="46"/>
                    <a:pt x="835" y="45"/>
                  </a:cubicBezTo>
                  <a:cubicBezTo>
                    <a:pt x="835" y="45"/>
                    <a:pt x="835" y="45"/>
                    <a:pt x="835" y="45"/>
                  </a:cubicBezTo>
                  <a:cubicBezTo>
                    <a:pt x="835" y="45"/>
                    <a:pt x="835" y="45"/>
                    <a:pt x="835" y="45"/>
                  </a:cubicBezTo>
                  <a:cubicBezTo>
                    <a:pt x="835" y="45"/>
                    <a:pt x="835" y="45"/>
                    <a:pt x="835" y="45"/>
                  </a:cubicBezTo>
                  <a:cubicBezTo>
                    <a:pt x="836" y="45"/>
                    <a:pt x="836" y="45"/>
                    <a:pt x="836" y="45"/>
                  </a:cubicBezTo>
                  <a:cubicBezTo>
                    <a:pt x="836" y="45"/>
                    <a:pt x="836" y="45"/>
                    <a:pt x="836" y="45"/>
                  </a:cubicBezTo>
                  <a:cubicBezTo>
                    <a:pt x="836" y="45"/>
                    <a:pt x="836" y="45"/>
                    <a:pt x="836" y="44"/>
                  </a:cubicBezTo>
                  <a:cubicBezTo>
                    <a:pt x="836" y="44"/>
                    <a:pt x="836" y="44"/>
                    <a:pt x="836" y="44"/>
                  </a:cubicBezTo>
                  <a:cubicBezTo>
                    <a:pt x="836" y="44"/>
                    <a:pt x="837" y="44"/>
                    <a:pt x="837" y="44"/>
                  </a:cubicBezTo>
                  <a:cubicBezTo>
                    <a:pt x="837" y="44"/>
                    <a:pt x="837" y="44"/>
                    <a:pt x="837" y="44"/>
                  </a:cubicBezTo>
                  <a:cubicBezTo>
                    <a:pt x="837" y="44"/>
                    <a:pt x="837" y="44"/>
                    <a:pt x="837" y="44"/>
                  </a:cubicBezTo>
                  <a:cubicBezTo>
                    <a:pt x="837" y="44"/>
                    <a:pt x="837" y="44"/>
                    <a:pt x="837" y="44"/>
                  </a:cubicBezTo>
                  <a:cubicBezTo>
                    <a:pt x="838" y="44"/>
                    <a:pt x="838" y="44"/>
                    <a:pt x="838" y="43"/>
                  </a:cubicBezTo>
                  <a:cubicBezTo>
                    <a:pt x="838" y="43"/>
                    <a:pt x="838" y="43"/>
                    <a:pt x="838" y="43"/>
                  </a:cubicBezTo>
                  <a:cubicBezTo>
                    <a:pt x="838" y="43"/>
                    <a:pt x="838" y="43"/>
                    <a:pt x="838" y="43"/>
                  </a:cubicBezTo>
                  <a:cubicBezTo>
                    <a:pt x="838" y="43"/>
                    <a:pt x="839" y="43"/>
                    <a:pt x="839" y="43"/>
                  </a:cubicBezTo>
                  <a:cubicBezTo>
                    <a:pt x="839" y="43"/>
                    <a:pt x="839" y="43"/>
                    <a:pt x="839" y="43"/>
                  </a:cubicBezTo>
                  <a:cubicBezTo>
                    <a:pt x="839" y="43"/>
                    <a:pt x="839" y="43"/>
                    <a:pt x="840" y="43"/>
                  </a:cubicBezTo>
                  <a:cubicBezTo>
                    <a:pt x="840" y="43"/>
                    <a:pt x="840" y="43"/>
                    <a:pt x="840" y="43"/>
                  </a:cubicBezTo>
                  <a:cubicBezTo>
                    <a:pt x="840" y="43"/>
                    <a:pt x="840" y="43"/>
                    <a:pt x="840" y="43"/>
                  </a:cubicBezTo>
                  <a:cubicBezTo>
                    <a:pt x="840" y="42"/>
                    <a:pt x="841" y="43"/>
                    <a:pt x="841" y="42"/>
                  </a:cubicBezTo>
                  <a:close/>
                  <a:moveTo>
                    <a:pt x="1667" y="58"/>
                  </a:moveTo>
                  <a:cubicBezTo>
                    <a:pt x="1667" y="58"/>
                    <a:pt x="1667" y="58"/>
                    <a:pt x="1667" y="58"/>
                  </a:cubicBezTo>
                  <a:cubicBezTo>
                    <a:pt x="1667" y="58"/>
                    <a:pt x="1667" y="58"/>
                    <a:pt x="1667" y="58"/>
                  </a:cubicBezTo>
                  <a:cubicBezTo>
                    <a:pt x="1667" y="57"/>
                    <a:pt x="1667" y="58"/>
                    <a:pt x="1668" y="57"/>
                  </a:cubicBezTo>
                  <a:cubicBezTo>
                    <a:pt x="1668" y="57"/>
                    <a:pt x="1668" y="57"/>
                    <a:pt x="1668" y="57"/>
                  </a:cubicBezTo>
                  <a:cubicBezTo>
                    <a:pt x="1668" y="57"/>
                    <a:pt x="1668" y="57"/>
                    <a:pt x="1669" y="57"/>
                  </a:cubicBezTo>
                  <a:cubicBezTo>
                    <a:pt x="1669" y="57"/>
                    <a:pt x="1669" y="57"/>
                    <a:pt x="1669" y="57"/>
                  </a:cubicBezTo>
                  <a:cubicBezTo>
                    <a:pt x="1669" y="57"/>
                    <a:pt x="1669" y="57"/>
                    <a:pt x="1669" y="57"/>
                  </a:cubicBezTo>
                  <a:cubicBezTo>
                    <a:pt x="1669" y="57"/>
                    <a:pt x="1669" y="57"/>
                    <a:pt x="1669" y="57"/>
                  </a:cubicBezTo>
                  <a:cubicBezTo>
                    <a:pt x="1670" y="56"/>
                    <a:pt x="1670" y="56"/>
                    <a:pt x="1670" y="56"/>
                  </a:cubicBezTo>
                  <a:cubicBezTo>
                    <a:pt x="1670" y="56"/>
                    <a:pt x="1670" y="56"/>
                    <a:pt x="1670" y="56"/>
                  </a:cubicBezTo>
                  <a:cubicBezTo>
                    <a:pt x="1670" y="56"/>
                    <a:pt x="1671" y="56"/>
                    <a:pt x="1671" y="56"/>
                  </a:cubicBezTo>
                  <a:cubicBezTo>
                    <a:pt x="1671" y="56"/>
                    <a:pt x="1671" y="56"/>
                    <a:pt x="1671" y="56"/>
                  </a:cubicBezTo>
                  <a:cubicBezTo>
                    <a:pt x="1671" y="56"/>
                    <a:pt x="1671" y="56"/>
                    <a:pt x="1671" y="55"/>
                  </a:cubicBezTo>
                  <a:cubicBezTo>
                    <a:pt x="1671" y="56"/>
                    <a:pt x="1671" y="56"/>
                    <a:pt x="1671" y="56"/>
                  </a:cubicBezTo>
                  <a:cubicBezTo>
                    <a:pt x="1672" y="55"/>
                    <a:pt x="1672" y="55"/>
                    <a:pt x="1672" y="55"/>
                  </a:cubicBezTo>
                  <a:cubicBezTo>
                    <a:pt x="1672" y="55"/>
                    <a:pt x="1672" y="55"/>
                    <a:pt x="1672" y="55"/>
                  </a:cubicBezTo>
                  <a:cubicBezTo>
                    <a:pt x="1672" y="55"/>
                    <a:pt x="1672" y="55"/>
                    <a:pt x="1672" y="55"/>
                  </a:cubicBezTo>
                  <a:cubicBezTo>
                    <a:pt x="1672" y="55"/>
                    <a:pt x="1672" y="55"/>
                    <a:pt x="1673" y="55"/>
                  </a:cubicBezTo>
                  <a:cubicBezTo>
                    <a:pt x="1673" y="55"/>
                    <a:pt x="1673" y="55"/>
                    <a:pt x="1673" y="55"/>
                  </a:cubicBezTo>
                  <a:cubicBezTo>
                    <a:pt x="1673" y="55"/>
                    <a:pt x="1673" y="55"/>
                    <a:pt x="1673" y="54"/>
                  </a:cubicBezTo>
                  <a:cubicBezTo>
                    <a:pt x="1673" y="54"/>
                    <a:pt x="1673" y="54"/>
                    <a:pt x="1673" y="54"/>
                  </a:cubicBezTo>
                  <a:cubicBezTo>
                    <a:pt x="1673" y="54"/>
                    <a:pt x="1673" y="54"/>
                    <a:pt x="1674" y="54"/>
                  </a:cubicBezTo>
                  <a:cubicBezTo>
                    <a:pt x="1674" y="54"/>
                    <a:pt x="1674" y="54"/>
                    <a:pt x="1674" y="54"/>
                  </a:cubicBezTo>
                  <a:cubicBezTo>
                    <a:pt x="1674" y="54"/>
                    <a:pt x="1674" y="54"/>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6" y="53"/>
                    <a:pt x="1676" y="52"/>
                  </a:cubicBezTo>
                  <a:cubicBezTo>
                    <a:pt x="1676" y="52"/>
                    <a:pt x="1676" y="52"/>
                    <a:pt x="1676" y="52"/>
                  </a:cubicBezTo>
                  <a:cubicBezTo>
                    <a:pt x="1677" y="52"/>
                    <a:pt x="1677" y="51"/>
                    <a:pt x="1678" y="50"/>
                  </a:cubicBezTo>
                  <a:cubicBezTo>
                    <a:pt x="1678" y="50"/>
                    <a:pt x="1678" y="50"/>
                    <a:pt x="1678" y="50"/>
                  </a:cubicBezTo>
                  <a:cubicBezTo>
                    <a:pt x="1678" y="50"/>
                    <a:pt x="1678" y="50"/>
                    <a:pt x="1678" y="50"/>
                  </a:cubicBezTo>
                  <a:cubicBezTo>
                    <a:pt x="1678" y="50"/>
                    <a:pt x="1678" y="50"/>
                    <a:pt x="1678" y="50"/>
                  </a:cubicBezTo>
                  <a:cubicBezTo>
                    <a:pt x="1679" y="50"/>
                    <a:pt x="1679" y="49"/>
                    <a:pt x="1679" y="49"/>
                  </a:cubicBezTo>
                  <a:cubicBezTo>
                    <a:pt x="1679" y="49"/>
                    <a:pt x="1679" y="49"/>
                    <a:pt x="1679" y="49"/>
                  </a:cubicBezTo>
                  <a:cubicBezTo>
                    <a:pt x="1679" y="49"/>
                    <a:pt x="1679" y="49"/>
                    <a:pt x="1679" y="49"/>
                  </a:cubicBezTo>
                  <a:cubicBezTo>
                    <a:pt x="1679" y="49"/>
                    <a:pt x="1679" y="49"/>
                    <a:pt x="1679" y="49"/>
                  </a:cubicBezTo>
                  <a:cubicBezTo>
                    <a:pt x="1679" y="49"/>
                    <a:pt x="1679" y="48"/>
                    <a:pt x="1680" y="48"/>
                  </a:cubicBezTo>
                  <a:cubicBezTo>
                    <a:pt x="1680" y="48"/>
                    <a:pt x="1680" y="48"/>
                    <a:pt x="1680" y="48"/>
                  </a:cubicBezTo>
                  <a:cubicBezTo>
                    <a:pt x="1680" y="48"/>
                    <a:pt x="1680" y="48"/>
                    <a:pt x="1680" y="48"/>
                  </a:cubicBezTo>
                  <a:cubicBezTo>
                    <a:pt x="1680" y="48"/>
                    <a:pt x="1680" y="48"/>
                    <a:pt x="1680" y="48"/>
                  </a:cubicBezTo>
                  <a:cubicBezTo>
                    <a:pt x="1680" y="48"/>
                    <a:pt x="1680" y="47"/>
                    <a:pt x="1680" y="47"/>
                  </a:cubicBezTo>
                  <a:cubicBezTo>
                    <a:pt x="1680" y="47"/>
                    <a:pt x="1680" y="47"/>
                    <a:pt x="1680" y="47"/>
                  </a:cubicBezTo>
                  <a:cubicBezTo>
                    <a:pt x="1680" y="47"/>
                    <a:pt x="1680" y="47"/>
                    <a:pt x="1681" y="47"/>
                  </a:cubicBezTo>
                  <a:cubicBezTo>
                    <a:pt x="1680" y="47"/>
                    <a:pt x="1680" y="47"/>
                    <a:pt x="1680" y="47"/>
                  </a:cubicBezTo>
                  <a:cubicBezTo>
                    <a:pt x="1681" y="47"/>
                    <a:pt x="1681" y="46"/>
                    <a:pt x="1681" y="46"/>
                  </a:cubicBezTo>
                  <a:cubicBezTo>
                    <a:pt x="1681" y="46"/>
                    <a:pt x="1681" y="46"/>
                    <a:pt x="1681" y="46"/>
                  </a:cubicBezTo>
                  <a:cubicBezTo>
                    <a:pt x="1681" y="46"/>
                    <a:pt x="1681" y="46"/>
                    <a:pt x="1681" y="45"/>
                  </a:cubicBezTo>
                  <a:cubicBezTo>
                    <a:pt x="1681" y="45"/>
                    <a:pt x="1681" y="45"/>
                    <a:pt x="1681" y="45"/>
                  </a:cubicBezTo>
                  <a:cubicBezTo>
                    <a:pt x="1681" y="45"/>
                    <a:pt x="1681" y="45"/>
                    <a:pt x="1682" y="45"/>
                  </a:cubicBezTo>
                  <a:cubicBezTo>
                    <a:pt x="1682" y="45"/>
                    <a:pt x="1682" y="45"/>
                    <a:pt x="1682" y="45"/>
                  </a:cubicBezTo>
                  <a:cubicBezTo>
                    <a:pt x="1682" y="45"/>
                    <a:pt x="1682" y="44"/>
                    <a:pt x="1682" y="44"/>
                  </a:cubicBezTo>
                  <a:cubicBezTo>
                    <a:pt x="1682" y="44"/>
                    <a:pt x="1682" y="44"/>
                    <a:pt x="1682" y="44"/>
                  </a:cubicBezTo>
                  <a:cubicBezTo>
                    <a:pt x="1682" y="44"/>
                    <a:pt x="1682" y="44"/>
                    <a:pt x="1682" y="43"/>
                  </a:cubicBezTo>
                  <a:cubicBezTo>
                    <a:pt x="1682" y="43"/>
                    <a:pt x="1682" y="43"/>
                    <a:pt x="1682" y="43"/>
                  </a:cubicBezTo>
                  <a:cubicBezTo>
                    <a:pt x="1683" y="43"/>
                    <a:pt x="1682" y="43"/>
                    <a:pt x="1683" y="43"/>
                  </a:cubicBezTo>
                  <a:cubicBezTo>
                    <a:pt x="1683" y="42"/>
                    <a:pt x="1683" y="42"/>
                    <a:pt x="1683" y="42"/>
                  </a:cubicBezTo>
                  <a:cubicBezTo>
                    <a:pt x="1683" y="42"/>
                    <a:pt x="1683" y="42"/>
                    <a:pt x="1683" y="42"/>
                  </a:cubicBezTo>
                  <a:cubicBezTo>
                    <a:pt x="1683" y="41"/>
                    <a:pt x="1683" y="41"/>
                    <a:pt x="1683" y="41"/>
                  </a:cubicBezTo>
                  <a:cubicBezTo>
                    <a:pt x="1683" y="41"/>
                    <a:pt x="1683" y="41"/>
                    <a:pt x="1683" y="40"/>
                  </a:cubicBezTo>
                  <a:cubicBezTo>
                    <a:pt x="1683" y="40"/>
                    <a:pt x="1683" y="40"/>
                    <a:pt x="1683" y="40"/>
                  </a:cubicBezTo>
                  <a:cubicBezTo>
                    <a:pt x="1683" y="40"/>
                    <a:pt x="1683" y="40"/>
                    <a:pt x="1683" y="40"/>
                  </a:cubicBezTo>
                  <a:cubicBezTo>
                    <a:pt x="1684" y="40"/>
                    <a:pt x="1683" y="39"/>
                    <a:pt x="1684" y="39"/>
                  </a:cubicBezTo>
                  <a:cubicBezTo>
                    <a:pt x="1684" y="39"/>
                    <a:pt x="1684" y="39"/>
                    <a:pt x="1684" y="39"/>
                  </a:cubicBezTo>
                  <a:cubicBezTo>
                    <a:pt x="1684" y="39"/>
                    <a:pt x="1684" y="39"/>
                    <a:pt x="1684" y="39"/>
                  </a:cubicBezTo>
                  <a:cubicBezTo>
                    <a:pt x="1684" y="38"/>
                    <a:pt x="1684" y="38"/>
                    <a:pt x="1684" y="37"/>
                  </a:cubicBezTo>
                  <a:cubicBezTo>
                    <a:pt x="1684" y="37"/>
                    <a:pt x="1684" y="37"/>
                    <a:pt x="1684" y="37"/>
                  </a:cubicBezTo>
                  <a:cubicBezTo>
                    <a:pt x="1684" y="34"/>
                    <a:pt x="1684" y="31"/>
                    <a:pt x="1684" y="28"/>
                  </a:cubicBezTo>
                  <a:cubicBezTo>
                    <a:pt x="1684" y="28"/>
                    <a:pt x="1684" y="28"/>
                    <a:pt x="1684" y="28"/>
                  </a:cubicBezTo>
                  <a:cubicBezTo>
                    <a:pt x="1684" y="27"/>
                    <a:pt x="1684" y="27"/>
                    <a:pt x="1684" y="26"/>
                  </a:cubicBezTo>
                  <a:cubicBezTo>
                    <a:pt x="1684" y="26"/>
                    <a:pt x="1684" y="26"/>
                    <a:pt x="1684" y="26"/>
                  </a:cubicBezTo>
                  <a:cubicBezTo>
                    <a:pt x="1684" y="26"/>
                    <a:pt x="1684" y="26"/>
                    <a:pt x="1684" y="26"/>
                  </a:cubicBezTo>
                  <a:cubicBezTo>
                    <a:pt x="1683" y="25"/>
                    <a:pt x="1684" y="25"/>
                    <a:pt x="1683" y="25"/>
                  </a:cubicBezTo>
                  <a:cubicBezTo>
                    <a:pt x="1683" y="25"/>
                    <a:pt x="1683" y="25"/>
                    <a:pt x="1683" y="25"/>
                  </a:cubicBezTo>
                  <a:cubicBezTo>
                    <a:pt x="1683" y="24"/>
                    <a:pt x="1683" y="24"/>
                    <a:pt x="1683" y="24"/>
                  </a:cubicBezTo>
                  <a:cubicBezTo>
                    <a:pt x="1683" y="23"/>
                    <a:pt x="1683" y="23"/>
                    <a:pt x="1683" y="23"/>
                  </a:cubicBezTo>
                  <a:cubicBezTo>
                    <a:pt x="1683" y="23"/>
                    <a:pt x="1683" y="23"/>
                    <a:pt x="1683" y="23"/>
                  </a:cubicBezTo>
                  <a:cubicBezTo>
                    <a:pt x="1683" y="23"/>
                    <a:pt x="1683" y="23"/>
                    <a:pt x="1683" y="23"/>
                  </a:cubicBezTo>
                  <a:cubicBezTo>
                    <a:pt x="1683" y="23"/>
                    <a:pt x="1683" y="23"/>
                    <a:pt x="1683" y="23"/>
                  </a:cubicBezTo>
                  <a:cubicBezTo>
                    <a:pt x="1682" y="22"/>
                    <a:pt x="1683" y="22"/>
                    <a:pt x="1682" y="22"/>
                  </a:cubicBezTo>
                  <a:cubicBezTo>
                    <a:pt x="1682" y="22"/>
                    <a:pt x="1682" y="22"/>
                    <a:pt x="1682" y="22"/>
                  </a:cubicBezTo>
                  <a:cubicBezTo>
                    <a:pt x="1682" y="22"/>
                    <a:pt x="1682" y="22"/>
                    <a:pt x="1682" y="22"/>
                  </a:cubicBezTo>
                  <a:cubicBezTo>
                    <a:pt x="1682" y="21"/>
                    <a:pt x="1682" y="21"/>
                    <a:pt x="1682" y="21"/>
                  </a:cubicBezTo>
                  <a:cubicBezTo>
                    <a:pt x="1682" y="21"/>
                    <a:pt x="1682" y="21"/>
                    <a:pt x="1682" y="21"/>
                  </a:cubicBezTo>
                  <a:cubicBezTo>
                    <a:pt x="1682" y="21"/>
                    <a:pt x="1682" y="20"/>
                    <a:pt x="1682" y="20"/>
                  </a:cubicBezTo>
                  <a:cubicBezTo>
                    <a:pt x="1682" y="20"/>
                    <a:pt x="1682" y="20"/>
                    <a:pt x="1682" y="20"/>
                  </a:cubicBezTo>
                  <a:cubicBezTo>
                    <a:pt x="1682" y="20"/>
                    <a:pt x="1681" y="20"/>
                    <a:pt x="1681" y="20"/>
                  </a:cubicBezTo>
                  <a:cubicBezTo>
                    <a:pt x="1681" y="20"/>
                    <a:pt x="1681" y="20"/>
                    <a:pt x="1681" y="20"/>
                  </a:cubicBezTo>
                  <a:cubicBezTo>
                    <a:pt x="1681" y="20"/>
                    <a:pt x="1681" y="19"/>
                    <a:pt x="1681" y="19"/>
                  </a:cubicBezTo>
                  <a:cubicBezTo>
                    <a:pt x="1681" y="19"/>
                    <a:pt x="1681" y="19"/>
                    <a:pt x="1681" y="19"/>
                  </a:cubicBezTo>
                  <a:cubicBezTo>
                    <a:pt x="1681" y="19"/>
                    <a:pt x="1681" y="18"/>
                    <a:pt x="1680" y="18"/>
                  </a:cubicBezTo>
                  <a:cubicBezTo>
                    <a:pt x="1681" y="18"/>
                    <a:pt x="1681" y="18"/>
                    <a:pt x="1681" y="18"/>
                  </a:cubicBezTo>
                  <a:cubicBezTo>
                    <a:pt x="1680" y="18"/>
                    <a:pt x="1680" y="18"/>
                    <a:pt x="1680" y="18"/>
                  </a:cubicBezTo>
                  <a:cubicBezTo>
                    <a:pt x="1680" y="18"/>
                    <a:pt x="1680" y="18"/>
                    <a:pt x="1680" y="18"/>
                  </a:cubicBezTo>
                  <a:cubicBezTo>
                    <a:pt x="1680" y="18"/>
                    <a:pt x="1680" y="17"/>
                    <a:pt x="1680" y="17"/>
                  </a:cubicBezTo>
                  <a:cubicBezTo>
                    <a:pt x="1680" y="17"/>
                    <a:pt x="1680" y="17"/>
                    <a:pt x="1680" y="17"/>
                  </a:cubicBezTo>
                  <a:cubicBezTo>
                    <a:pt x="1680" y="17"/>
                    <a:pt x="1680" y="17"/>
                    <a:pt x="1679" y="17"/>
                  </a:cubicBezTo>
                  <a:cubicBezTo>
                    <a:pt x="1679" y="17"/>
                    <a:pt x="1679" y="17"/>
                    <a:pt x="1679" y="17"/>
                  </a:cubicBezTo>
                  <a:cubicBezTo>
                    <a:pt x="1679" y="17"/>
                    <a:pt x="1679" y="17"/>
                    <a:pt x="1679" y="17"/>
                  </a:cubicBezTo>
                  <a:cubicBezTo>
                    <a:pt x="1679" y="17"/>
                    <a:pt x="1679" y="17"/>
                    <a:pt x="1679" y="17"/>
                  </a:cubicBezTo>
                  <a:cubicBezTo>
                    <a:pt x="1679" y="16"/>
                    <a:pt x="1679" y="16"/>
                    <a:pt x="1679" y="16"/>
                  </a:cubicBezTo>
                  <a:cubicBezTo>
                    <a:pt x="1679" y="16"/>
                    <a:pt x="1679" y="16"/>
                    <a:pt x="1679" y="16"/>
                  </a:cubicBezTo>
                  <a:cubicBezTo>
                    <a:pt x="1678" y="15"/>
                    <a:pt x="1677" y="14"/>
                    <a:pt x="1676" y="14"/>
                  </a:cubicBezTo>
                  <a:cubicBezTo>
                    <a:pt x="1676" y="14"/>
                    <a:pt x="1676" y="14"/>
                    <a:pt x="1676" y="14"/>
                  </a:cubicBezTo>
                  <a:cubicBezTo>
                    <a:pt x="1676" y="14"/>
                    <a:pt x="1676" y="14"/>
                    <a:pt x="1676" y="13"/>
                  </a:cubicBezTo>
                  <a:cubicBezTo>
                    <a:pt x="1676" y="13"/>
                    <a:pt x="1676" y="13"/>
                    <a:pt x="1676" y="13"/>
                  </a:cubicBezTo>
                  <a:cubicBezTo>
                    <a:pt x="1676" y="13"/>
                    <a:pt x="1676" y="13"/>
                    <a:pt x="1676" y="13"/>
                  </a:cubicBezTo>
                  <a:cubicBezTo>
                    <a:pt x="1676" y="13"/>
                    <a:pt x="1676" y="13"/>
                    <a:pt x="1676" y="13"/>
                  </a:cubicBezTo>
                  <a:cubicBezTo>
                    <a:pt x="1675" y="13"/>
                    <a:pt x="1675" y="13"/>
                    <a:pt x="1675" y="12"/>
                  </a:cubicBezTo>
                  <a:cubicBezTo>
                    <a:pt x="1675" y="12"/>
                    <a:pt x="1675" y="12"/>
                    <a:pt x="1675" y="12"/>
                  </a:cubicBezTo>
                  <a:cubicBezTo>
                    <a:pt x="1675" y="12"/>
                    <a:pt x="1674" y="12"/>
                    <a:pt x="1674" y="12"/>
                  </a:cubicBezTo>
                  <a:cubicBezTo>
                    <a:pt x="1674" y="12"/>
                    <a:pt x="1674" y="12"/>
                    <a:pt x="1674" y="12"/>
                  </a:cubicBezTo>
                  <a:cubicBezTo>
                    <a:pt x="1674" y="12"/>
                    <a:pt x="1674" y="12"/>
                    <a:pt x="1674" y="12"/>
                  </a:cubicBezTo>
                  <a:cubicBezTo>
                    <a:pt x="1674" y="12"/>
                    <a:pt x="1674" y="12"/>
                    <a:pt x="1674" y="12"/>
                  </a:cubicBezTo>
                  <a:cubicBezTo>
                    <a:pt x="1673" y="11"/>
                    <a:pt x="1673" y="12"/>
                    <a:pt x="1673" y="11"/>
                  </a:cubicBezTo>
                  <a:cubicBezTo>
                    <a:pt x="1673" y="11"/>
                    <a:pt x="1673" y="11"/>
                    <a:pt x="1673" y="11"/>
                  </a:cubicBezTo>
                  <a:cubicBezTo>
                    <a:pt x="1673" y="11"/>
                    <a:pt x="1673" y="11"/>
                    <a:pt x="1672" y="11"/>
                  </a:cubicBezTo>
                  <a:cubicBezTo>
                    <a:pt x="1673" y="11"/>
                    <a:pt x="1673" y="11"/>
                    <a:pt x="1673" y="11"/>
                  </a:cubicBezTo>
                  <a:cubicBezTo>
                    <a:pt x="1672" y="11"/>
                    <a:pt x="1672" y="11"/>
                    <a:pt x="1672" y="11"/>
                  </a:cubicBezTo>
                  <a:cubicBezTo>
                    <a:pt x="1672" y="11"/>
                    <a:pt x="1672" y="11"/>
                    <a:pt x="1672" y="11"/>
                  </a:cubicBezTo>
                  <a:cubicBezTo>
                    <a:pt x="1672" y="10"/>
                    <a:pt x="1671" y="10"/>
                    <a:pt x="1671" y="10"/>
                  </a:cubicBezTo>
                  <a:cubicBezTo>
                    <a:pt x="1671" y="10"/>
                    <a:pt x="1671" y="10"/>
                    <a:pt x="1671" y="10"/>
                  </a:cubicBezTo>
                  <a:cubicBezTo>
                    <a:pt x="1671" y="10"/>
                    <a:pt x="1671" y="10"/>
                    <a:pt x="1670" y="10"/>
                  </a:cubicBezTo>
                  <a:cubicBezTo>
                    <a:pt x="1670" y="10"/>
                    <a:pt x="1670" y="10"/>
                    <a:pt x="1670" y="10"/>
                  </a:cubicBezTo>
                  <a:cubicBezTo>
                    <a:pt x="1670" y="10"/>
                    <a:pt x="1670" y="10"/>
                    <a:pt x="1670" y="10"/>
                  </a:cubicBezTo>
                  <a:cubicBezTo>
                    <a:pt x="1670" y="10"/>
                    <a:pt x="1670" y="10"/>
                    <a:pt x="1669" y="10"/>
                  </a:cubicBezTo>
                  <a:cubicBezTo>
                    <a:pt x="1669" y="10"/>
                    <a:pt x="1669" y="10"/>
                    <a:pt x="1669" y="10"/>
                  </a:cubicBezTo>
                  <a:cubicBezTo>
                    <a:pt x="1669" y="9"/>
                    <a:pt x="1669" y="9"/>
                    <a:pt x="1669" y="9"/>
                  </a:cubicBezTo>
                  <a:cubicBezTo>
                    <a:pt x="1668" y="9"/>
                    <a:pt x="1668" y="9"/>
                    <a:pt x="1668" y="9"/>
                  </a:cubicBezTo>
                  <a:cubicBezTo>
                    <a:pt x="1668" y="9"/>
                    <a:pt x="1668" y="9"/>
                    <a:pt x="1668" y="9"/>
                  </a:cubicBezTo>
                  <a:cubicBezTo>
                    <a:pt x="1668" y="9"/>
                    <a:pt x="1668" y="9"/>
                    <a:pt x="1668" y="9"/>
                  </a:cubicBezTo>
                  <a:cubicBezTo>
                    <a:pt x="1667" y="9"/>
                    <a:pt x="1667" y="9"/>
                    <a:pt x="1667" y="9"/>
                  </a:cubicBezTo>
                  <a:cubicBezTo>
                    <a:pt x="1667" y="9"/>
                    <a:pt x="1667" y="9"/>
                    <a:pt x="1667" y="9"/>
                  </a:cubicBezTo>
                  <a:cubicBezTo>
                    <a:pt x="1667" y="9"/>
                    <a:pt x="1667" y="9"/>
                    <a:pt x="1666" y="9"/>
                  </a:cubicBezTo>
                  <a:cubicBezTo>
                    <a:pt x="1666" y="9"/>
                    <a:pt x="1666" y="9"/>
                    <a:pt x="1666" y="9"/>
                  </a:cubicBezTo>
                  <a:cubicBezTo>
                    <a:pt x="1666" y="8"/>
                    <a:pt x="1665" y="9"/>
                    <a:pt x="1665" y="8"/>
                  </a:cubicBezTo>
                  <a:cubicBezTo>
                    <a:pt x="1665" y="8"/>
                    <a:pt x="1665" y="8"/>
                    <a:pt x="1665" y="8"/>
                  </a:cubicBezTo>
                  <a:cubicBezTo>
                    <a:pt x="1664" y="8"/>
                    <a:pt x="1664" y="8"/>
                    <a:pt x="1663" y="8"/>
                  </a:cubicBezTo>
                  <a:cubicBezTo>
                    <a:pt x="1663" y="8"/>
                    <a:pt x="1663" y="8"/>
                    <a:pt x="1663" y="8"/>
                  </a:cubicBezTo>
                  <a:cubicBezTo>
                    <a:pt x="1662" y="7"/>
                    <a:pt x="1661" y="8"/>
                    <a:pt x="1661" y="8"/>
                  </a:cubicBezTo>
                  <a:cubicBezTo>
                    <a:pt x="1660" y="8"/>
                    <a:pt x="1660" y="8"/>
                    <a:pt x="1660" y="8"/>
                  </a:cubicBezTo>
                  <a:cubicBezTo>
                    <a:pt x="1659" y="7"/>
                    <a:pt x="1659" y="7"/>
                    <a:pt x="1658" y="7"/>
                  </a:cubicBezTo>
                  <a:cubicBezTo>
                    <a:pt x="1649" y="7"/>
                    <a:pt x="1639" y="7"/>
                    <a:pt x="1629" y="7"/>
                  </a:cubicBezTo>
                  <a:cubicBezTo>
                    <a:pt x="1627" y="7"/>
                    <a:pt x="1627" y="7"/>
                    <a:pt x="1627" y="9"/>
                  </a:cubicBezTo>
                  <a:cubicBezTo>
                    <a:pt x="1627" y="27"/>
                    <a:pt x="1627" y="45"/>
                    <a:pt x="1627" y="62"/>
                  </a:cubicBezTo>
                  <a:cubicBezTo>
                    <a:pt x="1627" y="75"/>
                    <a:pt x="1628" y="87"/>
                    <a:pt x="1627" y="100"/>
                  </a:cubicBezTo>
                  <a:cubicBezTo>
                    <a:pt x="1627" y="101"/>
                    <a:pt x="1628" y="102"/>
                    <a:pt x="1629" y="102"/>
                  </a:cubicBezTo>
                  <a:cubicBezTo>
                    <a:pt x="1632" y="102"/>
                    <a:pt x="1634" y="102"/>
                    <a:pt x="1637" y="102"/>
                  </a:cubicBezTo>
                  <a:cubicBezTo>
                    <a:pt x="1638" y="102"/>
                    <a:pt x="1639" y="101"/>
                    <a:pt x="1639" y="100"/>
                  </a:cubicBezTo>
                  <a:cubicBezTo>
                    <a:pt x="1639" y="88"/>
                    <a:pt x="1639" y="76"/>
                    <a:pt x="1639" y="64"/>
                  </a:cubicBezTo>
                  <a:cubicBezTo>
                    <a:pt x="1639" y="64"/>
                    <a:pt x="1639" y="63"/>
                    <a:pt x="1639" y="62"/>
                  </a:cubicBezTo>
                  <a:cubicBezTo>
                    <a:pt x="1639" y="62"/>
                    <a:pt x="1639" y="62"/>
                    <a:pt x="1639" y="62"/>
                  </a:cubicBezTo>
                  <a:cubicBezTo>
                    <a:pt x="1643" y="62"/>
                    <a:pt x="1647" y="61"/>
                    <a:pt x="1650" y="62"/>
                  </a:cubicBezTo>
                  <a:cubicBezTo>
                    <a:pt x="1651" y="62"/>
                    <a:pt x="1651" y="62"/>
                    <a:pt x="1651" y="62"/>
                  </a:cubicBezTo>
                  <a:cubicBezTo>
                    <a:pt x="1651" y="62"/>
                    <a:pt x="1651" y="62"/>
                    <a:pt x="1651" y="62"/>
                  </a:cubicBezTo>
                  <a:cubicBezTo>
                    <a:pt x="1651" y="62"/>
                    <a:pt x="1651" y="62"/>
                    <a:pt x="1652" y="62"/>
                  </a:cubicBezTo>
                  <a:cubicBezTo>
                    <a:pt x="1652" y="62"/>
                    <a:pt x="1652" y="62"/>
                    <a:pt x="1652" y="62"/>
                  </a:cubicBezTo>
                  <a:cubicBezTo>
                    <a:pt x="1652" y="62"/>
                    <a:pt x="1652" y="62"/>
                    <a:pt x="1652" y="62"/>
                  </a:cubicBezTo>
                  <a:cubicBezTo>
                    <a:pt x="1652" y="62"/>
                    <a:pt x="1653" y="62"/>
                    <a:pt x="1653" y="62"/>
                  </a:cubicBezTo>
                  <a:cubicBezTo>
                    <a:pt x="1653" y="62"/>
                    <a:pt x="1653" y="62"/>
                    <a:pt x="1653" y="62"/>
                  </a:cubicBezTo>
                  <a:cubicBezTo>
                    <a:pt x="1653" y="63"/>
                    <a:pt x="1653" y="63"/>
                    <a:pt x="1653" y="63"/>
                  </a:cubicBezTo>
                  <a:cubicBezTo>
                    <a:pt x="1653" y="63"/>
                    <a:pt x="1654" y="63"/>
                    <a:pt x="1654" y="63"/>
                  </a:cubicBezTo>
                  <a:cubicBezTo>
                    <a:pt x="1654" y="63"/>
                    <a:pt x="1654" y="63"/>
                    <a:pt x="1654" y="63"/>
                  </a:cubicBezTo>
                  <a:cubicBezTo>
                    <a:pt x="1654" y="63"/>
                    <a:pt x="1654" y="63"/>
                    <a:pt x="1654" y="63"/>
                  </a:cubicBezTo>
                  <a:cubicBezTo>
                    <a:pt x="1654" y="63"/>
                    <a:pt x="1654" y="63"/>
                    <a:pt x="1654" y="63"/>
                  </a:cubicBezTo>
                  <a:cubicBezTo>
                    <a:pt x="1654" y="63"/>
                    <a:pt x="1654" y="63"/>
                    <a:pt x="1654" y="63"/>
                  </a:cubicBezTo>
                  <a:cubicBezTo>
                    <a:pt x="1655" y="63"/>
                    <a:pt x="1655" y="63"/>
                    <a:pt x="1655" y="64"/>
                  </a:cubicBezTo>
                  <a:cubicBezTo>
                    <a:pt x="1655" y="64"/>
                    <a:pt x="1655" y="64"/>
                    <a:pt x="1655" y="64"/>
                  </a:cubicBezTo>
                  <a:cubicBezTo>
                    <a:pt x="1655" y="64"/>
                    <a:pt x="1655" y="64"/>
                    <a:pt x="1655" y="64"/>
                  </a:cubicBezTo>
                  <a:cubicBezTo>
                    <a:pt x="1655" y="64"/>
                    <a:pt x="1655" y="64"/>
                    <a:pt x="1655" y="64"/>
                  </a:cubicBezTo>
                  <a:cubicBezTo>
                    <a:pt x="1656" y="64"/>
                    <a:pt x="1656" y="64"/>
                    <a:pt x="1656" y="64"/>
                  </a:cubicBezTo>
                  <a:cubicBezTo>
                    <a:pt x="1656" y="64"/>
                    <a:pt x="1656" y="64"/>
                    <a:pt x="1656" y="64"/>
                  </a:cubicBezTo>
                  <a:cubicBezTo>
                    <a:pt x="1656" y="64"/>
                    <a:pt x="1656" y="65"/>
                    <a:pt x="1656" y="65"/>
                  </a:cubicBezTo>
                  <a:cubicBezTo>
                    <a:pt x="1656" y="65"/>
                    <a:pt x="1656" y="65"/>
                    <a:pt x="1656" y="65"/>
                  </a:cubicBezTo>
                  <a:cubicBezTo>
                    <a:pt x="1657" y="65"/>
                    <a:pt x="1658" y="66"/>
                    <a:pt x="1658" y="67"/>
                  </a:cubicBezTo>
                  <a:cubicBezTo>
                    <a:pt x="1658" y="67"/>
                    <a:pt x="1658" y="67"/>
                    <a:pt x="1658" y="67"/>
                  </a:cubicBezTo>
                  <a:cubicBezTo>
                    <a:pt x="1658" y="67"/>
                    <a:pt x="1659" y="67"/>
                    <a:pt x="1659" y="67"/>
                  </a:cubicBezTo>
                  <a:cubicBezTo>
                    <a:pt x="1659" y="67"/>
                    <a:pt x="1659" y="67"/>
                    <a:pt x="1659" y="67"/>
                  </a:cubicBezTo>
                  <a:cubicBezTo>
                    <a:pt x="1659" y="67"/>
                    <a:pt x="1659" y="67"/>
                    <a:pt x="1659" y="67"/>
                  </a:cubicBezTo>
                  <a:cubicBezTo>
                    <a:pt x="1659" y="67"/>
                    <a:pt x="1659" y="67"/>
                    <a:pt x="1659" y="67"/>
                  </a:cubicBezTo>
                  <a:cubicBezTo>
                    <a:pt x="1659" y="68"/>
                    <a:pt x="1659" y="68"/>
                    <a:pt x="1660" y="68"/>
                  </a:cubicBezTo>
                  <a:cubicBezTo>
                    <a:pt x="1660" y="68"/>
                    <a:pt x="1660" y="68"/>
                    <a:pt x="1660" y="68"/>
                  </a:cubicBezTo>
                  <a:cubicBezTo>
                    <a:pt x="1660" y="69"/>
                    <a:pt x="1660" y="69"/>
                    <a:pt x="1660" y="69"/>
                  </a:cubicBezTo>
                  <a:cubicBezTo>
                    <a:pt x="1660" y="69"/>
                    <a:pt x="1660" y="69"/>
                    <a:pt x="1660" y="69"/>
                  </a:cubicBezTo>
                  <a:cubicBezTo>
                    <a:pt x="1660" y="69"/>
                    <a:pt x="1660" y="69"/>
                    <a:pt x="1660" y="69"/>
                  </a:cubicBezTo>
                  <a:cubicBezTo>
                    <a:pt x="1660" y="69"/>
                    <a:pt x="1660" y="69"/>
                    <a:pt x="1660" y="69"/>
                  </a:cubicBezTo>
                  <a:cubicBezTo>
                    <a:pt x="1661" y="70"/>
                    <a:pt x="1660" y="70"/>
                    <a:pt x="1661" y="70"/>
                  </a:cubicBezTo>
                  <a:cubicBezTo>
                    <a:pt x="1661" y="70"/>
                    <a:pt x="1661" y="70"/>
                    <a:pt x="1661" y="70"/>
                  </a:cubicBezTo>
                  <a:cubicBezTo>
                    <a:pt x="1661" y="70"/>
                    <a:pt x="1661" y="70"/>
                    <a:pt x="1661" y="71"/>
                  </a:cubicBezTo>
                  <a:cubicBezTo>
                    <a:pt x="1661" y="71"/>
                    <a:pt x="1661" y="71"/>
                    <a:pt x="1661" y="71"/>
                  </a:cubicBezTo>
                  <a:cubicBezTo>
                    <a:pt x="1661" y="71"/>
                    <a:pt x="1661" y="71"/>
                    <a:pt x="1661" y="71"/>
                  </a:cubicBezTo>
                  <a:cubicBezTo>
                    <a:pt x="1661" y="71"/>
                    <a:pt x="1661" y="71"/>
                    <a:pt x="1661" y="71"/>
                  </a:cubicBezTo>
                  <a:cubicBezTo>
                    <a:pt x="1661" y="71"/>
                    <a:pt x="1661" y="71"/>
                    <a:pt x="1661" y="71"/>
                  </a:cubicBezTo>
                  <a:cubicBezTo>
                    <a:pt x="1662" y="71"/>
                    <a:pt x="1662" y="72"/>
                    <a:pt x="1662" y="72"/>
                  </a:cubicBezTo>
                  <a:cubicBezTo>
                    <a:pt x="1662" y="72"/>
                    <a:pt x="1662" y="72"/>
                    <a:pt x="1662" y="72"/>
                  </a:cubicBezTo>
                  <a:cubicBezTo>
                    <a:pt x="1662" y="72"/>
                    <a:pt x="1662" y="72"/>
                    <a:pt x="1662" y="73"/>
                  </a:cubicBezTo>
                  <a:cubicBezTo>
                    <a:pt x="1662" y="73"/>
                    <a:pt x="1662" y="73"/>
                    <a:pt x="1662" y="73"/>
                  </a:cubicBezTo>
                  <a:cubicBezTo>
                    <a:pt x="1662" y="73"/>
                    <a:pt x="1662" y="73"/>
                    <a:pt x="1662" y="73"/>
                  </a:cubicBezTo>
                  <a:cubicBezTo>
                    <a:pt x="1662" y="73"/>
                    <a:pt x="1662" y="73"/>
                    <a:pt x="1663" y="74"/>
                  </a:cubicBezTo>
                  <a:cubicBezTo>
                    <a:pt x="1662" y="74"/>
                    <a:pt x="1662" y="74"/>
                    <a:pt x="1662" y="74"/>
                  </a:cubicBezTo>
                  <a:cubicBezTo>
                    <a:pt x="1663" y="74"/>
                    <a:pt x="1663" y="74"/>
                    <a:pt x="1663" y="74"/>
                  </a:cubicBezTo>
                  <a:cubicBezTo>
                    <a:pt x="1663" y="74"/>
                    <a:pt x="1663" y="74"/>
                    <a:pt x="1663" y="74"/>
                  </a:cubicBezTo>
                  <a:cubicBezTo>
                    <a:pt x="1663" y="75"/>
                    <a:pt x="1663" y="75"/>
                    <a:pt x="1663" y="75"/>
                  </a:cubicBezTo>
                  <a:cubicBezTo>
                    <a:pt x="1663" y="75"/>
                    <a:pt x="1663" y="75"/>
                    <a:pt x="1663" y="75"/>
                  </a:cubicBezTo>
                  <a:cubicBezTo>
                    <a:pt x="1663" y="75"/>
                    <a:pt x="1663" y="75"/>
                    <a:pt x="1663" y="75"/>
                  </a:cubicBezTo>
                  <a:cubicBezTo>
                    <a:pt x="1663" y="76"/>
                    <a:pt x="1663" y="76"/>
                    <a:pt x="1664" y="76"/>
                  </a:cubicBezTo>
                  <a:cubicBezTo>
                    <a:pt x="1664" y="76"/>
                    <a:pt x="1664" y="76"/>
                    <a:pt x="1664" y="76"/>
                  </a:cubicBezTo>
                  <a:cubicBezTo>
                    <a:pt x="1664" y="76"/>
                    <a:pt x="1664" y="77"/>
                    <a:pt x="1664" y="77"/>
                  </a:cubicBezTo>
                  <a:cubicBezTo>
                    <a:pt x="1664" y="77"/>
                    <a:pt x="1664" y="77"/>
                    <a:pt x="1664" y="77"/>
                  </a:cubicBezTo>
                  <a:cubicBezTo>
                    <a:pt x="1664" y="77"/>
                    <a:pt x="1664" y="77"/>
                    <a:pt x="1664" y="77"/>
                  </a:cubicBezTo>
                  <a:cubicBezTo>
                    <a:pt x="1664" y="77"/>
                    <a:pt x="1664" y="77"/>
                    <a:pt x="1664" y="77"/>
                  </a:cubicBezTo>
                  <a:cubicBezTo>
                    <a:pt x="1664" y="78"/>
                    <a:pt x="1664" y="78"/>
                    <a:pt x="1665" y="78"/>
                  </a:cubicBezTo>
                  <a:cubicBezTo>
                    <a:pt x="1665" y="78"/>
                    <a:pt x="1665" y="78"/>
                    <a:pt x="1665" y="78"/>
                  </a:cubicBezTo>
                  <a:cubicBezTo>
                    <a:pt x="1665" y="79"/>
                    <a:pt x="1665" y="79"/>
                    <a:pt x="1665" y="79"/>
                  </a:cubicBezTo>
                  <a:cubicBezTo>
                    <a:pt x="1665" y="79"/>
                    <a:pt x="1665" y="79"/>
                    <a:pt x="1665" y="79"/>
                  </a:cubicBezTo>
                  <a:cubicBezTo>
                    <a:pt x="1665" y="79"/>
                    <a:pt x="1665" y="80"/>
                    <a:pt x="1665" y="80"/>
                  </a:cubicBezTo>
                  <a:cubicBezTo>
                    <a:pt x="1665" y="80"/>
                    <a:pt x="1665" y="80"/>
                    <a:pt x="1665" y="80"/>
                  </a:cubicBezTo>
                  <a:cubicBezTo>
                    <a:pt x="1665" y="80"/>
                    <a:pt x="1665" y="80"/>
                    <a:pt x="1666" y="81"/>
                  </a:cubicBezTo>
                  <a:cubicBezTo>
                    <a:pt x="1666" y="81"/>
                    <a:pt x="1666" y="81"/>
                    <a:pt x="1666" y="81"/>
                  </a:cubicBezTo>
                  <a:cubicBezTo>
                    <a:pt x="1666" y="81"/>
                    <a:pt x="1666" y="81"/>
                    <a:pt x="1666" y="81"/>
                  </a:cubicBezTo>
                  <a:cubicBezTo>
                    <a:pt x="1666" y="81"/>
                    <a:pt x="1666" y="81"/>
                    <a:pt x="1666" y="82"/>
                  </a:cubicBezTo>
                  <a:cubicBezTo>
                    <a:pt x="1666" y="82"/>
                    <a:pt x="1666" y="82"/>
                    <a:pt x="1666" y="82"/>
                  </a:cubicBezTo>
                  <a:cubicBezTo>
                    <a:pt x="1666" y="82"/>
                    <a:pt x="1666" y="82"/>
                    <a:pt x="1666" y="82"/>
                  </a:cubicBezTo>
                  <a:cubicBezTo>
                    <a:pt x="1666" y="82"/>
                    <a:pt x="1666" y="82"/>
                    <a:pt x="1666" y="82"/>
                  </a:cubicBezTo>
                  <a:cubicBezTo>
                    <a:pt x="1666" y="83"/>
                    <a:pt x="1666" y="83"/>
                    <a:pt x="1667" y="83"/>
                  </a:cubicBezTo>
                  <a:cubicBezTo>
                    <a:pt x="1667" y="83"/>
                    <a:pt x="1667" y="83"/>
                    <a:pt x="1667" y="83"/>
                  </a:cubicBezTo>
                  <a:cubicBezTo>
                    <a:pt x="1667" y="83"/>
                    <a:pt x="1667" y="84"/>
                    <a:pt x="1667" y="84"/>
                  </a:cubicBezTo>
                  <a:cubicBezTo>
                    <a:pt x="1667" y="84"/>
                    <a:pt x="1667" y="84"/>
                    <a:pt x="1667" y="84"/>
                  </a:cubicBezTo>
                  <a:cubicBezTo>
                    <a:pt x="1667" y="84"/>
                    <a:pt x="1667" y="85"/>
                    <a:pt x="1667" y="85"/>
                  </a:cubicBezTo>
                  <a:cubicBezTo>
                    <a:pt x="1667" y="85"/>
                    <a:pt x="1667" y="85"/>
                    <a:pt x="1667" y="85"/>
                  </a:cubicBezTo>
                  <a:cubicBezTo>
                    <a:pt x="1668" y="85"/>
                    <a:pt x="1667" y="85"/>
                    <a:pt x="1668" y="86"/>
                  </a:cubicBezTo>
                  <a:cubicBezTo>
                    <a:pt x="1668" y="85"/>
                    <a:pt x="1668" y="85"/>
                    <a:pt x="1668" y="85"/>
                  </a:cubicBezTo>
                  <a:cubicBezTo>
                    <a:pt x="1668" y="86"/>
                    <a:pt x="1668" y="86"/>
                    <a:pt x="1668" y="86"/>
                  </a:cubicBezTo>
                  <a:cubicBezTo>
                    <a:pt x="1668" y="86"/>
                    <a:pt x="1668" y="86"/>
                    <a:pt x="1668" y="86"/>
                  </a:cubicBezTo>
                  <a:cubicBezTo>
                    <a:pt x="1668" y="86"/>
                    <a:pt x="1668" y="86"/>
                    <a:pt x="1668" y="86"/>
                  </a:cubicBezTo>
                  <a:cubicBezTo>
                    <a:pt x="1668" y="87"/>
                    <a:pt x="1668" y="87"/>
                    <a:pt x="1668" y="87"/>
                  </a:cubicBezTo>
                  <a:cubicBezTo>
                    <a:pt x="1668" y="87"/>
                    <a:pt x="1668" y="87"/>
                    <a:pt x="1668" y="87"/>
                  </a:cubicBezTo>
                  <a:cubicBezTo>
                    <a:pt x="1669" y="87"/>
                    <a:pt x="1669" y="88"/>
                    <a:pt x="1669" y="88"/>
                  </a:cubicBezTo>
                  <a:cubicBezTo>
                    <a:pt x="1669" y="88"/>
                    <a:pt x="1669" y="88"/>
                    <a:pt x="1669" y="88"/>
                  </a:cubicBezTo>
                  <a:cubicBezTo>
                    <a:pt x="1669" y="88"/>
                    <a:pt x="1669" y="88"/>
                    <a:pt x="1669" y="89"/>
                  </a:cubicBezTo>
                  <a:cubicBezTo>
                    <a:pt x="1669" y="89"/>
                    <a:pt x="1669" y="89"/>
                    <a:pt x="1669" y="89"/>
                  </a:cubicBezTo>
                  <a:cubicBezTo>
                    <a:pt x="1669" y="89"/>
                    <a:pt x="1669" y="89"/>
                    <a:pt x="1669" y="89"/>
                  </a:cubicBezTo>
                  <a:cubicBezTo>
                    <a:pt x="1669" y="89"/>
                    <a:pt x="1669" y="89"/>
                    <a:pt x="1669" y="90"/>
                  </a:cubicBezTo>
                  <a:cubicBezTo>
                    <a:pt x="1669" y="90"/>
                    <a:pt x="1669" y="90"/>
                    <a:pt x="1669" y="90"/>
                  </a:cubicBezTo>
                  <a:cubicBezTo>
                    <a:pt x="1670" y="90"/>
                    <a:pt x="1670" y="90"/>
                    <a:pt x="1670" y="90"/>
                  </a:cubicBezTo>
                  <a:cubicBezTo>
                    <a:pt x="1670" y="90"/>
                    <a:pt x="1670" y="90"/>
                    <a:pt x="1670" y="90"/>
                  </a:cubicBezTo>
                  <a:cubicBezTo>
                    <a:pt x="1670" y="91"/>
                    <a:pt x="1670" y="91"/>
                    <a:pt x="1670" y="91"/>
                  </a:cubicBezTo>
                  <a:cubicBezTo>
                    <a:pt x="1670" y="91"/>
                    <a:pt x="1670" y="91"/>
                    <a:pt x="1670" y="91"/>
                  </a:cubicBezTo>
                  <a:cubicBezTo>
                    <a:pt x="1670" y="91"/>
                    <a:pt x="1670" y="92"/>
                    <a:pt x="1670" y="92"/>
                  </a:cubicBezTo>
                  <a:cubicBezTo>
                    <a:pt x="1671" y="92"/>
                    <a:pt x="1671" y="92"/>
                    <a:pt x="1671" y="92"/>
                  </a:cubicBezTo>
                  <a:cubicBezTo>
                    <a:pt x="1671" y="92"/>
                    <a:pt x="1671" y="93"/>
                    <a:pt x="1671" y="93"/>
                  </a:cubicBezTo>
                  <a:cubicBezTo>
                    <a:pt x="1671" y="93"/>
                    <a:pt x="1671" y="93"/>
                    <a:pt x="1671" y="93"/>
                  </a:cubicBezTo>
                  <a:cubicBezTo>
                    <a:pt x="1671" y="93"/>
                    <a:pt x="1671" y="93"/>
                    <a:pt x="1671" y="94"/>
                  </a:cubicBezTo>
                  <a:cubicBezTo>
                    <a:pt x="1671" y="94"/>
                    <a:pt x="1671" y="94"/>
                    <a:pt x="1671" y="94"/>
                  </a:cubicBezTo>
                  <a:cubicBezTo>
                    <a:pt x="1671" y="94"/>
                    <a:pt x="1671" y="94"/>
                    <a:pt x="1671" y="94"/>
                  </a:cubicBezTo>
                  <a:cubicBezTo>
                    <a:pt x="1672" y="94"/>
                    <a:pt x="1672" y="94"/>
                    <a:pt x="1672" y="94"/>
                  </a:cubicBezTo>
                  <a:cubicBezTo>
                    <a:pt x="1672" y="94"/>
                    <a:pt x="1672" y="94"/>
                    <a:pt x="1672" y="94"/>
                  </a:cubicBezTo>
                  <a:cubicBezTo>
                    <a:pt x="1672" y="95"/>
                    <a:pt x="1672" y="95"/>
                    <a:pt x="1672" y="95"/>
                  </a:cubicBezTo>
                  <a:cubicBezTo>
                    <a:pt x="1672" y="95"/>
                    <a:pt x="1672" y="95"/>
                    <a:pt x="1672" y="95"/>
                  </a:cubicBezTo>
                  <a:cubicBezTo>
                    <a:pt x="1672" y="95"/>
                    <a:pt x="1672" y="96"/>
                    <a:pt x="1672" y="96"/>
                  </a:cubicBezTo>
                  <a:cubicBezTo>
                    <a:pt x="1672" y="96"/>
                    <a:pt x="1672" y="96"/>
                    <a:pt x="1672" y="96"/>
                  </a:cubicBezTo>
                  <a:cubicBezTo>
                    <a:pt x="1672" y="96"/>
                    <a:pt x="1672" y="96"/>
                    <a:pt x="1673" y="97"/>
                  </a:cubicBezTo>
                  <a:cubicBezTo>
                    <a:pt x="1673" y="97"/>
                    <a:pt x="1673" y="97"/>
                    <a:pt x="1673" y="97"/>
                  </a:cubicBezTo>
                  <a:cubicBezTo>
                    <a:pt x="1673" y="97"/>
                    <a:pt x="1673" y="97"/>
                    <a:pt x="1673" y="97"/>
                  </a:cubicBezTo>
                  <a:cubicBezTo>
                    <a:pt x="1673" y="97"/>
                    <a:pt x="1673" y="97"/>
                    <a:pt x="1673" y="98"/>
                  </a:cubicBezTo>
                  <a:cubicBezTo>
                    <a:pt x="1673" y="98"/>
                    <a:pt x="1673" y="98"/>
                    <a:pt x="1673" y="98"/>
                  </a:cubicBezTo>
                  <a:cubicBezTo>
                    <a:pt x="1673" y="98"/>
                    <a:pt x="1673" y="98"/>
                    <a:pt x="1673" y="98"/>
                  </a:cubicBezTo>
                  <a:cubicBezTo>
                    <a:pt x="1673" y="98"/>
                    <a:pt x="1673" y="98"/>
                    <a:pt x="1673" y="98"/>
                  </a:cubicBezTo>
                  <a:cubicBezTo>
                    <a:pt x="1673" y="99"/>
                    <a:pt x="1673" y="99"/>
                    <a:pt x="1674" y="99"/>
                  </a:cubicBezTo>
                  <a:cubicBezTo>
                    <a:pt x="1674" y="99"/>
                    <a:pt x="1674" y="99"/>
                    <a:pt x="1674" y="99"/>
                  </a:cubicBezTo>
                  <a:cubicBezTo>
                    <a:pt x="1674" y="99"/>
                    <a:pt x="1674" y="100"/>
                    <a:pt x="1674" y="100"/>
                  </a:cubicBezTo>
                  <a:cubicBezTo>
                    <a:pt x="1674" y="100"/>
                    <a:pt x="1674" y="100"/>
                    <a:pt x="1674" y="100"/>
                  </a:cubicBezTo>
                  <a:cubicBezTo>
                    <a:pt x="1674" y="100"/>
                    <a:pt x="1674" y="101"/>
                    <a:pt x="1674" y="101"/>
                  </a:cubicBezTo>
                  <a:cubicBezTo>
                    <a:pt x="1674" y="101"/>
                    <a:pt x="1674" y="101"/>
                    <a:pt x="1674" y="101"/>
                  </a:cubicBezTo>
                  <a:cubicBezTo>
                    <a:pt x="1674" y="101"/>
                    <a:pt x="1674" y="101"/>
                    <a:pt x="1675" y="101"/>
                  </a:cubicBezTo>
                  <a:cubicBezTo>
                    <a:pt x="1675" y="101"/>
                    <a:pt x="1675" y="101"/>
                    <a:pt x="1675" y="101"/>
                  </a:cubicBezTo>
                  <a:cubicBezTo>
                    <a:pt x="1679" y="102"/>
                    <a:pt x="1683" y="102"/>
                    <a:pt x="1687" y="102"/>
                  </a:cubicBezTo>
                  <a:cubicBezTo>
                    <a:pt x="1688" y="102"/>
                    <a:pt x="1688" y="101"/>
                    <a:pt x="1688" y="101"/>
                  </a:cubicBezTo>
                  <a:cubicBezTo>
                    <a:pt x="1688" y="101"/>
                    <a:pt x="1688" y="101"/>
                    <a:pt x="1688" y="101"/>
                  </a:cubicBezTo>
                  <a:cubicBezTo>
                    <a:pt x="1688" y="101"/>
                    <a:pt x="1688" y="100"/>
                    <a:pt x="1687" y="100"/>
                  </a:cubicBezTo>
                  <a:cubicBezTo>
                    <a:pt x="1687" y="100"/>
                    <a:pt x="1687" y="100"/>
                    <a:pt x="1687" y="100"/>
                  </a:cubicBezTo>
                  <a:cubicBezTo>
                    <a:pt x="1687" y="100"/>
                    <a:pt x="1687" y="100"/>
                    <a:pt x="1687" y="99"/>
                  </a:cubicBezTo>
                  <a:cubicBezTo>
                    <a:pt x="1687" y="99"/>
                    <a:pt x="1687" y="99"/>
                    <a:pt x="1687" y="99"/>
                  </a:cubicBezTo>
                  <a:cubicBezTo>
                    <a:pt x="1687" y="99"/>
                    <a:pt x="1687" y="99"/>
                    <a:pt x="1687" y="99"/>
                  </a:cubicBezTo>
                  <a:cubicBezTo>
                    <a:pt x="1687" y="99"/>
                    <a:pt x="1687" y="99"/>
                    <a:pt x="1687" y="99"/>
                  </a:cubicBezTo>
                  <a:cubicBezTo>
                    <a:pt x="1687" y="99"/>
                    <a:pt x="1687" y="98"/>
                    <a:pt x="1686" y="98"/>
                  </a:cubicBezTo>
                  <a:cubicBezTo>
                    <a:pt x="1686" y="98"/>
                    <a:pt x="1686" y="98"/>
                    <a:pt x="1686" y="98"/>
                  </a:cubicBezTo>
                  <a:cubicBezTo>
                    <a:pt x="1686" y="98"/>
                    <a:pt x="1686" y="98"/>
                    <a:pt x="1686" y="97"/>
                  </a:cubicBezTo>
                  <a:cubicBezTo>
                    <a:pt x="1686" y="97"/>
                    <a:pt x="1686" y="97"/>
                    <a:pt x="1686" y="97"/>
                  </a:cubicBezTo>
                  <a:cubicBezTo>
                    <a:pt x="1686" y="97"/>
                    <a:pt x="1686" y="97"/>
                    <a:pt x="1686" y="97"/>
                  </a:cubicBezTo>
                  <a:cubicBezTo>
                    <a:pt x="1686" y="97"/>
                    <a:pt x="1686" y="97"/>
                    <a:pt x="1686" y="97"/>
                  </a:cubicBezTo>
                  <a:cubicBezTo>
                    <a:pt x="1686" y="96"/>
                    <a:pt x="1686" y="96"/>
                    <a:pt x="1685" y="96"/>
                  </a:cubicBezTo>
                  <a:cubicBezTo>
                    <a:pt x="1685" y="96"/>
                    <a:pt x="1685" y="96"/>
                    <a:pt x="1685" y="96"/>
                  </a:cubicBezTo>
                  <a:cubicBezTo>
                    <a:pt x="1685" y="96"/>
                    <a:pt x="1685" y="96"/>
                    <a:pt x="1685" y="96"/>
                  </a:cubicBezTo>
                  <a:cubicBezTo>
                    <a:pt x="1685" y="96"/>
                    <a:pt x="1685" y="95"/>
                    <a:pt x="1685" y="95"/>
                  </a:cubicBezTo>
                  <a:cubicBezTo>
                    <a:pt x="1685" y="95"/>
                    <a:pt x="1685" y="95"/>
                    <a:pt x="1685" y="95"/>
                  </a:cubicBezTo>
                  <a:cubicBezTo>
                    <a:pt x="1685" y="95"/>
                    <a:pt x="1685" y="94"/>
                    <a:pt x="1685" y="94"/>
                  </a:cubicBezTo>
                  <a:cubicBezTo>
                    <a:pt x="1685" y="94"/>
                    <a:pt x="1685" y="94"/>
                    <a:pt x="1685" y="94"/>
                  </a:cubicBezTo>
                  <a:cubicBezTo>
                    <a:pt x="1685" y="94"/>
                    <a:pt x="1685" y="94"/>
                    <a:pt x="1684" y="94"/>
                  </a:cubicBezTo>
                  <a:cubicBezTo>
                    <a:pt x="1684" y="94"/>
                    <a:pt x="1684" y="94"/>
                    <a:pt x="1684" y="94"/>
                  </a:cubicBezTo>
                  <a:cubicBezTo>
                    <a:pt x="1684" y="93"/>
                    <a:pt x="1684" y="93"/>
                    <a:pt x="1684" y="93"/>
                  </a:cubicBezTo>
                  <a:cubicBezTo>
                    <a:pt x="1684" y="93"/>
                    <a:pt x="1684" y="93"/>
                    <a:pt x="1684" y="93"/>
                  </a:cubicBezTo>
                  <a:cubicBezTo>
                    <a:pt x="1684" y="93"/>
                    <a:pt x="1684" y="92"/>
                    <a:pt x="1684" y="92"/>
                  </a:cubicBezTo>
                  <a:cubicBezTo>
                    <a:pt x="1684" y="92"/>
                    <a:pt x="1684" y="92"/>
                    <a:pt x="1684" y="92"/>
                  </a:cubicBezTo>
                  <a:cubicBezTo>
                    <a:pt x="1683" y="92"/>
                    <a:pt x="1684" y="92"/>
                    <a:pt x="1683" y="91"/>
                  </a:cubicBezTo>
                  <a:cubicBezTo>
                    <a:pt x="1683" y="91"/>
                    <a:pt x="1683" y="91"/>
                    <a:pt x="1683" y="91"/>
                  </a:cubicBezTo>
                  <a:cubicBezTo>
                    <a:pt x="1683" y="91"/>
                    <a:pt x="1683" y="91"/>
                    <a:pt x="1683" y="91"/>
                  </a:cubicBezTo>
                  <a:cubicBezTo>
                    <a:pt x="1683" y="91"/>
                    <a:pt x="1683" y="91"/>
                    <a:pt x="1683" y="91"/>
                  </a:cubicBezTo>
                  <a:cubicBezTo>
                    <a:pt x="1683" y="91"/>
                    <a:pt x="1683" y="90"/>
                    <a:pt x="1683" y="90"/>
                  </a:cubicBezTo>
                  <a:cubicBezTo>
                    <a:pt x="1683" y="90"/>
                    <a:pt x="1683" y="90"/>
                    <a:pt x="1683" y="90"/>
                  </a:cubicBezTo>
                  <a:cubicBezTo>
                    <a:pt x="1682" y="90"/>
                    <a:pt x="1682" y="90"/>
                    <a:pt x="1682" y="89"/>
                  </a:cubicBezTo>
                  <a:cubicBezTo>
                    <a:pt x="1682" y="89"/>
                    <a:pt x="1682" y="89"/>
                    <a:pt x="1682" y="89"/>
                  </a:cubicBezTo>
                  <a:cubicBezTo>
                    <a:pt x="1682" y="89"/>
                    <a:pt x="1682" y="89"/>
                    <a:pt x="1682" y="89"/>
                  </a:cubicBezTo>
                  <a:cubicBezTo>
                    <a:pt x="1682" y="89"/>
                    <a:pt x="1682" y="89"/>
                    <a:pt x="1682" y="89"/>
                  </a:cubicBezTo>
                  <a:cubicBezTo>
                    <a:pt x="1682" y="88"/>
                    <a:pt x="1682" y="88"/>
                    <a:pt x="1682" y="88"/>
                  </a:cubicBezTo>
                  <a:cubicBezTo>
                    <a:pt x="1682" y="88"/>
                    <a:pt x="1682" y="88"/>
                    <a:pt x="1682" y="88"/>
                  </a:cubicBezTo>
                  <a:cubicBezTo>
                    <a:pt x="1682" y="88"/>
                    <a:pt x="1682" y="88"/>
                    <a:pt x="1682" y="88"/>
                  </a:cubicBezTo>
                  <a:cubicBezTo>
                    <a:pt x="1681" y="87"/>
                    <a:pt x="1681" y="87"/>
                    <a:pt x="1681" y="87"/>
                  </a:cubicBezTo>
                  <a:cubicBezTo>
                    <a:pt x="1681" y="87"/>
                    <a:pt x="1681" y="87"/>
                    <a:pt x="1681" y="87"/>
                  </a:cubicBezTo>
                  <a:cubicBezTo>
                    <a:pt x="1681" y="87"/>
                    <a:pt x="1681" y="86"/>
                    <a:pt x="1681" y="86"/>
                  </a:cubicBezTo>
                  <a:cubicBezTo>
                    <a:pt x="1681" y="86"/>
                    <a:pt x="1681" y="86"/>
                    <a:pt x="1681" y="86"/>
                  </a:cubicBezTo>
                  <a:cubicBezTo>
                    <a:pt x="1681" y="86"/>
                    <a:pt x="1681" y="86"/>
                    <a:pt x="1681" y="86"/>
                  </a:cubicBezTo>
                  <a:cubicBezTo>
                    <a:pt x="1681" y="86"/>
                    <a:pt x="1681" y="86"/>
                    <a:pt x="1681" y="86"/>
                  </a:cubicBezTo>
                  <a:cubicBezTo>
                    <a:pt x="1680" y="85"/>
                    <a:pt x="1680" y="85"/>
                    <a:pt x="1680" y="85"/>
                  </a:cubicBezTo>
                  <a:cubicBezTo>
                    <a:pt x="1680" y="85"/>
                    <a:pt x="1680" y="85"/>
                    <a:pt x="1680" y="85"/>
                  </a:cubicBezTo>
                  <a:cubicBezTo>
                    <a:pt x="1680" y="85"/>
                    <a:pt x="1680" y="84"/>
                    <a:pt x="1680" y="84"/>
                  </a:cubicBezTo>
                  <a:cubicBezTo>
                    <a:pt x="1680" y="84"/>
                    <a:pt x="1680" y="84"/>
                    <a:pt x="1680" y="84"/>
                  </a:cubicBezTo>
                  <a:cubicBezTo>
                    <a:pt x="1680" y="84"/>
                    <a:pt x="1680" y="84"/>
                    <a:pt x="1680" y="83"/>
                  </a:cubicBezTo>
                  <a:cubicBezTo>
                    <a:pt x="1680" y="83"/>
                    <a:pt x="1680" y="83"/>
                    <a:pt x="1680" y="83"/>
                  </a:cubicBezTo>
                  <a:cubicBezTo>
                    <a:pt x="1679" y="83"/>
                    <a:pt x="1679" y="83"/>
                    <a:pt x="1679" y="83"/>
                  </a:cubicBezTo>
                  <a:cubicBezTo>
                    <a:pt x="1679" y="83"/>
                    <a:pt x="1679" y="83"/>
                    <a:pt x="1679" y="83"/>
                  </a:cubicBezTo>
                  <a:cubicBezTo>
                    <a:pt x="1679" y="83"/>
                    <a:pt x="1679" y="82"/>
                    <a:pt x="1679" y="82"/>
                  </a:cubicBezTo>
                  <a:cubicBezTo>
                    <a:pt x="1679" y="82"/>
                    <a:pt x="1679" y="82"/>
                    <a:pt x="1679" y="82"/>
                  </a:cubicBezTo>
                  <a:cubicBezTo>
                    <a:pt x="1679" y="82"/>
                    <a:pt x="1679" y="82"/>
                    <a:pt x="1679" y="81"/>
                  </a:cubicBezTo>
                  <a:cubicBezTo>
                    <a:pt x="1678" y="81"/>
                    <a:pt x="1678" y="81"/>
                    <a:pt x="1678" y="81"/>
                  </a:cubicBezTo>
                  <a:cubicBezTo>
                    <a:pt x="1678" y="81"/>
                    <a:pt x="1678" y="81"/>
                    <a:pt x="1678" y="81"/>
                  </a:cubicBezTo>
                  <a:cubicBezTo>
                    <a:pt x="1678" y="81"/>
                    <a:pt x="1678" y="81"/>
                    <a:pt x="1678" y="81"/>
                  </a:cubicBezTo>
                  <a:cubicBezTo>
                    <a:pt x="1678" y="81"/>
                    <a:pt x="1678" y="81"/>
                    <a:pt x="1678" y="80"/>
                  </a:cubicBezTo>
                  <a:cubicBezTo>
                    <a:pt x="1678" y="80"/>
                    <a:pt x="1678" y="80"/>
                    <a:pt x="1678" y="80"/>
                  </a:cubicBezTo>
                  <a:cubicBezTo>
                    <a:pt x="1678" y="80"/>
                    <a:pt x="1678" y="80"/>
                    <a:pt x="1678" y="80"/>
                  </a:cubicBezTo>
                  <a:cubicBezTo>
                    <a:pt x="1678" y="79"/>
                    <a:pt x="1678" y="79"/>
                    <a:pt x="1677" y="79"/>
                  </a:cubicBezTo>
                  <a:cubicBezTo>
                    <a:pt x="1677" y="79"/>
                    <a:pt x="1677" y="79"/>
                    <a:pt x="1677" y="79"/>
                  </a:cubicBezTo>
                  <a:cubicBezTo>
                    <a:pt x="1677" y="79"/>
                    <a:pt x="1677" y="78"/>
                    <a:pt x="1677" y="78"/>
                  </a:cubicBezTo>
                  <a:cubicBezTo>
                    <a:pt x="1677" y="78"/>
                    <a:pt x="1677" y="78"/>
                    <a:pt x="1677" y="78"/>
                  </a:cubicBezTo>
                  <a:cubicBezTo>
                    <a:pt x="1677" y="78"/>
                    <a:pt x="1677" y="78"/>
                    <a:pt x="1677" y="78"/>
                  </a:cubicBezTo>
                  <a:cubicBezTo>
                    <a:pt x="1677" y="78"/>
                    <a:pt x="1677" y="78"/>
                    <a:pt x="1677" y="78"/>
                  </a:cubicBezTo>
                  <a:cubicBezTo>
                    <a:pt x="1677" y="77"/>
                    <a:pt x="1677" y="77"/>
                    <a:pt x="1676" y="77"/>
                  </a:cubicBezTo>
                  <a:cubicBezTo>
                    <a:pt x="1676" y="77"/>
                    <a:pt x="1676" y="77"/>
                    <a:pt x="1676" y="77"/>
                  </a:cubicBezTo>
                  <a:cubicBezTo>
                    <a:pt x="1676" y="77"/>
                    <a:pt x="1676" y="76"/>
                    <a:pt x="1676" y="76"/>
                  </a:cubicBezTo>
                  <a:cubicBezTo>
                    <a:pt x="1676" y="76"/>
                    <a:pt x="1676" y="76"/>
                    <a:pt x="1676" y="76"/>
                  </a:cubicBezTo>
                  <a:cubicBezTo>
                    <a:pt x="1676" y="76"/>
                    <a:pt x="1676" y="76"/>
                    <a:pt x="1676" y="75"/>
                  </a:cubicBezTo>
                  <a:cubicBezTo>
                    <a:pt x="1676" y="75"/>
                    <a:pt x="1676" y="75"/>
                    <a:pt x="1676" y="75"/>
                  </a:cubicBezTo>
                  <a:cubicBezTo>
                    <a:pt x="1675" y="75"/>
                    <a:pt x="1676" y="75"/>
                    <a:pt x="1675" y="75"/>
                  </a:cubicBezTo>
                  <a:cubicBezTo>
                    <a:pt x="1675" y="75"/>
                    <a:pt x="1675" y="75"/>
                    <a:pt x="1675" y="75"/>
                  </a:cubicBezTo>
                  <a:cubicBezTo>
                    <a:pt x="1675" y="75"/>
                    <a:pt x="1675" y="74"/>
                    <a:pt x="1675" y="74"/>
                  </a:cubicBezTo>
                  <a:cubicBezTo>
                    <a:pt x="1675" y="74"/>
                    <a:pt x="1675" y="74"/>
                    <a:pt x="1675" y="74"/>
                  </a:cubicBezTo>
                  <a:cubicBezTo>
                    <a:pt x="1675" y="74"/>
                    <a:pt x="1675" y="74"/>
                    <a:pt x="1675" y="74"/>
                  </a:cubicBezTo>
                  <a:cubicBezTo>
                    <a:pt x="1675" y="74"/>
                    <a:pt x="1675" y="73"/>
                    <a:pt x="1675" y="73"/>
                  </a:cubicBezTo>
                  <a:cubicBezTo>
                    <a:pt x="1675" y="73"/>
                    <a:pt x="1675" y="73"/>
                    <a:pt x="1675" y="73"/>
                  </a:cubicBezTo>
                  <a:cubicBezTo>
                    <a:pt x="1674" y="73"/>
                    <a:pt x="1675" y="72"/>
                    <a:pt x="1674" y="72"/>
                  </a:cubicBezTo>
                  <a:cubicBezTo>
                    <a:pt x="1674" y="72"/>
                    <a:pt x="1674" y="72"/>
                    <a:pt x="1674" y="72"/>
                  </a:cubicBezTo>
                  <a:cubicBezTo>
                    <a:pt x="1674" y="72"/>
                    <a:pt x="1674" y="72"/>
                    <a:pt x="1674" y="72"/>
                  </a:cubicBezTo>
                  <a:cubicBezTo>
                    <a:pt x="1674" y="72"/>
                    <a:pt x="1674" y="72"/>
                    <a:pt x="1674" y="72"/>
                  </a:cubicBezTo>
                  <a:cubicBezTo>
                    <a:pt x="1674" y="71"/>
                    <a:pt x="1674" y="71"/>
                    <a:pt x="1674" y="71"/>
                  </a:cubicBezTo>
                  <a:cubicBezTo>
                    <a:pt x="1674" y="71"/>
                    <a:pt x="1674" y="71"/>
                    <a:pt x="1674" y="71"/>
                  </a:cubicBezTo>
                  <a:cubicBezTo>
                    <a:pt x="1673" y="71"/>
                    <a:pt x="1673" y="70"/>
                    <a:pt x="1673" y="70"/>
                  </a:cubicBezTo>
                  <a:cubicBezTo>
                    <a:pt x="1673" y="70"/>
                    <a:pt x="1673" y="70"/>
                    <a:pt x="1673" y="70"/>
                  </a:cubicBezTo>
                  <a:cubicBezTo>
                    <a:pt x="1673" y="70"/>
                    <a:pt x="1673" y="70"/>
                    <a:pt x="1673" y="69"/>
                  </a:cubicBezTo>
                  <a:cubicBezTo>
                    <a:pt x="1673" y="70"/>
                    <a:pt x="1673" y="70"/>
                    <a:pt x="1673" y="70"/>
                  </a:cubicBezTo>
                  <a:cubicBezTo>
                    <a:pt x="1673" y="69"/>
                    <a:pt x="1673" y="69"/>
                    <a:pt x="1673" y="69"/>
                  </a:cubicBezTo>
                  <a:cubicBezTo>
                    <a:pt x="1673" y="69"/>
                    <a:pt x="1673" y="69"/>
                    <a:pt x="1673" y="69"/>
                  </a:cubicBezTo>
                  <a:cubicBezTo>
                    <a:pt x="1672" y="69"/>
                    <a:pt x="1672" y="68"/>
                    <a:pt x="1672" y="68"/>
                  </a:cubicBezTo>
                  <a:cubicBezTo>
                    <a:pt x="1672" y="68"/>
                    <a:pt x="1672" y="68"/>
                    <a:pt x="1672" y="68"/>
                  </a:cubicBezTo>
                  <a:cubicBezTo>
                    <a:pt x="1672" y="68"/>
                    <a:pt x="1672" y="68"/>
                    <a:pt x="1672" y="67"/>
                  </a:cubicBezTo>
                  <a:cubicBezTo>
                    <a:pt x="1672" y="67"/>
                    <a:pt x="1672" y="67"/>
                    <a:pt x="1672" y="67"/>
                  </a:cubicBezTo>
                  <a:cubicBezTo>
                    <a:pt x="1672" y="67"/>
                    <a:pt x="1672" y="67"/>
                    <a:pt x="1671" y="67"/>
                  </a:cubicBezTo>
                  <a:cubicBezTo>
                    <a:pt x="1671" y="67"/>
                    <a:pt x="1671" y="67"/>
                    <a:pt x="1671" y="67"/>
                  </a:cubicBezTo>
                  <a:cubicBezTo>
                    <a:pt x="1671" y="67"/>
                    <a:pt x="1671" y="66"/>
                    <a:pt x="1671" y="66"/>
                  </a:cubicBezTo>
                  <a:cubicBezTo>
                    <a:pt x="1671" y="66"/>
                    <a:pt x="1671" y="66"/>
                    <a:pt x="1671" y="66"/>
                  </a:cubicBezTo>
                  <a:cubicBezTo>
                    <a:pt x="1671" y="66"/>
                    <a:pt x="1671" y="66"/>
                    <a:pt x="1671" y="66"/>
                  </a:cubicBezTo>
                  <a:cubicBezTo>
                    <a:pt x="1671" y="66"/>
                    <a:pt x="1671" y="66"/>
                    <a:pt x="1671" y="66"/>
                  </a:cubicBezTo>
                  <a:cubicBezTo>
                    <a:pt x="1671" y="65"/>
                    <a:pt x="1671" y="65"/>
                    <a:pt x="1670" y="65"/>
                  </a:cubicBezTo>
                  <a:cubicBezTo>
                    <a:pt x="1670" y="65"/>
                    <a:pt x="1670" y="65"/>
                    <a:pt x="1670" y="65"/>
                  </a:cubicBezTo>
                  <a:cubicBezTo>
                    <a:pt x="1670" y="65"/>
                    <a:pt x="1670" y="65"/>
                    <a:pt x="1670" y="65"/>
                  </a:cubicBezTo>
                  <a:cubicBezTo>
                    <a:pt x="1670" y="65"/>
                    <a:pt x="1670" y="65"/>
                    <a:pt x="1670" y="65"/>
                  </a:cubicBezTo>
                  <a:cubicBezTo>
                    <a:pt x="1670" y="64"/>
                    <a:pt x="1670" y="64"/>
                    <a:pt x="1670" y="64"/>
                  </a:cubicBezTo>
                  <a:cubicBezTo>
                    <a:pt x="1670" y="64"/>
                    <a:pt x="1670" y="64"/>
                    <a:pt x="1670" y="64"/>
                  </a:cubicBezTo>
                  <a:cubicBezTo>
                    <a:pt x="1670" y="64"/>
                    <a:pt x="1670" y="64"/>
                    <a:pt x="1669" y="64"/>
                  </a:cubicBezTo>
                  <a:cubicBezTo>
                    <a:pt x="1669" y="64"/>
                    <a:pt x="1669" y="64"/>
                    <a:pt x="1669" y="64"/>
                  </a:cubicBezTo>
                  <a:cubicBezTo>
                    <a:pt x="1669" y="63"/>
                    <a:pt x="1669" y="63"/>
                    <a:pt x="1669" y="63"/>
                  </a:cubicBezTo>
                  <a:cubicBezTo>
                    <a:pt x="1669" y="63"/>
                    <a:pt x="1669" y="63"/>
                    <a:pt x="1669" y="63"/>
                  </a:cubicBezTo>
                  <a:cubicBezTo>
                    <a:pt x="1669" y="63"/>
                    <a:pt x="1669"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1"/>
                    <a:pt x="1667" y="61"/>
                    <a:pt x="1667" y="61"/>
                  </a:cubicBezTo>
                  <a:cubicBezTo>
                    <a:pt x="1667" y="61"/>
                    <a:pt x="1667" y="61"/>
                    <a:pt x="1667" y="61"/>
                  </a:cubicBezTo>
                  <a:cubicBezTo>
                    <a:pt x="1667" y="61"/>
                    <a:pt x="1667" y="61"/>
                    <a:pt x="1667" y="61"/>
                  </a:cubicBezTo>
                  <a:cubicBezTo>
                    <a:pt x="1667" y="61"/>
                    <a:pt x="1667" y="61"/>
                    <a:pt x="1667" y="61"/>
                  </a:cubicBezTo>
                  <a:cubicBezTo>
                    <a:pt x="1667" y="60"/>
                    <a:pt x="1666" y="60"/>
                    <a:pt x="1666" y="60"/>
                  </a:cubicBezTo>
                  <a:cubicBezTo>
                    <a:pt x="1666" y="60"/>
                    <a:pt x="1666" y="60"/>
                    <a:pt x="1666" y="60"/>
                  </a:cubicBezTo>
                  <a:cubicBezTo>
                    <a:pt x="1666" y="60"/>
                    <a:pt x="1666" y="60"/>
                    <a:pt x="1666" y="60"/>
                  </a:cubicBezTo>
                  <a:cubicBezTo>
                    <a:pt x="1666" y="60"/>
                    <a:pt x="1666" y="60"/>
                    <a:pt x="1666" y="60"/>
                  </a:cubicBezTo>
                  <a:cubicBezTo>
                    <a:pt x="1665" y="60"/>
                    <a:pt x="1665" y="60"/>
                    <a:pt x="1665" y="59"/>
                  </a:cubicBezTo>
                  <a:cubicBezTo>
                    <a:pt x="1665" y="59"/>
                    <a:pt x="1665" y="59"/>
                    <a:pt x="1665" y="59"/>
                  </a:cubicBezTo>
                  <a:cubicBezTo>
                    <a:pt x="1665" y="59"/>
                    <a:pt x="1664" y="59"/>
                    <a:pt x="1664" y="59"/>
                  </a:cubicBezTo>
                  <a:cubicBezTo>
                    <a:pt x="1664" y="59"/>
                    <a:pt x="1664" y="59"/>
                    <a:pt x="1664" y="59"/>
                  </a:cubicBezTo>
                  <a:cubicBezTo>
                    <a:pt x="1664" y="59"/>
                    <a:pt x="1664" y="59"/>
                    <a:pt x="1665" y="58"/>
                  </a:cubicBezTo>
                  <a:cubicBezTo>
                    <a:pt x="1665" y="58"/>
                    <a:pt x="1665" y="58"/>
                    <a:pt x="1665" y="58"/>
                  </a:cubicBezTo>
                  <a:cubicBezTo>
                    <a:pt x="1665" y="58"/>
                    <a:pt x="1665" y="58"/>
                    <a:pt x="1666" y="58"/>
                  </a:cubicBezTo>
                  <a:cubicBezTo>
                    <a:pt x="1666" y="58"/>
                    <a:pt x="1666" y="58"/>
                    <a:pt x="1666" y="58"/>
                  </a:cubicBezTo>
                  <a:cubicBezTo>
                    <a:pt x="1666" y="58"/>
                    <a:pt x="1666" y="58"/>
                    <a:pt x="1666" y="58"/>
                  </a:cubicBezTo>
                  <a:cubicBezTo>
                    <a:pt x="1666" y="58"/>
                    <a:pt x="1666" y="58"/>
                    <a:pt x="1667" y="58"/>
                  </a:cubicBezTo>
                  <a:close/>
                  <a:moveTo>
                    <a:pt x="1433" y="7"/>
                  </a:moveTo>
                  <a:cubicBezTo>
                    <a:pt x="1433" y="7"/>
                    <a:pt x="1433" y="7"/>
                    <a:pt x="1433" y="7"/>
                  </a:cubicBezTo>
                  <a:cubicBezTo>
                    <a:pt x="1433" y="7"/>
                    <a:pt x="1433" y="7"/>
                    <a:pt x="1433" y="7"/>
                  </a:cubicBezTo>
                  <a:cubicBezTo>
                    <a:pt x="1432" y="7"/>
                    <a:pt x="1432" y="7"/>
                    <a:pt x="1432" y="7"/>
                  </a:cubicBezTo>
                  <a:cubicBezTo>
                    <a:pt x="1432" y="7"/>
                    <a:pt x="1432" y="7"/>
                    <a:pt x="1431" y="7"/>
                  </a:cubicBezTo>
                  <a:cubicBezTo>
                    <a:pt x="1431" y="7"/>
                    <a:pt x="1431" y="7"/>
                    <a:pt x="1431" y="8"/>
                  </a:cubicBezTo>
                  <a:cubicBezTo>
                    <a:pt x="1431" y="8"/>
                    <a:pt x="1431" y="8"/>
                    <a:pt x="1431" y="8"/>
                  </a:cubicBezTo>
                  <a:cubicBezTo>
                    <a:pt x="1430" y="8"/>
                    <a:pt x="1430" y="8"/>
                    <a:pt x="1430" y="8"/>
                  </a:cubicBezTo>
                  <a:cubicBezTo>
                    <a:pt x="1430" y="8"/>
                    <a:pt x="1430" y="8"/>
                    <a:pt x="1430" y="8"/>
                  </a:cubicBezTo>
                  <a:cubicBezTo>
                    <a:pt x="1429" y="8"/>
                    <a:pt x="1429" y="8"/>
                    <a:pt x="1429" y="8"/>
                  </a:cubicBezTo>
                  <a:cubicBezTo>
                    <a:pt x="1429" y="8"/>
                    <a:pt x="1429" y="8"/>
                    <a:pt x="1429" y="8"/>
                  </a:cubicBezTo>
                  <a:cubicBezTo>
                    <a:pt x="1429" y="8"/>
                    <a:pt x="1428" y="8"/>
                    <a:pt x="1428" y="9"/>
                  </a:cubicBezTo>
                  <a:cubicBezTo>
                    <a:pt x="1428" y="9"/>
                    <a:pt x="1428" y="9"/>
                    <a:pt x="1428" y="9"/>
                  </a:cubicBezTo>
                  <a:cubicBezTo>
                    <a:pt x="1428" y="9"/>
                    <a:pt x="1428" y="9"/>
                    <a:pt x="1428" y="9"/>
                  </a:cubicBezTo>
                  <a:cubicBezTo>
                    <a:pt x="1428" y="9"/>
                    <a:pt x="1428" y="9"/>
                    <a:pt x="1428" y="9"/>
                  </a:cubicBezTo>
                  <a:cubicBezTo>
                    <a:pt x="1427" y="9"/>
                    <a:pt x="1427" y="9"/>
                    <a:pt x="1427" y="9"/>
                  </a:cubicBezTo>
                  <a:cubicBezTo>
                    <a:pt x="1427" y="9"/>
                    <a:pt x="1427" y="9"/>
                    <a:pt x="1427" y="9"/>
                  </a:cubicBezTo>
                  <a:cubicBezTo>
                    <a:pt x="1427" y="9"/>
                    <a:pt x="1427" y="10"/>
                    <a:pt x="1426" y="10"/>
                  </a:cubicBezTo>
                  <a:cubicBezTo>
                    <a:pt x="1426" y="10"/>
                    <a:pt x="1426" y="10"/>
                    <a:pt x="1426" y="10"/>
                  </a:cubicBezTo>
                  <a:cubicBezTo>
                    <a:pt x="1426" y="10"/>
                    <a:pt x="1426" y="10"/>
                    <a:pt x="1426" y="10"/>
                  </a:cubicBezTo>
                  <a:cubicBezTo>
                    <a:pt x="1426" y="10"/>
                    <a:pt x="1426" y="10"/>
                    <a:pt x="1426" y="10"/>
                  </a:cubicBezTo>
                  <a:cubicBezTo>
                    <a:pt x="1426" y="10"/>
                    <a:pt x="1425" y="10"/>
                    <a:pt x="1425" y="10"/>
                  </a:cubicBezTo>
                  <a:cubicBezTo>
                    <a:pt x="1425" y="10"/>
                    <a:pt x="1425" y="10"/>
                    <a:pt x="1425" y="10"/>
                  </a:cubicBezTo>
                  <a:cubicBezTo>
                    <a:pt x="1425" y="10"/>
                    <a:pt x="1425" y="11"/>
                    <a:pt x="1425" y="11"/>
                  </a:cubicBezTo>
                  <a:cubicBezTo>
                    <a:pt x="1425" y="11"/>
                    <a:pt x="1425" y="11"/>
                    <a:pt x="1425" y="11"/>
                  </a:cubicBezTo>
                  <a:cubicBezTo>
                    <a:pt x="1425" y="11"/>
                    <a:pt x="1424" y="11"/>
                    <a:pt x="1424" y="11"/>
                  </a:cubicBezTo>
                  <a:cubicBezTo>
                    <a:pt x="1424" y="11"/>
                    <a:pt x="1424" y="11"/>
                    <a:pt x="1424" y="11"/>
                  </a:cubicBezTo>
                  <a:cubicBezTo>
                    <a:pt x="1424" y="11"/>
                    <a:pt x="1424" y="11"/>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1" y="14"/>
                    <a:pt x="1421" y="14"/>
                    <a:pt x="1421" y="14"/>
                  </a:cubicBezTo>
                  <a:cubicBezTo>
                    <a:pt x="1421" y="14"/>
                    <a:pt x="1421" y="14"/>
                    <a:pt x="1421" y="14"/>
                  </a:cubicBezTo>
                  <a:cubicBezTo>
                    <a:pt x="1421" y="14"/>
                    <a:pt x="1421" y="14"/>
                    <a:pt x="1421" y="14"/>
                  </a:cubicBezTo>
                  <a:cubicBezTo>
                    <a:pt x="1421" y="14"/>
                    <a:pt x="1421" y="14"/>
                    <a:pt x="1421" y="14"/>
                  </a:cubicBezTo>
                  <a:cubicBezTo>
                    <a:pt x="1421" y="14"/>
                    <a:pt x="1421" y="14"/>
                    <a:pt x="1421" y="15"/>
                  </a:cubicBezTo>
                  <a:cubicBezTo>
                    <a:pt x="1421" y="15"/>
                    <a:pt x="1421" y="15"/>
                    <a:pt x="1421" y="15"/>
                  </a:cubicBezTo>
                  <a:cubicBezTo>
                    <a:pt x="1420" y="15"/>
                    <a:pt x="1420" y="15"/>
                    <a:pt x="1420" y="15"/>
                  </a:cubicBezTo>
                  <a:cubicBezTo>
                    <a:pt x="1420" y="15"/>
                    <a:pt x="1420" y="15"/>
                    <a:pt x="1420" y="15"/>
                  </a:cubicBezTo>
                  <a:cubicBezTo>
                    <a:pt x="1420" y="15"/>
                    <a:pt x="1420" y="16"/>
                    <a:pt x="1419" y="16"/>
                  </a:cubicBezTo>
                  <a:cubicBezTo>
                    <a:pt x="1419" y="16"/>
                    <a:pt x="1419" y="16"/>
                    <a:pt x="1419" y="16"/>
                  </a:cubicBezTo>
                  <a:cubicBezTo>
                    <a:pt x="1419" y="16"/>
                    <a:pt x="1419" y="16"/>
                    <a:pt x="1419" y="16"/>
                  </a:cubicBezTo>
                  <a:cubicBezTo>
                    <a:pt x="1419" y="16"/>
                    <a:pt x="1419" y="16"/>
                    <a:pt x="1419" y="16"/>
                  </a:cubicBezTo>
                  <a:cubicBezTo>
                    <a:pt x="1419" y="16"/>
                    <a:pt x="1419" y="16"/>
                    <a:pt x="1419" y="17"/>
                  </a:cubicBezTo>
                  <a:cubicBezTo>
                    <a:pt x="1419" y="17"/>
                    <a:pt x="1419" y="17"/>
                    <a:pt x="1419" y="17"/>
                  </a:cubicBezTo>
                  <a:cubicBezTo>
                    <a:pt x="1419" y="17"/>
                    <a:pt x="1419" y="17"/>
                    <a:pt x="1418" y="17"/>
                  </a:cubicBezTo>
                  <a:cubicBezTo>
                    <a:pt x="1418" y="17"/>
                    <a:pt x="1418" y="17"/>
                    <a:pt x="1418" y="17"/>
                  </a:cubicBezTo>
                  <a:cubicBezTo>
                    <a:pt x="1418" y="17"/>
                    <a:pt x="1418" y="18"/>
                    <a:pt x="1418" y="18"/>
                  </a:cubicBezTo>
                  <a:cubicBezTo>
                    <a:pt x="1418" y="18"/>
                    <a:pt x="1418" y="18"/>
                    <a:pt x="1418" y="18"/>
                  </a:cubicBezTo>
                  <a:cubicBezTo>
                    <a:pt x="1418" y="18"/>
                    <a:pt x="1418" y="18"/>
                    <a:pt x="1418" y="18"/>
                  </a:cubicBezTo>
                  <a:cubicBezTo>
                    <a:pt x="1418" y="18"/>
                    <a:pt x="1418" y="18"/>
                    <a:pt x="1418" y="18"/>
                  </a:cubicBezTo>
                  <a:cubicBezTo>
                    <a:pt x="1418" y="18"/>
                    <a:pt x="1417" y="19"/>
                    <a:pt x="1417" y="19"/>
                  </a:cubicBezTo>
                  <a:cubicBezTo>
                    <a:pt x="1417" y="19"/>
                    <a:pt x="1417" y="19"/>
                    <a:pt x="1417" y="19"/>
                  </a:cubicBezTo>
                  <a:cubicBezTo>
                    <a:pt x="1417" y="19"/>
                    <a:pt x="1417" y="19"/>
                    <a:pt x="1417" y="19"/>
                  </a:cubicBezTo>
                  <a:cubicBezTo>
                    <a:pt x="1417" y="19"/>
                    <a:pt x="1417" y="19"/>
                    <a:pt x="1417" y="19"/>
                  </a:cubicBezTo>
                  <a:cubicBezTo>
                    <a:pt x="1417" y="20"/>
                    <a:pt x="1417" y="20"/>
                    <a:pt x="1417" y="20"/>
                  </a:cubicBezTo>
                  <a:cubicBezTo>
                    <a:pt x="1417" y="20"/>
                    <a:pt x="1417" y="20"/>
                    <a:pt x="1417" y="20"/>
                  </a:cubicBezTo>
                  <a:cubicBezTo>
                    <a:pt x="1417" y="20"/>
                    <a:pt x="1416" y="20"/>
                    <a:pt x="1416" y="21"/>
                  </a:cubicBezTo>
                  <a:cubicBezTo>
                    <a:pt x="1416" y="21"/>
                    <a:pt x="1416" y="21"/>
                    <a:pt x="1416" y="21"/>
                  </a:cubicBezTo>
                  <a:cubicBezTo>
                    <a:pt x="1416" y="21"/>
                    <a:pt x="1416" y="21"/>
                    <a:pt x="1416" y="21"/>
                  </a:cubicBezTo>
                  <a:cubicBezTo>
                    <a:pt x="1416" y="21"/>
                    <a:pt x="1416" y="21"/>
                    <a:pt x="1416" y="21"/>
                  </a:cubicBezTo>
                  <a:cubicBezTo>
                    <a:pt x="1416" y="21"/>
                    <a:pt x="1416" y="21"/>
                    <a:pt x="1416" y="21"/>
                  </a:cubicBezTo>
                  <a:cubicBezTo>
                    <a:pt x="1416" y="21"/>
                    <a:pt x="1416" y="22"/>
                    <a:pt x="1416" y="22"/>
                  </a:cubicBezTo>
                  <a:cubicBezTo>
                    <a:pt x="1416" y="22"/>
                    <a:pt x="1416" y="22"/>
                    <a:pt x="1416" y="22"/>
                  </a:cubicBezTo>
                  <a:cubicBezTo>
                    <a:pt x="1415" y="22"/>
                    <a:pt x="1415" y="22"/>
                    <a:pt x="1415" y="23"/>
                  </a:cubicBezTo>
                  <a:cubicBezTo>
                    <a:pt x="1415" y="23"/>
                    <a:pt x="1415" y="23"/>
                    <a:pt x="1415" y="23"/>
                  </a:cubicBezTo>
                  <a:cubicBezTo>
                    <a:pt x="1415" y="23"/>
                    <a:pt x="1415" y="23"/>
                    <a:pt x="1415" y="23"/>
                  </a:cubicBezTo>
                  <a:cubicBezTo>
                    <a:pt x="1415" y="23"/>
                    <a:pt x="1415" y="23"/>
                    <a:pt x="1415" y="23"/>
                  </a:cubicBezTo>
                  <a:cubicBezTo>
                    <a:pt x="1415" y="24"/>
                    <a:pt x="1415" y="24"/>
                    <a:pt x="1415" y="24"/>
                  </a:cubicBezTo>
                  <a:cubicBezTo>
                    <a:pt x="1415" y="24"/>
                    <a:pt x="1415" y="24"/>
                    <a:pt x="1415" y="24"/>
                  </a:cubicBezTo>
                  <a:cubicBezTo>
                    <a:pt x="1415" y="24"/>
                    <a:pt x="1415" y="24"/>
                    <a:pt x="1415" y="24"/>
                  </a:cubicBezTo>
                  <a:cubicBezTo>
                    <a:pt x="1414" y="24"/>
                    <a:pt x="1414" y="25"/>
                    <a:pt x="1414" y="25"/>
                  </a:cubicBezTo>
                  <a:cubicBezTo>
                    <a:pt x="1414" y="25"/>
                    <a:pt x="1414" y="25"/>
                    <a:pt x="1414" y="25"/>
                  </a:cubicBezTo>
                  <a:cubicBezTo>
                    <a:pt x="1414" y="25"/>
                    <a:pt x="1414" y="26"/>
                    <a:pt x="1414" y="26"/>
                  </a:cubicBezTo>
                  <a:cubicBezTo>
                    <a:pt x="1414" y="26"/>
                    <a:pt x="1414" y="26"/>
                    <a:pt x="1414" y="26"/>
                  </a:cubicBezTo>
                  <a:cubicBezTo>
                    <a:pt x="1414" y="26"/>
                    <a:pt x="1414" y="27"/>
                    <a:pt x="1414" y="27"/>
                  </a:cubicBezTo>
                  <a:cubicBezTo>
                    <a:pt x="1414" y="27"/>
                    <a:pt x="1414" y="27"/>
                    <a:pt x="1414" y="27"/>
                  </a:cubicBezTo>
                  <a:cubicBezTo>
                    <a:pt x="1413" y="27"/>
                    <a:pt x="1413" y="28"/>
                    <a:pt x="1413" y="28"/>
                  </a:cubicBezTo>
                  <a:cubicBezTo>
                    <a:pt x="1413" y="28"/>
                    <a:pt x="1413" y="28"/>
                    <a:pt x="1413" y="28"/>
                  </a:cubicBezTo>
                  <a:cubicBezTo>
                    <a:pt x="1413" y="28"/>
                    <a:pt x="1413" y="29"/>
                    <a:pt x="1413" y="29"/>
                  </a:cubicBezTo>
                  <a:cubicBezTo>
                    <a:pt x="1413" y="29"/>
                    <a:pt x="1413" y="29"/>
                    <a:pt x="1413" y="29"/>
                  </a:cubicBezTo>
                  <a:cubicBezTo>
                    <a:pt x="1413" y="29"/>
                    <a:pt x="1413" y="30"/>
                    <a:pt x="1413" y="30"/>
                  </a:cubicBezTo>
                  <a:cubicBezTo>
                    <a:pt x="1413" y="30"/>
                    <a:pt x="1413" y="30"/>
                    <a:pt x="1413" y="30"/>
                  </a:cubicBezTo>
                  <a:cubicBezTo>
                    <a:pt x="1413" y="30"/>
                    <a:pt x="1413" y="30"/>
                    <a:pt x="1413" y="30"/>
                  </a:cubicBezTo>
                  <a:cubicBezTo>
                    <a:pt x="1412" y="30"/>
                    <a:pt x="1412" y="31"/>
                    <a:pt x="1412" y="31"/>
                  </a:cubicBezTo>
                  <a:cubicBezTo>
                    <a:pt x="1412" y="31"/>
                    <a:pt x="1412" y="31"/>
                    <a:pt x="1412" y="32"/>
                  </a:cubicBezTo>
                  <a:cubicBezTo>
                    <a:pt x="1412" y="32"/>
                    <a:pt x="1412" y="32"/>
                    <a:pt x="1412" y="33"/>
                  </a:cubicBezTo>
                  <a:cubicBezTo>
                    <a:pt x="1412" y="33"/>
                    <a:pt x="1412" y="33"/>
                    <a:pt x="1412" y="33"/>
                  </a:cubicBezTo>
                  <a:cubicBezTo>
                    <a:pt x="1411" y="33"/>
                    <a:pt x="1412" y="34"/>
                    <a:pt x="1412" y="34"/>
                  </a:cubicBezTo>
                  <a:cubicBezTo>
                    <a:pt x="1412" y="34"/>
                    <a:pt x="1412" y="34"/>
                    <a:pt x="1411" y="34"/>
                  </a:cubicBezTo>
                  <a:cubicBezTo>
                    <a:pt x="1411" y="35"/>
                    <a:pt x="1411" y="35"/>
                    <a:pt x="1411" y="36"/>
                  </a:cubicBezTo>
                  <a:cubicBezTo>
                    <a:pt x="1411" y="36"/>
                    <a:pt x="1411" y="36"/>
                    <a:pt x="1411" y="36"/>
                  </a:cubicBezTo>
                  <a:cubicBezTo>
                    <a:pt x="1411" y="37"/>
                    <a:pt x="1411" y="37"/>
                    <a:pt x="1411" y="38"/>
                  </a:cubicBezTo>
                  <a:cubicBezTo>
                    <a:pt x="1411" y="38"/>
                    <a:pt x="1411" y="38"/>
                    <a:pt x="1411" y="38"/>
                  </a:cubicBezTo>
                  <a:cubicBezTo>
                    <a:pt x="1410" y="38"/>
                    <a:pt x="1411" y="39"/>
                    <a:pt x="1410" y="40"/>
                  </a:cubicBezTo>
                  <a:cubicBezTo>
                    <a:pt x="1410" y="40"/>
                    <a:pt x="1410" y="40"/>
                    <a:pt x="1410" y="40"/>
                  </a:cubicBezTo>
                  <a:cubicBezTo>
                    <a:pt x="1410" y="41"/>
                    <a:pt x="1410" y="42"/>
                    <a:pt x="1410" y="42"/>
                  </a:cubicBezTo>
                  <a:cubicBezTo>
                    <a:pt x="1410" y="42"/>
                    <a:pt x="1410" y="43"/>
                    <a:pt x="1410" y="43"/>
                  </a:cubicBezTo>
                  <a:cubicBezTo>
                    <a:pt x="1410" y="44"/>
                    <a:pt x="1410" y="45"/>
                    <a:pt x="1410" y="46"/>
                  </a:cubicBezTo>
                  <a:cubicBezTo>
                    <a:pt x="1410" y="46"/>
                    <a:pt x="1410" y="46"/>
                    <a:pt x="1410" y="47"/>
                  </a:cubicBezTo>
                  <a:cubicBezTo>
                    <a:pt x="1409" y="48"/>
                    <a:pt x="1410" y="50"/>
                    <a:pt x="1409" y="52"/>
                  </a:cubicBezTo>
                  <a:cubicBezTo>
                    <a:pt x="1409" y="55"/>
                    <a:pt x="1409" y="58"/>
                    <a:pt x="1409" y="61"/>
                  </a:cubicBezTo>
                  <a:cubicBezTo>
                    <a:pt x="1410" y="62"/>
                    <a:pt x="1409" y="64"/>
                    <a:pt x="1410" y="65"/>
                  </a:cubicBezTo>
                  <a:cubicBezTo>
                    <a:pt x="1410" y="66"/>
                    <a:pt x="1410" y="66"/>
                    <a:pt x="1410" y="66"/>
                  </a:cubicBezTo>
                  <a:cubicBezTo>
                    <a:pt x="1410" y="67"/>
                    <a:pt x="1410" y="68"/>
                    <a:pt x="1410" y="69"/>
                  </a:cubicBezTo>
                  <a:cubicBezTo>
                    <a:pt x="1410" y="69"/>
                    <a:pt x="1410" y="69"/>
                    <a:pt x="1410" y="69"/>
                  </a:cubicBezTo>
                  <a:cubicBezTo>
                    <a:pt x="1411" y="70"/>
                    <a:pt x="1410" y="71"/>
                    <a:pt x="1410" y="72"/>
                  </a:cubicBezTo>
                  <a:cubicBezTo>
                    <a:pt x="1411" y="72"/>
                    <a:pt x="1411" y="72"/>
                    <a:pt x="1410" y="72"/>
                  </a:cubicBezTo>
                  <a:cubicBezTo>
                    <a:pt x="1411" y="72"/>
                    <a:pt x="1410" y="73"/>
                    <a:pt x="1411" y="74"/>
                  </a:cubicBezTo>
                  <a:cubicBezTo>
                    <a:pt x="1411" y="74"/>
                    <a:pt x="1411" y="74"/>
                    <a:pt x="1411" y="74"/>
                  </a:cubicBezTo>
                  <a:cubicBezTo>
                    <a:pt x="1411" y="74"/>
                    <a:pt x="1411" y="75"/>
                    <a:pt x="1411" y="75"/>
                  </a:cubicBezTo>
                  <a:cubicBezTo>
                    <a:pt x="1411" y="75"/>
                    <a:pt x="1411" y="76"/>
                    <a:pt x="1411" y="76"/>
                  </a:cubicBezTo>
                  <a:cubicBezTo>
                    <a:pt x="1411" y="76"/>
                    <a:pt x="1411" y="77"/>
                    <a:pt x="1411" y="77"/>
                  </a:cubicBezTo>
                  <a:cubicBezTo>
                    <a:pt x="1411" y="77"/>
                    <a:pt x="1411" y="77"/>
                    <a:pt x="1411" y="77"/>
                  </a:cubicBezTo>
                  <a:cubicBezTo>
                    <a:pt x="1412" y="78"/>
                    <a:pt x="1411" y="78"/>
                    <a:pt x="1412" y="79"/>
                  </a:cubicBezTo>
                  <a:cubicBezTo>
                    <a:pt x="1412" y="79"/>
                    <a:pt x="1412" y="79"/>
                    <a:pt x="1412" y="79"/>
                  </a:cubicBezTo>
                  <a:cubicBezTo>
                    <a:pt x="1412" y="79"/>
                    <a:pt x="1412" y="79"/>
                    <a:pt x="1412" y="80"/>
                  </a:cubicBezTo>
                  <a:cubicBezTo>
                    <a:pt x="1412" y="80"/>
                    <a:pt x="1412" y="80"/>
                    <a:pt x="1412" y="80"/>
                  </a:cubicBezTo>
                  <a:cubicBezTo>
                    <a:pt x="1412" y="80"/>
                    <a:pt x="1412" y="81"/>
                    <a:pt x="1413" y="81"/>
                  </a:cubicBezTo>
                  <a:cubicBezTo>
                    <a:pt x="1413" y="81"/>
                    <a:pt x="1413" y="81"/>
                    <a:pt x="1413" y="81"/>
                  </a:cubicBezTo>
                  <a:cubicBezTo>
                    <a:pt x="1413" y="81"/>
                    <a:pt x="1413" y="82"/>
                    <a:pt x="1413" y="82"/>
                  </a:cubicBezTo>
                  <a:cubicBezTo>
                    <a:pt x="1413" y="82"/>
                    <a:pt x="1413" y="82"/>
                    <a:pt x="1413" y="82"/>
                  </a:cubicBezTo>
                  <a:cubicBezTo>
                    <a:pt x="1413" y="82"/>
                    <a:pt x="1413" y="83"/>
                    <a:pt x="1413" y="83"/>
                  </a:cubicBezTo>
                  <a:cubicBezTo>
                    <a:pt x="1413" y="83"/>
                    <a:pt x="1413" y="83"/>
                    <a:pt x="1413" y="83"/>
                  </a:cubicBezTo>
                  <a:cubicBezTo>
                    <a:pt x="1413" y="83"/>
                    <a:pt x="1413" y="84"/>
                    <a:pt x="1414" y="84"/>
                  </a:cubicBezTo>
                  <a:cubicBezTo>
                    <a:pt x="1414" y="84"/>
                    <a:pt x="1414" y="84"/>
                    <a:pt x="1414" y="84"/>
                  </a:cubicBezTo>
                  <a:cubicBezTo>
                    <a:pt x="1414" y="84"/>
                    <a:pt x="1414" y="85"/>
                    <a:pt x="1414" y="85"/>
                  </a:cubicBezTo>
                  <a:cubicBezTo>
                    <a:pt x="1414" y="85"/>
                    <a:pt x="1414" y="85"/>
                    <a:pt x="1414" y="85"/>
                  </a:cubicBezTo>
                  <a:cubicBezTo>
                    <a:pt x="1414" y="85"/>
                    <a:pt x="1414" y="85"/>
                    <a:pt x="1414" y="85"/>
                  </a:cubicBezTo>
                  <a:cubicBezTo>
                    <a:pt x="1414" y="86"/>
                    <a:pt x="1414" y="86"/>
                    <a:pt x="1414" y="86"/>
                  </a:cubicBezTo>
                  <a:cubicBezTo>
                    <a:pt x="1414" y="86"/>
                    <a:pt x="1414" y="86"/>
                    <a:pt x="1414" y="86"/>
                  </a:cubicBezTo>
                  <a:cubicBezTo>
                    <a:pt x="1414" y="86"/>
                    <a:pt x="1414" y="86"/>
                    <a:pt x="1415" y="87"/>
                  </a:cubicBezTo>
                  <a:cubicBezTo>
                    <a:pt x="1415" y="86"/>
                    <a:pt x="1415" y="86"/>
                    <a:pt x="1415" y="86"/>
                  </a:cubicBezTo>
                  <a:cubicBezTo>
                    <a:pt x="1415" y="87"/>
                    <a:pt x="1415" y="87"/>
                    <a:pt x="1415" y="87"/>
                  </a:cubicBezTo>
                  <a:cubicBezTo>
                    <a:pt x="1415" y="87"/>
                    <a:pt x="1415" y="87"/>
                    <a:pt x="1415" y="87"/>
                  </a:cubicBezTo>
                  <a:cubicBezTo>
                    <a:pt x="1415" y="87"/>
                    <a:pt x="1415" y="88"/>
                    <a:pt x="1415" y="88"/>
                  </a:cubicBezTo>
                  <a:cubicBezTo>
                    <a:pt x="1415" y="88"/>
                    <a:pt x="1415" y="88"/>
                    <a:pt x="1415" y="88"/>
                  </a:cubicBezTo>
                  <a:cubicBezTo>
                    <a:pt x="1416" y="88"/>
                    <a:pt x="1415" y="88"/>
                    <a:pt x="1416" y="89"/>
                  </a:cubicBezTo>
                  <a:cubicBezTo>
                    <a:pt x="1416" y="89"/>
                    <a:pt x="1416" y="89"/>
                    <a:pt x="1416" y="89"/>
                  </a:cubicBezTo>
                  <a:cubicBezTo>
                    <a:pt x="1416" y="89"/>
                    <a:pt x="1416" y="89"/>
                    <a:pt x="1416" y="89"/>
                  </a:cubicBezTo>
                  <a:cubicBezTo>
                    <a:pt x="1416" y="89"/>
                    <a:pt x="1416" y="89"/>
                    <a:pt x="1416" y="89"/>
                  </a:cubicBezTo>
                  <a:cubicBezTo>
                    <a:pt x="1416" y="89"/>
                    <a:pt x="1416" y="90"/>
                    <a:pt x="1416" y="90"/>
                  </a:cubicBezTo>
                  <a:cubicBezTo>
                    <a:pt x="1416" y="90"/>
                    <a:pt x="1416" y="90"/>
                    <a:pt x="1416" y="90"/>
                  </a:cubicBezTo>
                  <a:cubicBezTo>
                    <a:pt x="1417" y="90"/>
                    <a:pt x="1417" y="90"/>
                    <a:pt x="1417" y="90"/>
                  </a:cubicBezTo>
                  <a:cubicBezTo>
                    <a:pt x="1417" y="90"/>
                    <a:pt x="1417" y="90"/>
                    <a:pt x="1417" y="90"/>
                  </a:cubicBezTo>
                  <a:cubicBezTo>
                    <a:pt x="1417" y="91"/>
                    <a:pt x="1417" y="91"/>
                    <a:pt x="1417" y="91"/>
                  </a:cubicBezTo>
                  <a:cubicBezTo>
                    <a:pt x="1417" y="91"/>
                    <a:pt x="1417" y="91"/>
                    <a:pt x="1417" y="91"/>
                  </a:cubicBezTo>
                  <a:cubicBezTo>
                    <a:pt x="1417" y="91"/>
                    <a:pt x="1417" y="91"/>
                    <a:pt x="1417" y="91"/>
                  </a:cubicBezTo>
                  <a:cubicBezTo>
                    <a:pt x="1417" y="91"/>
                    <a:pt x="1417" y="91"/>
                    <a:pt x="1417" y="91"/>
                  </a:cubicBezTo>
                  <a:cubicBezTo>
                    <a:pt x="1418" y="92"/>
                    <a:pt x="1418" y="92"/>
                    <a:pt x="1418" y="92"/>
                  </a:cubicBezTo>
                  <a:cubicBezTo>
                    <a:pt x="1418" y="92"/>
                    <a:pt x="1418" y="92"/>
                    <a:pt x="1418" y="92"/>
                  </a:cubicBezTo>
                  <a:cubicBezTo>
                    <a:pt x="1418" y="92"/>
                    <a:pt x="1418" y="92"/>
                    <a:pt x="1418" y="92"/>
                  </a:cubicBezTo>
                  <a:cubicBezTo>
                    <a:pt x="1418" y="92"/>
                    <a:pt x="1418" y="92"/>
                    <a:pt x="1418" y="92"/>
                  </a:cubicBezTo>
                  <a:cubicBezTo>
                    <a:pt x="1418" y="93"/>
                    <a:pt x="1419" y="93"/>
                    <a:pt x="1419" y="93"/>
                  </a:cubicBezTo>
                  <a:cubicBezTo>
                    <a:pt x="1419" y="93"/>
                    <a:pt x="1419" y="93"/>
                    <a:pt x="1419" y="93"/>
                  </a:cubicBezTo>
                  <a:cubicBezTo>
                    <a:pt x="1419" y="94"/>
                    <a:pt x="1419" y="94"/>
                    <a:pt x="1419" y="94"/>
                  </a:cubicBezTo>
                  <a:cubicBezTo>
                    <a:pt x="1419" y="94"/>
                    <a:pt x="1419" y="94"/>
                    <a:pt x="1419" y="94"/>
                  </a:cubicBezTo>
                  <a:cubicBezTo>
                    <a:pt x="1419" y="94"/>
                    <a:pt x="1419" y="94"/>
                    <a:pt x="1419" y="94"/>
                  </a:cubicBezTo>
                  <a:cubicBezTo>
                    <a:pt x="1419" y="94"/>
                    <a:pt x="1419" y="94"/>
                    <a:pt x="1419" y="94"/>
                  </a:cubicBezTo>
                  <a:cubicBezTo>
                    <a:pt x="1420" y="94"/>
                    <a:pt x="1420" y="95"/>
                    <a:pt x="1420" y="95"/>
                  </a:cubicBezTo>
                  <a:cubicBezTo>
                    <a:pt x="1420" y="95"/>
                    <a:pt x="1420" y="95"/>
                    <a:pt x="1420" y="95"/>
                  </a:cubicBezTo>
                  <a:cubicBezTo>
                    <a:pt x="1420" y="95"/>
                    <a:pt x="1420" y="95"/>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7"/>
                    <a:pt x="1422" y="97"/>
                  </a:cubicBezTo>
                  <a:cubicBezTo>
                    <a:pt x="1422" y="97"/>
                    <a:pt x="1422" y="97"/>
                    <a:pt x="1422" y="97"/>
                  </a:cubicBezTo>
                  <a:cubicBezTo>
                    <a:pt x="1422" y="97"/>
                    <a:pt x="1422" y="97"/>
                    <a:pt x="1422" y="97"/>
                  </a:cubicBezTo>
                  <a:cubicBezTo>
                    <a:pt x="1422" y="97"/>
                    <a:pt x="1422" y="97"/>
                    <a:pt x="1422" y="97"/>
                  </a:cubicBezTo>
                  <a:cubicBezTo>
                    <a:pt x="1422" y="97"/>
                    <a:pt x="1423" y="97"/>
                    <a:pt x="1423" y="98"/>
                  </a:cubicBezTo>
                  <a:cubicBezTo>
                    <a:pt x="1423" y="98"/>
                    <a:pt x="1423" y="98"/>
                    <a:pt x="1423" y="98"/>
                  </a:cubicBezTo>
                  <a:cubicBezTo>
                    <a:pt x="1423" y="98"/>
                    <a:pt x="1423" y="98"/>
                    <a:pt x="1423" y="98"/>
                  </a:cubicBezTo>
                  <a:cubicBezTo>
                    <a:pt x="1423" y="98"/>
                    <a:pt x="1423" y="98"/>
                    <a:pt x="1423" y="98"/>
                  </a:cubicBezTo>
                  <a:cubicBezTo>
                    <a:pt x="1423" y="98"/>
                    <a:pt x="1424" y="98"/>
                    <a:pt x="1424" y="98"/>
                  </a:cubicBezTo>
                  <a:cubicBezTo>
                    <a:pt x="1424" y="98"/>
                    <a:pt x="1424" y="98"/>
                    <a:pt x="1424" y="98"/>
                  </a:cubicBezTo>
                  <a:cubicBezTo>
                    <a:pt x="1424" y="99"/>
                    <a:pt x="1424" y="99"/>
                    <a:pt x="1425" y="99"/>
                  </a:cubicBezTo>
                  <a:cubicBezTo>
                    <a:pt x="1425" y="99"/>
                    <a:pt x="1425" y="99"/>
                    <a:pt x="1425" y="99"/>
                  </a:cubicBezTo>
                  <a:cubicBezTo>
                    <a:pt x="1425" y="99"/>
                    <a:pt x="1425" y="99"/>
                    <a:pt x="1425" y="99"/>
                  </a:cubicBezTo>
                  <a:cubicBezTo>
                    <a:pt x="1425" y="99"/>
                    <a:pt x="1425" y="99"/>
                    <a:pt x="1425" y="99"/>
                  </a:cubicBezTo>
                  <a:cubicBezTo>
                    <a:pt x="1425" y="100"/>
                    <a:pt x="1426" y="100"/>
                    <a:pt x="1426" y="100"/>
                  </a:cubicBezTo>
                  <a:cubicBezTo>
                    <a:pt x="1426" y="100"/>
                    <a:pt x="1426" y="100"/>
                    <a:pt x="1426" y="100"/>
                  </a:cubicBezTo>
                  <a:cubicBezTo>
                    <a:pt x="1426" y="100"/>
                    <a:pt x="1426" y="100"/>
                    <a:pt x="1426" y="100"/>
                  </a:cubicBezTo>
                  <a:cubicBezTo>
                    <a:pt x="1426" y="100"/>
                    <a:pt x="1426" y="100"/>
                    <a:pt x="1426" y="100"/>
                  </a:cubicBezTo>
                  <a:cubicBezTo>
                    <a:pt x="1427" y="100"/>
                    <a:pt x="1427" y="100"/>
                    <a:pt x="1427" y="100"/>
                  </a:cubicBezTo>
                  <a:cubicBezTo>
                    <a:pt x="1427" y="100"/>
                    <a:pt x="1427" y="100"/>
                    <a:pt x="1427" y="100"/>
                  </a:cubicBezTo>
                  <a:cubicBezTo>
                    <a:pt x="1427" y="101"/>
                    <a:pt x="1428" y="101"/>
                    <a:pt x="1428" y="101"/>
                  </a:cubicBezTo>
                  <a:cubicBezTo>
                    <a:pt x="1428" y="101"/>
                    <a:pt x="1428" y="101"/>
                    <a:pt x="1428" y="101"/>
                  </a:cubicBezTo>
                  <a:cubicBezTo>
                    <a:pt x="1428" y="101"/>
                    <a:pt x="1428" y="101"/>
                    <a:pt x="1429" y="101"/>
                  </a:cubicBezTo>
                  <a:cubicBezTo>
                    <a:pt x="1429" y="101"/>
                    <a:pt x="1429" y="101"/>
                    <a:pt x="1429" y="101"/>
                  </a:cubicBezTo>
                  <a:cubicBezTo>
                    <a:pt x="1429" y="101"/>
                    <a:pt x="1429" y="101"/>
                    <a:pt x="1429" y="101"/>
                  </a:cubicBezTo>
                  <a:cubicBezTo>
                    <a:pt x="1429" y="101"/>
                    <a:pt x="1429" y="101"/>
                    <a:pt x="1429" y="101"/>
                  </a:cubicBezTo>
                  <a:cubicBezTo>
                    <a:pt x="1430" y="102"/>
                    <a:pt x="1430" y="102"/>
                    <a:pt x="1430" y="102"/>
                  </a:cubicBezTo>
                  <a:cubicBezTo>
                    <a:pt x="1430" y="102"/>
                    <a:pt x="1430" y="102"/>
                    <a:pt x="1430" y="102"/>
                  </a:cubicBezTo>
                  <a:cubicBezTo>
                    <a:pt x="1431" y="102"/>
                    <a:pt x="1431" y="102"/>
                    <a:pt x="1431" y="102"/>
                  </a:cubicBezTo>
                  <a:cubicBezTo>
                    <a:pt x="1431" y="102"/>
                    <a:pt x="1431" y="102"/>
                    <a:pt x="1431" y="102"/>
                  </a:cubicBezTo>
                  <a:cubicBezTo>
                    <a:pt x="1432" y="103"/>
                    <a:pt x="1432" y="102"/>
                    <a:pt x="1433" y="103"/>
                  </a:cubicBezTo>
                  <a:cubicBezTo>
                    <a:pt x="1433" y="103"/>
                    <a:pt x="1433" y="103"/>
                    <a:pt x="1433" y="103"/>
                  </a:cubicBezTo>
                  <a:cubicBezTo>
                    <a:pt x="1433" y="103"/>
                    <a:pt x="1433" y="103"/>
                    <a:pt x="1433" y="103"/>
                  </a:cubicBezTo>
                  <a:cubicBezTo>
                    <a:pt x="1434" y="103"/>
                    <a:pt x="1434" y="103"/>
                    <a:pt x="1435" y="103"/>
                  </a:cubicBezTo>
                  <a:cubicBezTo>
                    <a:pt x="1435" y="103"/>
                    <a:pt x="1435" y="103"/>
                    <a:pt x="1435" y="103"/>
                  </a:cubicBezTo>
                  <a:cubicBezTo>
                    <a:pt x="1435" y="103"/>
                    <a:pt x="1435" y="103"/>
                    <a:pt x="1435" y="103"/>
                  </a:cubicBezTo>
                  <a:cubicBezTo>
                    <a:pt x="1436" y="103"/>
                    <a:pt x="1437" y="103"/>
                    <a:pt x="1438" y="103"/>
                  </a:cubicBezTo>
                  <a:cubicBezTo>
                    <a:pt x="1439" y="103"/>
                    <a:pt x="1440" y="103"/>
                    <a:pt x="1441" y="103"/>
                  </a:cubicBezTo>
                  <a:cubicBezTo>
                    <a:pt x="1442" y="103"/>
                    <a:pt x="1443" y="103"/>
                    <a:pt x="1444" y="103"/>
                  </a:cubicBezTo>
                  <a:cubicBezTo>
                    <a:pt x="1444" y="103"/>
                    <a:pt x="1444" y="103"/>
                    <a:pt x="1444" y="103"/>
                  </a:cubicBezTo>
                  <a:cubicBezTo>
                    <a:pt x="1444" y="103"/>
                    <a:pt x="1444" y="103"/>
                    <a:pt x="1444" y="103"/>
                  </a:cubicBezTo>
                  <a:cubicBezTo>
                    <a:pt x="1445" y="103"/>
                    <a:pt x="1445" y="103"/>
                    <a:pt x="1446" y="103"/>
                  </a:cubicBezTo>
                  <a:cubicBezTo>
                    <a:pt x="1446" y="103"/>
                    <a:pt x="1446" y="103"/>
                    <a:pt x="1446" y="103"/>
                  </a:cubicBezTo>
                  <a:cubicBezTo>
                    <a:pt x="1446" y="103"/>
                    <a:pt x="1446" y="103"/>
                    <a:pt x="1446" y="103"/>
                  </a:cubicBezTo>
                  <a:cubicBezTo>
                    <a:pt x="1446" y="102"/>
                    <a:pt x="1447" y="103"/>
                    <a:pt x="1447" y="102"/>
                  </a:cubicBezTo>
                  <a:cubicBezTo>
                    <a:pt x="1447" y="102"/>
                    <a:pt x="1447" y="102"/>
                    <a:pt x="1447" y="102"/>
                  </a:cubicBezTo>
                  <a:cubicBezTo>
                    <a:pt x="1448" y="102"/>
                    <a:pt x="1448" y="102"/>
                    <a:pt x="1448" y="102"/>
                  </a:cubicBezTo>
                  <a:cubicBezTo>
                    <a:pt x="1448" y="102"/>
                    <a:pt x="1448" y="102"/>
                    <a:pt x="1448" y="102"/>
                  </a:cubicBezTo>
                  <a:cubicBezTo>
                    <a:pt x="1449" y="102"/>
                    <a:pt x="1449" y="102"/>
                    <a:pt x="1449" y="102"/>
                  </a:cubicBezTo>
                  <a:cubicBezTo>
                    <a:pt x="1449" y="102"/>
                    <a:pt x="1449" y="102"/>
                    <a:pt x="1449" y="101"/>
                  </a:cubicBezTo>
                  <a:cubicBezTo>
                    <a:pt x="1449" y="102"/>
                    <a:pt x="1449" y="102"/>
                    <a:pt x="1449" y="102"/>
                  </a:cubicBezTo>
                  <a:cubicBezTo>
                    <a:pt x="1450" y="101"/>
                    <a:pt x="1450" y="101"/>
                    <a:pt x="1450" y="101"/>
                  </a:cubicBezTo>
                  <a:cubicBezTo>
                    <a:pt x="1450" y="101"/>
                    <a:pt x="1450" y="101"/>
                    <a:pt x="1450" y="101"/>
                  </a:cubicBezTo>
                  <a:cubicBezTo>
                    <a:pt x="1450" y="101"/>
                    <a:pt x="1450" y="101"/>
                    <a:pt x="1450" y="101"/>
                  </a:cubicBezTo>
                  <a:cubicBezTo>
                    <a:pt x="1451" y="101"/>
                    <a:pt x="1451" y="101"/>
                    <a:pt x="1451" y="101"/>
                  </a:cubicBezTo>
                  <a:cubicBezTo>
                    <a:pt x="1451" y="101"/>
                    <a:pt x="1451" y="101"/>
                    <a:pt x="1451" y="101"/>
                  </a:cubicBezTo>
                  <a:cubicBezTo>
                    <a:pt x="1451" y="101"/>
                    <a:pt x="1452" y="101"/>
                    <a:pt x="1452" y="100"/>
                  </a:cubicBezTo>
                  <a:cubicBezTo>
                    <a:pt x="1452" y="100"/>
                    <a:pt x="1452" y="100"/>
                    <a:pt x="1452" y="100"/>
                  </a:cubicBezTo>
                  <a:cubicBezTo>
                    <a:pt x="1452" y="100"/>
                    <a:pt x="1452" y="100"/>
                    <a:pt x="1453" y="100"/>
                  </a:cubicBezTo>
                  <a:cubicBezTo>
                    <a:pt x="1453" y="100"/>
                    <a:pt x="1453" y="100"/>
                    <a:pt x="1453" y="100"/>
                  </a:cubicBezTo>
                  <a:cubicBezTo>
                    <a:pt x="1453" y="100"/>
                    <a:pt x="1453" y="100"/>
                    <a:pt x="1453" y="100"/>
                  </a:cubicBezTo>
                  <a:cubicBezTo>
                    <a:pt x="1453" y="100"/>
                    <a:pt x="1453" y="100"/>
                    <a:pt x="1453" y="100"/>
                  </a:cubicBezTo>
                  <a:cubicBezTo>
                    <a:pt x="1453" y="100"/>
                    <a:pt x="1453" y="100"/>
                    <a:pt x="1454" y="99"/>
                  </a:cubicBezTo>
                  <a:cubicBezTo>
                    <a:pt x="1454" y="99"/>
                    <a:pt x="1454" y="99"/>
                    <a:pt x="1454" y="99"/>
                  </a:cubicBezTo>
                  <a:cubicBezTo>
                    <a:pt x="1454" y="99"/>
                    <a:pt x="1454" y="99"/>
                    <a:pt x="1454" y="99"/>
                  </a:cubicBezTo>
                  <a:cubicBezTo>
                    <a:pt x="1454" y="99"/>
                    <a:pt x="1454" y="99"/>
                    <a:pt x="1454" y="99"/>
                  </a:cubicBezTo>
                  <a:cubicBezTo>
                    <a:pt x="1454" y="99"/>
                    <a:pt x="1455" y="99"/>
                    <a:pt x="1455" y="99"/>
                  </a:cubicBezTo>
                  <a:cubicBezTo>
                    <a:pt x="1455" y="99"/>
                    <a:pt x="1455" y="99"/>
                    <a:pt x="1455" y="99"/>
                  </a:cubicBezTo>
                  <a:cubicBezTo>
                    <a:pt x="1455" y="98"/>
                    <a:pt x="1455" y="99"/>
                    <a:pt x="1455" y="98"/>
                  </a:cubicBezTo>
                  <a:cubicBezTo>
                    <a:pt x="1455" y="98"/>
                    <a:pt x="1455" y="98"/>
                    <a:pt x="1455" y="98"/>
                  </a:cubicBezTo>
                  <a:cubicBezTo>
                    <a:pt x="1455" y="98"/>
                    <a:pt x="1456" y="98"/>
                    <a:pt x="1456" y="98"/>
                  </a:cubicBezTo>
                  <a:cubicBezTo>
                    <a:pt x="1456" y="98"/>
                    <a:pt x="1456" y="98"/>
                    <a:pt x="1456" y="98"/>
                  </a:cubicBezTo>
                  <a:cubicBezTo>
                    <a:pt x="1456" y="98"/>
                    <a:pt x="1456" y="98"/>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8" y="97"/>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9" y="95"/>
                    <a:pt x="1459" y="95"/>
                    <a:pt x="1459" y="95"/>
                  </a:cubicBezTo>
                  <a:cubicBezTo>
                    <a:pt x="1459" y="95"/>
                    <a:pt x="1459" y="95"/>
                    <a:pt x="1459" y="95"/>
                  </a:cubicBezTo>
                  <a:cubicBezTo>
                    <a:pt x="1459" y="95"/>
                    <a:pt x="1459" y="95"/>
                    <a:pt x="1459" y="95"/>
                  </a:cubicBezTo>
                  <a:cubicBezTo>
                    <a:pt x="1459" y="95"/>
                    <a:pt x="1459" y="95"/>
                    <a:pt x="1459" y="95"/>
                  </a:cubicBezTo>
                  <a:cubicBezTo>
                    <a:pt x="1459" y="95"/>
                    <a:pt x="1459" y="95"/>
                    <a:pt x="1459" y="94"/>
                  </a:cubicBezTo>
                  <a:cubicBezTo>
                    <a:pt x="1459" y="95"/>
                    <a:pt x="1459" y="95"/>
                    <a:pt x="1459" y="95"/>
                  </a:cubicBezTo>
                  <a:cubicBezTo>
                    <a:pt x="1460" y="94"/>
                    <a:pt x="1460" y="94"/>
                    <a:pt x="1460" y="94"/>
                  </a:cubicBezTo>
                  <a:cubicBezTo>
                    <a:pt x="1460" y="94"/>
                    <a:pt x="1460" y="94"/>
                    <a:pt x="1460" y="94"/>
                  </a:cubicBezTo>
                  <a:cubicBezTo>
                    <a:pt x="1460" y="94"/>
                    <a:pt x="1460" y="94"/>
                    <a:pt x="1460" y="94"/>
                  </a:cubicBezTo>
                  <a:cubicBezTo>
                    <a:pt x="1460" y="94"/>
                    <a:pt x="1460" y="94"/>
                    <a:pt x="1460" y="94"/>
                  </a:cubicBezTo>
                  <a:cubicBezTo>
                    <a:pt x="1460" y="94"/>
                    <a:pt x="1460" y="93"/>
                    <a:pt x="1461" y="93"/>
                  </a:cubicBezTo>
                  <a:cubicBezTo>
                    <a:pt x="1461" y="93"/>
                    <a:pt x="1461" y="93"/>
                    <a:pt x="1461" y="93"/>
                  </a:cubicBezTo>
                  <a:cubicBezTo>
                    <a:pt x="1461" y="93"/>
                    <a:pt x="1461" y="93"/>
                    <a:pt x="1461" y="93"/>
                  </a:cubicBezTo>
                  <a:cubicBezTo>
                    <a:pt x="1461" y="93"/>
                    <a:pt x="1461" y="93"/>
                    <a:pt x="1461" y="93"/>
                  </a:cubicBezTo>
                  <a:cubicBezTo>
                    <a:pt x="1461" y="93"/>
                    <a:pt x="1461" y="93"/>
                    <a:pt x="1461" y="92"/>
                  </a:cubicBezTo>
                  <a:cubicBezTo>
                    <a:pt x="1461" y="92"/>
                    <a:pt x="1461" y="92"/>
                    <a:pt x="1461" y="92"/>
                  </a:cubicBezTo>
                  <a:cubicBezTo>
                    <a:pt x="1461" y="92"/>
                    <a:pt x="1461" y="92"/>
                    <a:pt x="1462" y="92"/>
                  </a:cubicBezTo>
                  <a:cubicBezTo>
                    <a:pt x="1462" y="92"/>
                    <a:pt x="1462" y="92"/>
                    <a:pt x="1462" y="92"/>
                  </a:cubicBezTo>
                  <a:cubicBezTo>
                    <a:pt x="1462" y="92"/>
                    <a:pt x="1462" y="92"/>
                    <a:pt x="1462" y="91"/>
                  </a:cubicBezTo>
                  <a:cubicBezTo>
                    <a:pt x="1462" y="91"/>
                    <a:pt x="1462" y="91"/>
                    <a:pt x="1462" y="91"/>
                  </a:cubicBezTo>
                  <a:cubicBezTo>
                    <a:pt x="1462" y="91"/>
                    <a:pt x="1462" y="91"/>
                    <a:pt x="1463" y="90"/>
                  </a:cubicBezTo>
                  <a:cubicBezTo>
                    <a:pt x="1463" y="90"/>
                    <a:pt x="1463" y="90"/>
                    <a:pt x="1463" y="90"/>
                  </a:cubicBezTo>
                  <a:cubicBezTo>
                    <a:pt x="1463" y="90"/>
                    <a:pt x="1463" y="90"/>
                    <a:pt x="1463" y="90"/>
                  </a:cubicBezTo>
                  <a:cubicBezTo>
                    <a:pt x="1463" y="90"/>
                    <a:pt x="1463" y="90"/>
                    <a:pt x="1463" y="90"/>
                  </a:cubicBezTo>
                  <a:cubicBezTo>
                    <a:pt x="1463" y="90"/>
                    <a:pt x="1463" y="89"/>
                    <a:pt x="1463" y="89"/>
                  </a:cubicBezTo>
                  <a:cubicBezTo>
                    <a:pt x="1463" y="89"/>
                    <a:pt x="1463" y="89"/>
                    <a:pt x="1463" y="89"/>
                  </a:cubicBezTo>
                  <a:cubicBezTo>
                    <a:pt x="1464" y="89"/>
                    <a:pt x="1463" y="89"/>
                    <a:pt x="1464" y="89"/>
                  </a:cubicBezTo>
                  <a:cubicBezTo>
                    <a:pt x="1464" y="89"/>
                    <a:pt x="1464" y="89"/>
                    <a:pt x="1464" y="89"/>
                  </a:cubicBezTo>
                  <a:cubicBezTo>
                    <a:pt x="1464" y="88"/>
                    <a:pt x="1464" y="88"/>
                    <a:pt x="1464" y="88"/>
                  </a:cubicBezTo>
                  <a:cubicBezTo>
                    <a:pt x="1464" y="88"/>
                    <a:pt x="1464" y="88"/>
                    <a:pt x="1464" y="88"/>
                  </a:cubicBezTo>
                  <a:cubicBezTo>
                    <a:pt x="1464" y="88"/>
                    <a:pt x="1464" y="87"/>
                    <a:pt x="1464" y="87"/>
                  </a:cubicBezTo>
                  <a:cubicBezTo>
                    <a:pt x="1464" y="87"/>
                    <a:pt x="1464" y="87"/>
                    <a:pt x="1464" y="87"/>
                  </a:cubicBezTo>
                  <a:cubicBezTo>
                    <a:pt x="1465" y="87"/>
                    <a:pt x="1465" y="87"/>
                    <a:pt x="1465" y="87"/>
                  </a:cubicBezTo>
                  <a:cubicBezTo>
                    <a:pt x="1465" y="87"/>
                    <a:pt x="1465" y="87"/>
                    <a:pt x="1465" y="87"/>
                  </a:cubicBezTo>
                  <a:cubicBezTo>
                    <a:pt x="1465" y="86"/>
                    <a:pt x="1465" y="86"/>
                    <a:pt x="1465" y="86"/>
                  </a:cubicBezTo>
                  <a:cubicBezTo>
                    <a:pt x="1465" y="86"/>
                    <a:pt x="1465" y="86"/>
                    <a:pt x="1465" y="86"/>
                  </a:cubicBezTo>
                  <a:cubicBezTo>
                    <a:pt x="1465" y="86"/>
                    <a:pt x="1465" y="85"/>
                    <a:pt x="1465" y="85"/>
                  </a:cubicBezTo>
                  <a:cubicBezTo>
                    <a:pt x="1465" y="85"/>
                    <a:pt x="1465" y="85"/>
                    <a:pt x="1465" y="85"/>
                  </a:cubicBezTo>
                  <a:cubicBezTo>
                    <a:pt x="1466" y="85"/>
                    <a:pt x="1466" y="85"/>
                    <a:pt x="1466" y="84"/>
                  </a:cubicBezTo>
                  <a:cubicBezTo>
                    <a:pt x="1466" y="84"/>
                    <a:pt x="1466" y="84"/>
                    <a:pt x="1466" y="84"/>
                  </a:cubicBezTo>
                  <a:cubicBezTo>
                    <a:pt x="1466" y="84"/>
                    <a:pt x="1466" y="84"/>
                    <a:pt x="1466" y="84"/>
                  </a:cubicBezTo>
                  <a:cubicBezTo>
                    <a:pt x="1466" y="83"/>
                    <a:pt x="1466" y="83"/>
                    <a:pt x="1466" y="83"/>
                  </a:cubicBezTo>
                  <a:cubicBezTo>
                    <a:pt x="1466" y="83"/>
                    <a:pt x="1466" y="83"/>
                    <a:pt x="1466" y="83"/>
                  </a:cubicBezTo>
                  <a:cubicBezTo>
                    <a:pt x="1466" y="83"/>
                    <a:pt x="1466" y="83"/>
                    <a:pt x="1466" y="83"/>
                  </a:cubicBezTo>
                  <a:cubicBezTo>
                    <a:pt x="1466" y="83"/>
                    <a:pt x="1466" y="83"/>
                    <a:pt x="1466" y="83"/>
                  </a:cubicBezTo>
                  <a:cubicBezTo>
                    <a:pt x="1467" y="82"/>
                    <a:pt x="1467" y="82"/>
                    <a:pt x="1467" y="82"/>
                  </a:cubicBezTo>
                  <a:cubicBezTo>
                    <a:pt x="1467" y="82"/>
                    <a:pt x="1467" y="82"/>
                    <a:pt x="1467" y="82"/>
                  </a:cubicBezTo>
                  <a:cubicBezTo>
                    <a:pt x="1467" y="81"/>
                    <a:pt x="1467" y="81"/>
                    <a:pt x="1467" y="81"/>
                  </a:cubicBezTo>
                  <a:cubicBezTo>
                    <a:pt x="1467" y="81"/>
                    <a:pt x="1467" y="81"/>
                    <a:pt x="1467" y="81"/>
                  </a:cubicBezTo>
                  <a:cubicBezTo>
                    <a:pt x="1467" y="81"/>
                    <a:pt x="1467" y="81"/>
                    <a:pt x="1467" y="81"/>
                  </a:cubicBezTo>
                  <a:cubicBezTo>
                    <a:pt x="1467" y="80"/>
                    <a:pt x="1467" y="80"/>
                    <a:pt x="1467" y="80"/>
                  </a:cubicBezTo>
                  <a:cubicBezTo>
                    <a:pt x="1467" y="80"/>
                    <a:pt x="1467" y="80"/>
                    <a:pt x="1467" y="80"/>
                  </a:cubicBezTo>
                  <a:cubicBezTo>
                    <a:pt x="1468" y="80"/>
                    <a:pt x="1468" y="80"/>
                    <a:pt x="1468" y="80"/>
                  </a:cubicBezTo>
                  <a:cubicBezTo>
                    <a:pt x="1468" y="79"/>
                    <a:pt x="1468" y="79"/>
                    <a:pt x="1468" y="79"/>
                  </a:cubicBezTo>
                  <a:cubicBezTo>
                    <a:pt x="1468" y="79"/>
                    <a:pt x="1468" y="79"/>
                    <a:pt x="1468" y="79"/>
                  </a:cubicBezTo>
                  <a:cubicBezTo>
                    <a:pt x="1468" y="78"/>
                    <a:pt x="1468" y="78"/>
                    <a:pt x="1468" y="77"/>
                  </a:cubicBezTo>
                  <a:cubicBezTo>
                    <a:pt x="1468" y="77"/>
                    <a:pt x="1468" y="77"/>
                    <a:pt x="1468" y="77"/>
                  </a:cubicBezTo>
                  <a:cubicBezTo>
                    <a:pt x="1468" y="77"/>
                    <a:pt x="1468" y="77"/>
                    <a:pt x="1468" y="77"/>
                  </a:cubicBezTo>
                  <a:cubicBezTo>
                    <a:pt x="1469" y="77"/>
                    <a:pt x="1468" y="76"/>
                    <a:pt x="1469" y="76"/>
                  </a:cubicBezTo>
                  <a:cubicBezTo>
                    <a:pt x="1468" y="76"/>
                    <a:pt x="1468" y="76"/>
                    <a:pt x="1469" y="76"/>
                  </a:cubicBezTo>
                  <a:cubicBezTo>
                    <a:pt x="1469" y="75"/>
                    <a:pt x="1469" y="75"/>
                    <a:pt x="1469" y="75"/>
                  </a:cubicBezTo>
                  <a:cubicBezTo>
                    <a:pt x="1469" y="74"/>
                    <a:pt x="1469" y="74"/>
                    <a:pt x="1469" y="74"/>
                  </a:cubicBezTo>
                  <a:cubicBezTo>
                    <a:pt x="1469" y="74"/>
                    <a:pt x="1469" y="74"/>
                    <a:pt x="1469" y="74"/>
                  </a:cubicBezTo>
                  <a:cubicBezTo>
                    <a:pt x="1469" y="74"/>
                    <a:pt x="1469" y="73"/>
                    <a:pt x="1469" y="73"/>
                  </a:cubicBezTo>
                  <a:cubicBezTo>
                    <a:pt x="1469" y="73"/>
                    <a:pt x="1469" y="73"/>
                    <a:pt x="1469" y="73"/>
                  </a:cubicBezTo>
                  <a:cubicBezTo>
                    <a:pt x="1470" y="72"/>
                    <a:pt x="1469" y="71"/>
                    <a:pt x="1470" y="71"/>
                  </a:cubicBezTo>
                  <a:cubicBezTo>
                    <a:pt x="1470" y="71"/>
                    <a:pt x="1470" y="71"/>
                    <a:pt x="1470" y="71"/>
                  </a:cubicBezTo>
                  <a:cubicBezTo>
                    <a:pt x="1470" y="70"/>
                    <a:pt x="1470" y="69"/>
                    <a:pt x="1470" y="69"/>
                  </a:cubicBezTo>
                  <a:cubicBezTo>
                    <a:pt x="1470" y="68"/>
                    <a:pt x="1470" y="68"/>
                    <a:pt x="1470" y="68"/>
                  </a:cubicBezTo>
                  <a:cubicBezTo>
                    <a:pt x="1470" y="67"/>
                    <a:pt x="1470" y="67"/>
                    <a:pt x="1470" y="66"/>
                  </a:cubicBezTo>
                  <a:cubicBezTo>
                    <a:pt x="1470" y="66"/>
                    <a:pt x="1470" y="66"/>
                    <a:pt x="1470" y="65"/>
                  </a:cubicBezTo>
                  <a:cubicBezTo>
                    <a:pt x="1471" y="64"/>
                    <a:pt x="1470" y="63"/>
                    <a:pt x="1471" y="62"/>
                  </a:cubicBezTo>
                  <a:cubicBezTo>
                    <a:pt x="1470" y="61"/>
                    <a:pt x="1471" y="61"/>
                    <a:pt x="1471" y="60"/>
                  </a:cubicBezTo>
                  <a:cubicBezTo>
                    <a:pt x="1471" y="56"/>
                    <a:pt x="1471" y="51"/>
                    <a:pt x="1471" y="47"/>
                  </a:cubicBezTo>
                  <a:cubicBezTo>
                    <a:pt x="1471" y="46"/>
                    <a:pt x="1471" y="46"/>
                    <a:pt x="1471" y="46"/>
                  </a:cubicBezTo>
                  <a:cubicBezTo>
                    <a:pt x="1470" y="44"/>
                    <a:pt x="1471" y="43"/>
                    <a:pt x="1470" y="42"/>
                  </a:cubicBezTo>
                  <a:cubicBezTo>
                    <a:pt x="1470" y="42"/>
                    <a:pt x="1470" y="41"/>
                    <a:pt x="1470" y="41"/>
                  </a:cubicBezTo>
                  <a:cubicBezTo>
                    <a:pt x="1470" y="40"/>
                    <a:pt x="1470" y="40"/>
                    <a:pt x="1470" y="39"/>
                  </a:cubicBezTo>
                  <a:cubicBezTo>
                    <a:pt x="1470" y="39"/>
                    <a:pt x="1470" y="38"/>
                    <a:pt x="1470" y="38"/>
                  </a:cubicBezTo>
                  <a:cubicBezTo>
                    <a:pt x="1470" y="38"/>
                    <a:pt x="1470" y="37"/>
                    <a:pt x="1470" y="36"/>
                  </a:cubicBezTo>
                  <a:cubicBezTo>
                    <a:pt x="1470" y="36"/>
                    <a:pt x="1469" y="36"/>
                    <a:pt x="1470" y="36"/>
                  </a:cubicBezTo>
                  <a:cubicBezTo>
                    <a:pt x="1469" y="35"/>
                    <a:pt x="1470" y="35"/>
                    <a:pt x="1469" y="34"/>
                  </a:cubicBezTo>
                  <a:cubicBezTo>
                    <a:pt x="1469" y="34"/>
                    <a:pt x="1469" y="34"/>
                    <a:pt x="1469" y="34"/>
                  </a:cubicBezTo>
                  <a:cubicBezTo>
                    <a:pt x="1469" y="34"/>
                    <a:pt x="1469" y="33"/>
                    <a:pt x="1469" y="33"/>
                  </a:cubicBezTo>
                  <a:cubicBezTo>
                    <a:pt x="1469" y="33"/>
                    <a:pt x="1469" y="32"/>
                    <a:pt x="1469" y="32"/>
                  </a:cubicBezTo>
                  <a:cubicBezTo>
                    <a:pt x="1469" y="32"/>
                    <a:pt x="1469" y="31"/>
                    <a:pt x="1469" y="31"/>
                  </a:cubicBezTo>
                  <a:cubicBezTo>
                    <a:pt x="1468" y="31"/>
                    <a:pt x="1468" y="31"/>
                    <a:pt x="1468" y="31"/>
                  </a:cubicBezTo>
                  <a:cubicBezTo>
                    <a:pt x="1469" y="31"/>
                    <a:pt x="1469" y="31"/>
                    <a:pt x="1469" y="31"/>
                  </a:cubicBezTo>
                  <a:cubicBezTo>
                    <a:pt x="1468" y="30"/>
                    <a:pt x="1469" y="30"/>
                    <a:pt x="1468" y="29"/>
                  </a:cubicBezTo>
                  <a:cubicBezTo>
                    <a:pt x="1468" y="29"/>
                    <a:pt x="1468" y="29"/>
                    <a:pt x="1468" y="29"/>
                  </a:cubicBezTo>
                  <a:cubicBezTo>
                    <a:pt x="1468" y="29"/>
                    <a:pt x="1468" y="29"/>
                    <a:pt x="1468" y="28"/>
                  </a:cubicBezTo>
                  <a:cubicBezTo>
                    <a:pt x="1468" y="28"/>
                    <a:pt x="1468" y="28"/>
                    <a:pt x="1468" y="28"/>
                  </a:cubicBezTo>
                  <a:cubicBezTo>
                    <a:pt x="1468" y="28"/>
                    <a:pt x="1468" y="27"/>
                    <a:pt x="1468" y="27"/>
                  </a:cubicBezTo>
                  <a:cubicBezTo>
                    <a:pt x="1468" y="27"/>
                    <a:pt x="1468" y="27"/>
                    <a:pt x="1468" y="27"/>
                  </a:cubicBezTo>
                  <a:cubicBezTo>
                    <a:pt x="1467" y="27"/>
                    <a:pt x="1467" y="26"/>
                    <a:pt x="1467" y="26"/>
                  </a:cubicBezTo>
                  <a:cubicBezTo>
                    <a:pt x="1467" y="26"/>
                    <a:pt x="1467" y="26"/>
                    <a:pt x="1467" y="26"/>
                  </a:cubicBezTo>
                  <a:cubicBezTo>
                    <a:pt x="1467" y="26"/>
                    <a:pt x="1467" y="25"/>
                    <a:pt x="1467" y="25"/>
                  </a:cubicBezTo>
                  <a:cubicBezTo>
                    <a:pt x="1467" y="25"/>
                    <a:pt x="1467" y="25"/>
                    <a:pt x="1467" y="25"/>
                  </a:cubicBezTo>
                  <a:cubicBezTo>
                    <a:pt x="1467" y="25"/>
                    <a:pt x="1467" y="24"/>
                    <a:pt x="1466" y="24"/>
                  </a:cubicBezTo>
                  <a:cubicBezTo>
                    <a:pt x="1466" y="24"/>
                    <a:pt x="1466" y="24"/>
                    <a:pt x="1466" y="24"/>
                  </a:cubicBezTo>
                  <a:cubicBezTo>
                    <a:pt x="1466" y="24"/>
                    <a:pt x="1466" y="23"/>
                    <a:pt x="1466" y="23"/>
                  </a:cubicBezTo>
                  <a:cubicBezTo>
                    <a:pt x="1466" y="23"/>
                    <a:pt x="1466" y="23"/>
                    <a:pt x="1466" y="23"/>
                  </a:cubicBezTo>
                  <a:cubicBezTo>
                    <a:pt x="1466" y="23"/>
                    <a:pt x="1466" y="22"/>
                    <a:pt x="1466" y="22"/>
                  </a:cubicBezTo>
                  <a:cubicBezTo>
                    <a:pt x="1466" y="22"/>
                    <a:pt x="1466" y="22"/>
                    <a:pt x="1466" y="22"/>
                  </a:cubicBezTo>
                  <a:cubicBezTo>
                    <a:pt x="1466" y="22"/>
                    <a:pt x="1466" y="22"/>
                    <a:pt x="1465" y="21"/>
                  </a:cubicBezTo>
                  <a:cubicBezTo>
                    <a:pt x="1465" y="21"/>
                    <a:pt x="1465" y="21"/>
                    <a:pt x="1465" y="21"/>
                  </a:cubicBezTo>
                  <a:cubicBezTo>
                    <a:pt x="1465" y="21"/>
                    <a:pt x="1465" y="21"/>
                    <a:pt x="1465" y="21"/>
                  </a:cubicBezTo>
                  <a:cubicBezTo>
                    <a:pt x="1465" y="21"/>
                    <a:pt x="1465" y="21"/>
                    <a:pt x="1465" y="21"/>
                  </a:cubicBezTo>
                  <a:cubicBezTo>
                    <a:pt x="1465" y="21"/>
                    <a:pt x="1465" y="20"/>
                    <a:pt x="1465" y="20"/>
                  </a:cubicBezTo>
                  <a:cubicBezTo>
                    <a:pt x="1465" y="20"/>
                    <a:pt x="1465" y="20"/>
                    <a:pt x="1465" y="20"/>
                  </a:cubicBezTo>
                  <a:cubicBezTo>
                    <a:pt x="1465" y="20"/>
                    <a:pt x="1465" y="20"/>
                    <a:pt x="1464" y="19"/>
                  </a:cubicBezTo>
                  <a:cubicBezTo>
                    <a:pt x="1464" y="19"/>
                    <a:pt x="1464" y="19"/>
                    <a:pt x="1464" y="19"/>
                  </a:cubicBezTo>
                  <a:cubicBezTo>
                    <a:pt x="1464" y="19"/>
                    <a:pt x="1464" y="19"/>
                    <a:pt x="1464" y="19"/>
                  </a:cubicBezTo>
                  <a:cubicBezTo>
                    <a:pt x="1464" y="19"/>
                    <a:pt x="1464" y="19"/>
                    <a:pt x="1464" y="19"/>
                  </a:cubicBezTo>
                  <a:cubicBezTo>
                    <a:pt x="1464" y="19"/>
                    <a:pt x="1464" y="18"/>
                    <a:pt x="1464" y="18"/>
                  </a:cubicBezTo>
                  <a:cubicBezTo>
                    <a:pt x="1464" y="18"/>
                    <a:pt x="1464" y="18"/>
                    <a:pt x="1464" y="18"/>
                  </a:cubicBezTo>
                  <a:cubicBezTo>
                    <a:pt x="1463" y="18"/>
                    <a:pt x="1464" y="18"/>
                    <a:pt x="1463" y="18"/>
                  </a:cubicBezTo>
                  <a:cubicBezTo>
                    <a:pt x="1463" y="18"/>
                    <a:pt x="1463" y="18"/>
                    <a:pt x="1463" y="18"/>
                  </a:cubicBezTo>
                  <a:cubicBezTo>
                    <a:pt x="1463" y="17"/>
                    <a:pt x="1463" y="17"/>
                    <a:pt x="1463" y="17"/>
                  </a:cubicBezTo>
                  <a:cubicBezTo>
                    <a:pt x="1463" y="17"/>
                    <a:pt x="1463" y="17"/>
                    <a:pt x="1463" y="17"/>
                  </a:cubicBezTo>
                  <a:cubicBezTo>
                    <a:pt x="1463" y="17"/>
                    <a:pt x="1463" y="17"/>
                    <a:pt x="1463" y="17"/>
                  </a:cubicBezTo>
                  <a:cubicBezTo>
                    <a:pt x="1463" y="17"/>
                    <a:pt x="1463" y="17"/>
                    <a:pt x="1463" y="17"/>
                  </a:cubicBezTo>
                  <a:cubicBezTo>
                    <a:pt x="1462" y="16"/>
                    <a:pt x="1463" y="16"/>
                    <a:pt x="1462" y="16"/>
                  </a:cubicBezTo>
                  <a:cubicBezTo>
                    <a:pt x="1462" y="16"/>
                    <a:pt x="1462" y="16"/>
                    <a:pt x="1462" y="16"/>
                  </a:cubicBezTo>
                  <a:cubicBezTo>
                    <a:pt x="1462" y="16"/>
                    <a:pt x="1462" y="16"/>
                    <a:pt x="1462" y="16"/>
                  </a:cubicBezTo>
                  <a:cubicBezTo>
                    <a:pt x="1462" y="16"/>
                    <a:pt x="1462" y="16"/>
                    <a:pt x="1462" y="16"/>
                  </a:cubicBezTo>
                  <a:cubicBezTo>
                    <a:pt x="1462" y="15"/>
                    <a:pt x="1462" y="15"/>
                    <a:pt x="1462" y="15"/>
                  </a:cubicBezTo>
                  <a:cubicBezTo>
                    <a:pt x="1462" y="15"/>
                    <a:pt x="1462" y="15"/>
                    <a:pt x="1462" y="15"/>
                  </a:cubicBezTo>
                  <a:cubicBezTo>
                    <a:pt x="1461" y="15"/>
                    <a:pt x="1461" y="14"/>
                    <a:pt x="1461" y="14"/>
                  </a:cubicBezTo>
                  <a:cubicBezTo>
                    <a:pt x="1461" y="14"/>
                    <a:pt x="1461" y="14"/>
                    <a:pt x="1461" y="14"/>
                  </a:cubicBezTo>
                  <a:cubicBezTo>
                    <a:pt x="1461" y="14"/>
                    <a:pt x="1461" y="14"/>
                    <a:pt x="1461" y="14"/>
                  </a:cubicBezTo>
                  <a:cubicBezTo>
                    <a:pt x="1461" y="14"/>
                    <a:pt x="1461" y="14"/>
                    <a:pt x="1461" y="14"/>
                  </a:cubicBezTo>
                  <a:cubicBezTo>
                    <a:pt x="1460" y="14"/>
                    <a:pt x="1460" y="14"/>
                    <a:pt x="1460" y="13"/>
                  </a:cubicBezTo>
                  <a:cubicBezTo>
                    <a:pt x="1460" y="13"/>
                    <a:pt x="1460" y="13"/>
                    <a:pt x="1460" y="13"/>
                  </a:cubicBezTo>
                  <a:cubicBezTo>
                    <a:pt x="1460" y="13"/>
                    <a:pt x="1460" y="13"/>
                    <a:pt x="1460" y="13"/>
                  </a:cubicBezTo>
                  <a:cubicBezTo>
                    <a:pt x="1460" y="13"/>
                    <a:pt x="1460" y="13"/>
                    <a:pt x="1460" y="13"/>
                  </a:cubicBezTo>
                  <a:cubicBezTo>
                    <a:pt x="1460" y="13"/>
                    <a:pt x="1460" y="13"/>
                    <a:pt x="1459" y="13"/>
                  </a:cubicBezTo>
                  <a:cubicBezTo>
                    <a:pt x="1460" y="13"/>
                    <a:pt x="1460" y="13"/>
                    <a:pt x="1460" y="13"/>
                  </a:cubicBezTo>
                  <a:cubicBezTo>
                    <a:pt x="1459" y="13"/>
                    <a:pt x="1459" y="13"/>
                    <a:pt x="1459" y="12"/>
                  </a:cubicBezTo>
                  <a:cubicBezTo>
                    <a:pt x="1459" y="12"/>
                    <a:pt x="1459" y="12"/>
                    <a:pt x="1459" y="12"/>
                  </a:cubicBezTo>
                  <a:cubicBezTo>
                    <a:pt x="1459" y="12"/>
                    <a:pt x="1459" y="12"/>
                    <a:pt x="1459" y="12"/>
                  </a:cubicBezTo>
                  <a:cubicBezTo>
                    <a:pt x="1459" y="12"/>
                    <a:pt x="1459" y="12"/>
                    <a:pt x="1459" y="12"/>
                  </a:cubicBezTo>
                  <a:cubicBezTo>
                    <a:pt x="1459" y="12"/>
                    <a:pt x="1459" y="12"/>
                    <a:pt x="1458" y="12"/>
                  </a:cubicBezTo>
                  <a:cubicBezTo>
                    <a:pt x="1458" y="12"/>
                    <a:pt x="1458" y="12"/>
                    <a:pt x="1458" y="12"/>
                  </a:cubicBezTo>
                  <a:cubicBezTo>
                    <a:pt x="1458" y="12"/>
                    <a:pt x="1458" y="11"/>
                    <a:pt x="1458" y="11"/>
                  </a:cubicBezTo>
                  <a:cubicBezTo>
                    <a:pt x="1458" y="11"/>
                    <a:pt x="1458" y="11"/>
                    <a:pt x="1458" y="11"/>
                  </a:cubicBezTo>
                  <a:cubicBezTo>
                    <a:pt x="1458" y="11"/>
                    <a:pt x="1457" y="11"/>
                    <a:pt x="1457" y="11"/>
                  </a:cubicBezTo>
                  <a:cubicBezTo>
                    <a:pt x="1457" y="11"/>
                    <a:pt x="1457" y="11"/>
                    <a:pt x="1457" y="11"/>
                  </a:cubicBezTo>
                  <a:cubicBezTo>
                    <a:pt x="1457" y="11"/>
                    <a:pt x="1457" y="10"/>
                    <a:pt x="1457" y="10"/>
                  </a:cubicBezTo>
                  <a:cubicBezTo>
                    <a:pt x="1457" y="10"/>
                    <a:pt x="1457" y="10"/>
                    <a:pt x="1457" y="10"/>
                  </a:cubicBezTo>
                  <a:cubicBezTo>
                    <a:pt x="1456" y="10"/>
                    <a:pt x="1456" y="10"/>
                    <a:pt x="1456" y="10"/>
                  </a:cubicBezTo>
                  <a:cubicBezTo>
                    <a:pt x="1456" y="10"/>
                    <a:pt x="1456" y="10"/>
                    <a:pt x="1456" y="10"/>
                  </a:cubicBezTo>
                  <a:cubicBezTo>
                    <a:pt x="1456" y="9"/>
                    <a:pt x="1455" y="9"/>
                    <a:pt x="1455" y="9"/>
                  </a:cubicBezTo>
                  <a:cubicBezTo>
                    <a:pt x="1455" y="9"/>
                    <a:pt x="1455" y="9"/>
                    <a:pt x="1455" y="9"/>
                  </a:cubicBezTo>
                  <a:cubicBezTo>
                    <a:pt x="1455" y="9"/>
                    <a:pt x="1455" y="9"/>
                    <a:pt x="1455" y="9"/>
                  </a:cubicBezTo>
                  <a:cubicBezTo>
                    <a:pt x="1455" y="9"/>
                    <a:pt x="1455" y="9"/>
                    <a:pt x="1455" y="9"/>
                  </a:cubicBezTo>
                  <a:cubicBezTo>
                    <a:pt x="1454" y="9"/>
                    <a:pt x="1454" y="9"/>
                    <a:pt x="1454" y="9"/>
                  </a:cubicBezTo>
                  <a:cubicBezTo>
                    <a:pt x="1454" y="9"/>
                    <a:pt x="1454" y="9"/>
                    <a:pt x="1454" y="9"/>
                  </a:cubicBezTo>
                  <a:cubicBezTo>
                    <a:pt x="1454" y="8"/>
                    <a:pt x="1453" y="8"/>
                    <a:pt x="1453" y="8"/>
                  </a:cubicBezTo>
                  <a:cubicBezTo>
                    <a:pt x="1453" y="8"/>
                    <a:pt x="1453" y="8"/>
                    <a:pt x="1453" y="8"/>
                  </a:cubicBezTo>
                  <a:cubicBezTo>
                    <a:pt x="1453" y="8"/>
                    <a:pt x="1453" y="8"/>
                    <a:pt x="1452" y="8"/>
                  </a:cubicBezTo>
                  <a:cubicBezTo>
                    <a:pt x="1453" y="8"/>
                    <a:pt x="1453" y="8"/>
                    <a:pt x="1453" y="8"/>
                  </a:cubicBezTo>
                  <a:cubicBezTo>
                    <a:pt x="1452" y="8"/>
                    <a:pt x="1452" y="8"/>
                    <a:pt x="1452" y="8"/>
                  </a:cubicBezTo>
                  <a:cubicBezTo>
                    <a:pt x="1452" y="8"/>
                    <a:pt x="1452" y="8"/>
                    <a:pt x="1452" y="8"/>
                  </a:cubicBezTo>
                  <a:cubicBezTo>
                    <a:pt x="1451" y="7"/>
                    <a:pt x="1451" y="7"/>
                    <a:pt x="1451" y="7"/>
                  </a:cubicBezTo>
                  <a:cubicBezTo>
                    <a:pt x="1451" y="7"/>
                    <a:pt x="1451" y="7"/>
                    <a:pt x="1450" y="7"/>
                  </a:cubicBezTo>
                  <a:cubicBezTo>
                    <a:pt x="1450" y="7"/>
                    <a:pt x="1450" y="7"/>
                    <a:pt x="1450" y="7"/>
                  </a:cubicBezTo>
                  <a:cubicBezTo>
                    <a:pt x="1450" y="7"/>
                    <a:pt x="1450" y="7"/>
                    <a:pt x="1450" y="7"/>
                  </a:cubicBezTo>
                  <a:cubicBezTo>
                    <a:pt x="1449" y="7"/>
                    <a:pt x="1449" y="7"/>
                    <a:pt x="1449" y="7"/>
                  </a:cubicBezTo>
                  <a:cubicBezTo>
                    <a:pt x="1449" y="7"/>
                    <a:pt x="1449" y="7"/>
                    <a:pt x="1448" y="7"/>
                  </a:cubicBezTo>
                  <a:cubicBezTo>
                    <a:pt x="1448" y="7"/>
                    <a:pt x="1448" y="7"/>
                    <a:pt x="1448" y="6"/>
                  </a:cubicBezTo>
                  <a:cubicBezTo>
                    <a:pt x="1448" y="6"/>
                    <a:pt x="1447" y="6"/>
                    <a:pt x="1447" y="6"/>
                  </a:cubicBezTo>
                  <a:cubicBezTo>
                    <a:pt x="1446" y="6"/>
                    <a:pt x="1446" y="6"/>
                    <a:pt x="1446" y="6"/>
                  </a:cubicBezTo>
                  <a:cubicBezTo>
                    <a:pt x="1445" y="6"/>
                    <a:pt x="1445" y="6"/>
                    <a:pt x="1444" y="6"/>
                  </a:cubicBezTo>
                  <a:cubicBezTo>
                    <a:pt x="1443" y="6"/>
                    <a:pt x="1443" y="6"/>
                    <a:pt x="1442" y="6"/>
                  </a:cubicBezTo>
                  <a:cubicBezTo>
                    <a:pt x="1441" y="6"/>
                    <a:pt x="1441" y="6"/>
                    <a:pt x="1440" y="6"/>
                  </a:cubicBezTo>
                  <a:cubicBezTo>
                    <a:pt x="1440" y="6"/>
                    <a:pt x="1439" y="6"/>
                    <a:pt x="1438" y="6"/>
                  </a:cubicBezTo>
                  <a:cubicBezTo>
                    <a:pt x="1438" y="6"/>
                    <a:pt x="1437" y="6"/>
                    <a:pt x="1436" y="6"/>
                  </a:cubicBezTo>
                  <a:cubicBezTo>
                    <a:pt x="1436" y="6"/>
                    <a:pt x="1436" y="6"/>
                    <a:pt x="1436" y="6"/>
                  </a:cubicBezTo>
                  <a:cubicBezTo>
                    <a:pt x="1435" y="6"/>
                    <a:pt x="1435" y="6"/>
                    <a:pt x="1434" y="6"/>
                  </a:cubicBezTo>
                  <a:cubicBezTo>
                    <a:pt x="1434" y="7"/>
                    <a:pt x="1434" y="7"/>
                    <a:pt x="1434" y="7"/>
                  </a:cubicBezTo>
                  <a:cubicBezTo>
                    <a:pt x="1434" y="7"/>
                    <a:pt x="1434" y="7"/>
                    <a:pt x="1434" y="7"/>
                  </a:cubicBezTo>
                  <a:cubicBezTo>
                    <a:pt x="1434" y="7"/>
                    <a:pt x="1433" y="7"/>
                    <a:pt x="1433" y="7"/>
                  </a:cubicBezTo>
                  <a:close/>
                  <a:moveTo>
                    <a:pt x="1010" y="17"/>
                  </a:moveTo>
                  <a:cubicBezTo>
                    <a:pt x="1010" y="17"/>
                    <a:pt x="1010" y="17"/>
                    <a:pt x="1010" y="17"/>
                  </a:cubicBezTo>
                  <a:cubicBezTo>
                    <a:pt x="1010" y="17"/>
                    <a:pt x="1010" y="17"/>
                    <a:pt x="1010" y="17"/>
                  </a:cubicBezTo>
                  <a:cubicBezTo>
                    <a:pt x="1010" y="18"/>
                    <a:pt x="1011" y="17"/>
                    <a:pt x="1011" y="18"/>
                  </a:cubicBezTo>
                  <a:cubicBezTo>
                    <a:pt x="1011" y="18"/>
                    <a:pt x="1011" y="18"/>
                    <a:pt x="1011" y="18"/>
                  </a:cubicBezTo>
                  <a:cubicBezTo>
                    <a:pt x="1012" y="18"/>
                    <a:pt x="1012" y="18"/>
                    <a:pt x="1012" y="18"/>
                  </a:cubicBezTo>
                  <a:cubicBezTo>
                    <a:pt x="1012" y="18"/>
                    <a:pt x="1012" y="18"/>
                    <a:pt x="1013" y="18"/>
                  </a:cubicBezTo>
                  <a:cubicBezTo>
                    <a:pt x="1013" y="18"/>
                    <a:pt x="1013" y="18"/>
                    <a:pt x="1013" y="18"/>
                  </a:cubicBezTo>
                  <a:cubicBezTo>
                    <a:pt x="1013" y="18"/>
                    <a:pt x="1013" y="18"/>
                    <a:pt x="1014" y="18"/>
                  </a:cubicBezTo>
                  <a:cubicBezTo>
                    <a:pt x="1014" y="18"/>
                    <a:pt x="1014" y="18"/>
                    <a:pt x="1014" y="18"/>
                  </a:cubicBezTo>
                  <a:cubicBezTo>
                    <a:pt x="1014" y="19"/>
                    <a:pt x="1014" y="19"/>
                    <a:pt x="1014" y="19"/>
                  </a:cubicBezTo>
                  <a:cubicBezTo>
                    <a:pt x="1015" y="19"/>
                    <a:pt x="1015" y="19"/>
                    <a:pt x="1015" y="19"/>
                  </a:cubicBezTo>
                  <a:cubicBezTo>
                    <a:pt x="1015" y="19"/>
                    <a:pt x="1015" y="19"/>
                    <a:pt x="1015" y="19"/>
                  </a:cubicBezTo>
                  <a:cubicBezTo>
                    <a:pt x="1015" y="19"/>
                    <a:pt x="1015" y="19"/>
                    <a:pt x="1015" y="19"/>
                  </a:cubicBezTo>
                  <a:cubicBezTo>
                    <a:pt x="1015" y="19"/>
                    <a:pt x="1015" y="19"/>
                    <a:pt x="1015" y="19"/>
                  </a:cubicBezTo>
                  <a:cubicBezTo>
                    <a:pt x="1016" y="19"/>
                    <a:pt x="1016" y="19"/>
                    <a:pt x="1016" y="19"/>
                  </a:cubicBezTo>
                  <a:cubicBezTo>
                    <a:pt x="1016" y="19"/>
                    <a:pt x="1016" y="19"/>
                    <a:pt x="1016" y="19"/>
                  </a:cubicBezTo>
                  <a:cubicBezTo>
                    <a:pt x="1017" y="20"/>
                    <a:pt x="1017" y="20"/>
                    <a:pt x="1017" y="20"/>
                  </a:cubicBezTo>
                  <a:cubicBezTo>
                    <a:pt x="1017" y="20"/>
                    <a:pt x="1017" y="20"/>
                    <a:pt x="1017" y="20"/>
                  </a:cubicBezTo>
                  <a:cubicBezTo>
                    <a:pt x="1017" y="20"/>
                    <a:pt x="1018" y="20"/>
                    <a:pt x="1018" y="20"/>
                  </a:cubicBezTo>
                  <a:cubicBezTo>
                    <a:pt x="1018" y="20"/>
                    <a:pt x="1018" y="20"/>
                    <a:pt x="1018" y="20"/>
                  </a:cubicBezTo>
                  <a:cubicBezTo>
                    <a:pt x="1018" y="20"/>
                    <a:pt x="1018" y="20"/>
                    <a:pt x="1019" y="20"/>
                  </a:cubicBezTo>
                  <a:cubicBezTo>
                    <a:pt x="1019" y="20"/>
                    <a:pt x="1019" y="20"/>
                    <a:pt x="1019" y="20"/>
                  </a:cubicBezTo>
                  <a:cubicBezTo>
                    <a:pt x="1019" y="21"/>
                    <a:pt x="1019" y="21"/>
                    <a:pt x="1019" y="21"/>
                  </a:cubicBezTo>
                  <a:cubicBezTo>
                    <a:pt x="1019" y="21"/>
                    <a:pt x="1019" y="21"/>
                    <a:pt x="1019" y="21"/>
                  </a:cubicBezTo>
                  <a:cubicBezTo>
                    <a:pt x="1019" y="21"/>
                    <a:pt x="1020" y="21"/>
                    <a:pt x="1020" y="21"/>
                  </a:cubicBezTo>
                  <a:cubicBezTo>
                    <a:pt x="1020" y="21"/>
                    <a:pt x="1020" y="21"/>
                    <a:pt x="1020" y="21"/>
                  </a:cubicBezTo>
                  <a:cubicBezTo>
                    <a:pt x="1020" y="21"/>
                    <a:pt x="1020" y="21"/>
                    <a:pt x="1021" y="21"/>
                  </a:cubicBezTo>
                  <a:cubicBezTo>
                    <a:pt x="1021" y="21"/>
                    <a:pt x="1021" y="21"/>
                    <a:pt x="1021" y="21"/>
                  </a:cubicBezTo>
                  <a:cubicBezTo>
                    <a:pt x="1021" y="22"/>
                    <a:pt x="1021" y="22"/>
                    <a:pt x="1021" y="21"/>
                  </a:cubicBezTo>
                  <a:cubicBezTo>
                    <a:pt x="1021" y="21"/>
                    <a:pt x="1021" y="21"/>
                    <a:pt x="1021" y="21"/>
                  </a:cubicBezTo>
                  <a:cubicBezTo>
                    <a:pt x="1021" y="20"/>
                    <a:pt x="1021" y="19"/>
                    <a:pt x="1021" y="17"/>
                  </a:cubicBezTo>
                  <a:cubicBezTo>
                    <a:pt x="1021" y="15"/>
                    <a:pt x="1021" y="12"/>
                    <a:pt x="1021" y="10"/>
                  </a:cubicBezTo>
                  <a:cubicBezTo>
                    <a:pt x="1021" y="10"/>
                    <a:pt x="1021" y="10"/>
                    <a:pt x="1021" y="10"/>
                  </a:cubicBezTo>
                  <a:cubicBezTo>
                    <a:pt x="1021" y="9"/>
                    <a:pt x="1020" y="9"/>
                    <a:pt x="1020" y="9"/>
                  </a:cubicBezTo>
                  <a:cubicBezTo>
                    <a:pt x="1020" y="9"/>
                    <a:pt x="1020" y="9"/>
                    <a:pt x="1020" y="9"/>
                  </a:cubicBezTo>
                  <a:cubicBezTo>
                    <a:pt x="1020" y="9"/>
                    <a:pt x="1020" y="9"/>
                    <a:pt x="1019" y="9"/>
                  </a:cubicBezTo>
                  <a:cubicBezTo>
                    <a:pt x="1019" y="9"/>
                    <a:pt x="1019" y="9"/>
                    <a:pt x="1019" y="9"/>
                  </a:cubicBezTo>
                  <a:cubicBezTo>
                    <a:pt x="1019" y="9"/>
                    <a:pt x="1019" y="9"/>
                    <a:pt x="1019" y="9"/>
                  </a:cubicBezTo>
                  <a:cubicBezTo>
                    <a:pt x="1019" y="9"/>
                    <a:pt x="1019" y="9"/>
                    <a:pt x="1018" y="9"/>
                  </a:cubicBezTo>
                  <a:cubicBezTo>
                    <a:pt x="1018" y="9"/>
                    <a:pt x="1018" y="9"/>
                    <a:pt x="1018" y="9"/>
                  </a:cubicBezTo>
                  <a:cubicBezTo>
                    <a:pt x="1018" y="8"/>
                    <a:pt x="1018" y="9"/>
                    <a:pt x="1017" y="8"/>
                  </a:cubicBezTo>
                  <a:cubicBezTo>
                    <a:pt x="1017" y="8"/>
                    <a:pt x="1017" y="8"/>
                    <a:pt x="1017" y="8"/>
                  </a:cubicBezTo>
                  <a:cubicBezTo>
                    <a:pt x="1017" y="8"/>
                    <a:pt x="1017" y="8"/>
                    <a:pt x="1016" y="8"/>
                  </a:cubicBezTo>
                  <a:cubicBezTo>
                    <a:pt x="1016" y="8"/>
                    <a:pt x="1016" y="8"/>
                    <a:pt x="1016" y="8"/>
                  </a:cubicBezTo>
                  <a:cubicBezTo>
                    <a:pt x="1016" y="8"/>
                    <a:pt x="1015" y="8"/>
                    <a:pt x="1015" y="8"/>
                  </a:cubicBezTo>
                  <a:cubicBezTo>
                    <a:pt x="1015" y="8"/>
                    <a:pt x="1015" y="8"/>
                    <a:pt x="1015" y="7"/>
                  </a:cubicBezTo>
                  <a:cubicBezTo>
                    <a:pt x="1014" y="7"/>
                    <a:pt x="1014" y="7"/>
                    <a:pt x="1014" y="7"/>
                  </a:cubicBezTo>
                  <a:cubicBezTo>
                    <a:pt x="1013" y="7"/>
                    <a:pt x="1013" y="7"/>
                    <a:pt x="1013" y="7"/>
                  </a:cubicBezTo>
                  <a:cubicBezTo>
                    <a:pt x="1013" y="7"/>
                    <a:pt x="1012" y="7"/>
                    <a:pt x="1012" y="7"/>
                  </a:cubicBezTo>
                  <a:cubicBezTo>
                    <a:pt x="1012" y="7"/>
                    <a:pt x="1012" y="7"/>
                    <a:pt x="1012" y="7"/>
                  </a:cubicBezTo>
                  <a:cubicBezTo>
                    <a:pt x="1011" y="7"/>
                    <a:pt x="1010" y="7"/>
                    <a:pt x="1010" y="7"/>
                  </a:cubicBezTo>
                  <a:cubicBezTo>
                    <a:pt x="1010" y="7"/>
                    <a:pt x="1010" y="7"/>
                    <a:pt x="1009" y="6"/>
                  </a:cubicBezTo>
                  <a:cubicBezTo>
                    <a:pt x="1009" y="6"/>
                    <a:pt x="1008" y="7"/>
                    <a:pt x="1007" y="6"/>
                  </a:cubicBezTo>
                  <a:cubicBezTo>
                    <a:pt x="1007" y="6"/>
                    <a:pt x="1007" y="6"/>
                    <a:pt x="1007" y="6"/>
                  </a:cubicBezTo>
                  <a:cubicBezTo>
                    <a:pt x="1005" y="6"/>
                    <a:pt x="1004" y="6"/>
                    <a:pt x="1003" y="6"/>
                  </a:cubicBezTo>
                  <a:cubicBezTo>
                    <a:pt x="1002" y="6"/>
                    <a:pt x="1001" y="6"/>
                    <a:pt x="1000" y="6"/>
                  </a:cubicBezTo>
                  <a:cubicBezTo>
                    <a:pt x="999" y="6"/>
                    <a:pt x="999" y="6"/>
                    <a:pt x="998" y="6"/>
                  </a:cubicBezTo>
                  <a:cubicBezTo>
                    <a:pt x="997" y="6"/>
                    <a:pt x="996" y="6"/>
                    <a:pt x="995" y="6"/>
                  </a:cubicBezTo>
                  <a:cubicBezTo>
                    <a:pt x="994" y="6"/>
                    <a:pt x="993" y="6"/>
                    <a:pt x="992" y="6"/>
                  </a:cubicBezTo>
                  <a:cubicBezTo>
                    <a:pt x="992" y="6"/>
                    <a:pt x="992" y="6"/>
                    <a:pt x="992" y="6"/>
                  </a:cubicBezTo>
                  <a:cubicBezTo>
                    <a:pt x="991" y="7"/>
                    <a:pt x="990" y="6"/>
                    <a:pt x="990" y="6"/>
                  </a:cubicBezTo>
                  <a:cubicBezTo>
                    <a:pt x="990" y="7"/>
                    <a:pt x="990" y="7"/>
                    <a:pt x="990" y="7"/>
                  </a:cubicBezTo>
                  <a:cubicBezTo>
                    <a:pt x="989" y="7"/>
                    <a:pt x="989" y="7"/>
                    <a:pt x="989" y="7"/>
                  </a:cubicBezTo>
                  <a:cubicBezTo>
                    <a:pt x="989" y="7"/>
                    <a:pt x="988" y="6"/>
                    <a:pt x="988" y="7"/>
                  </a:cubicBezTo>
                  <a:cubicBezTo>
                    <a:pt x="988" y="7"/>
                    <a:pt x="988" y="7"/>
                    <a:pt x="988" y="7"/>
                  </a:cubicBezTo>
                  <a:cubicBezTo>
                    <a:pt x="987" y="7"/>
                    <a:pt x="987" y="7"/>
                    <a:pt x="986" y="7"/>
                  </a:cubicBezTo>
                  <a:cubicBezTo>
                    <a:pt x="986" y="7"/>
                    <a:pt x="986" y="7"/>
                    <a:pt x="986" y="7"/>
                  </a:cubicBezTo>
                  <a:cubicBezTo>
                    <a:pt x="986" y="7"/>
                    <a:pt x="985" y="7"/>
                    <a:pt x="985" y="8"/>
                  </a:cubicBezTo>
                  <a:cubicBezTo>
                    <a:pt x="985" y="8"/>
                    <a:pt x="985" y="8"/>
                    <a:pt x="985" y="8"/>
                  </a:cubicBezTo>
                  <a:cubicBezTo>
                    <a:pt x="984" y="8"/>
                    <a:pt x="984" y="8"/>
                    <a:pt x="984" y="8"/>
                  </a:cubicBezTo>
                  <a:cubicBezTo>
                    <a:pt x="984" y="8"/>
                    <a:pt x="984" y="8"/>
                    <a:pt x="984" y="8"/>
                  </a:cubicBezTo>
                  <a:cubicBezTo>
                    <a:pt x="983" y="8"/>
                    <a:pt x="983" y="8"/>
                    <a:pt x="983" y="8"/>
                  </a:cubicBezTo>
                  <a:cubicBezTo>
                    <a:pt x="983" y="8"/>
                    <a:pt x="983" y="8"/>
                    <a:pt x="983" y="8"/>
                  </a:cubicBezTo>
                  <a:cubicBezTo>
                    <a:pt x="982" y="9"/>
                    <a:pt x="982" y="8"/>
                    <a:pt x="982" y="9"/>
                  </a:cubicBezTo>
                  <a:cubicBezTo>
                    <a:pt x="982" y="9"/>
                    <a:pt x="982" y="9"/>
                    <a:pt x="982" y="9"/>
                  </a:cubicBezTo>
                  <a:cubicBezTo>
                    <a:pt x="981" y="9"/>
                    <a:pt x="981" y="9"/>
                    <a:pt x="981" y="9"/>
                  </a:cubicBezTo>
                  <a:cubicBezTo>
                    <a:pt x="981" y="9"/>
                    <a:pt x="981" y="9"/>
                    <a:pt x="981" y="9"/>
                  </a:cubicBezTo>
                  <a:cubicBezTo>
                    <a:pt x="980" y="9"/>
                    <a:pt x="980" y="9"/>
                    <a:pt x="980" y="9"/>
                  </a:cubicBezTo>
                  <a:cubicBezTo>
                    <a:pt x="980" y="9"/>
                    <a:pt x="980" y="9"/>
                    <a:pt x="980" y="9"/>
                  </a:cubicBezTo>
                  <a:cubicBezTo>
                    <a:pt x="980" y="9"/>
                    <a:pt x="979" y="9"/>
                    <a:pt x="979" y="10"/>
                  </a:cubicBezTo>
                  <a:cubicBezTo>
                    <a:pt x="979" y="10"/>
                    <a:pt x="979" y="10"/>
                    <a:pt x="979" y="10"/>
                  </a:cubicBezTo>
                  <a:cubicBezTo>
                    <a:pt x="979" y="10"/>
                    <a:pt x="978" y="10"/>
                    <a:pt x="978" y="10"/>
                  </a:cubicBezTo>
                  <a:cubicBezTo>
                    <a:pt x="978" y="10"/>
                    <a:pt x="978" y="10"/>
                    <a:pt x="978" y="10"/>
                  </a:cubicBezTo>
                  <a:cubicBezTo>
                    <a:pt x="978" y="10"/>
                    <a:pt x="978" y="10"/>
                    <a:pt x="977" y="10"/>
                  </a:cubicBezTo>
                  <a:cubicBezTo>
                    <a:pt x="977" y="10"/>
                    <a:pt x="977" y="10"/>
                    <a:pt x="977" y="10"/>
                  </a:cubicBezTo>
                  <a:cubicBezTo>
                    <a:pt x="977" y="11"/>
                    <a:pt x="977" y="10"/>
                    <a:pt x="977" y="11"/>
                  </a:cubicBezTo>
                  <a:cubicBezTo>
                    <a:pt x="977" y="11"/>
                    <a:pt x="977" y="11"/>
                    <a:pt x="977" y="11"/>
                  </a:cubicBezTo>
                  <a:cubicBezTo>
                    <a:pt x="977" y="11"/>
                    <a:pt x="976" y="11"/>
                    <a:pt x="976" y="11"/>
                  </a:cubicBezTo>
                  <a:cubicBezTo>
                    <a:pt x="976" y="11"/>
                    <a:pt x="976" y="11"/>
                    <a:pt x="976" y="11"/>
                  </a:cubicBezTo>
                  <a:cubicBezTo>
                    <a:pt x="976" y="11"/>
                    <a:pt x="976" y="11"/>
                    <a:pt x="975" y="11"/>
                  </a:cubicBezTo>
                  <a:cubicBezTo>
                    <a:pt x="975" y="11"/>
                    <a:pt x="975" y="11"/>
                    <a:pt x="975" y="11"/>
                  </a:cubicBezTo>
                  <a:cubicBezTo>
                    <a:pt x="975" y="12"/>
                    <a:pt x="975" y="11"/>
                    <a:pt x="975" y="12"/>
                  </a:cubicBezTo>
                  <a:cubicBezTo>
                    <a:pt x="975" y="12"/>
                    <a:pt x="975" y="12"/>
                    <a:pt x="975" y="12"/>
                  </a:cubicBezTo>
                  <a:cubicBezTo>
                    <a:pt x="974" y="12"/>
                    <a:pt x="974" y="12"/>
                    <a:pt x="974" y="12"/>
                  </a:cubicBezTo>
                  <a:cubicBezTo>
                    <a:pt x="974" y="12"/>
                    <a:pt x="974" y="12"/>
                    <a:pt x="974" y="12"/>
                  </a:cubicBezTo>
                  <a:cubicBezTo>
                    <a:pt x="974" y="12"/>
                    <a:pt x="974" y="12"/>
                    <a:pt x="974" y="12"/>
                  </a:cubicBezTo>
                  <a:cubicBezTo>
                    <a:pt x="974" y="12"/>
                    <a:pt x="974" y="12"/>
                    <a:pt x="974" y="12"/>
                  </a:cubicBezTo>
                  <a:cubicBezTo>
                    <a:pt x="973" y="13"/>
                    <a:pt x="973" y="13"/>
                    <a:pt x="973" y="13"/>
                  </a:cubicBezTo>
                  <a:cubicBezTo>
                    <a:pt x="973" y="13"/>
                    <a:pt x="973" y="13"/>
                    <a:pt x="973" y="13"/>
                  </a:cubicBezTo>
                  <a:cubicBezTo>
                    <a:pt x="973" y="13"/>
                    <a:pt x="972" y="13"/>
                    <a:pt x="972" y="13"/>
                  </a:cubicBezTo>
                  <a:cubicBezTo>
                    <a:pt x="972" y="13"/>
                    <a:pt x="972" y="13"/>
                    <a:pt x="972" y="13"/>
                  </a:cubicBezTo>
                  <a:cubicBezTo>
                    <a:pt x="972" y="13"/>
                    <a:pt x="972" y="13"/>
                    <a:pt x="972" y="13"/>
                  </a:cubicBezTo>
                  <a:cubicBezTo>
                    <a:pt x="972" y="13"/>
                    <a:pt x="972" y="13"/>
                    <a:pt x="972" y="13"/>
                  </a:cubicBezTo>
                  <a:cubicBezTo>
                    <a:pt x="972" y="14"/>
                    <a:pt x="971" y="14"/>
                    <a:pt x="971" y="14"/>
                  </a:cubicBezTo>
                  <a:cubicBezTo>
                    <a:pt x="971" y="14"/>
                    <a:pt x="971" y="14"/>
                    <a:pt x="971" y="14"/>
                  </a:cubicBezTo>
                  <a:cubicBezTo>
                    <a:pt x="971" y="14"/>
                    <a:pt x="971" y="14"/>
                    <a:pt x="971" y="14"/>
                  </a:cubicBezTo>
                  <a:cubicBezTo>
                    <a:pt x="971" y="14"/>
                    <a:pt x="971" y="14"/>
                    <a:pt x="971" y="14"/>
                  </a:cubicBezTo>
                  <a:cubicBezTo>
                    <a:pt x="971" y="14"/>
                    <a:pt x="971" y="14"/>
                    <a:pt x="970" y="14"/>
                  </a:cubicBezTo>
                  <a:cubicBezTo>
                    <a:pt x="970" y="14"/>
                    <a:pt x="970" y="14"/>
                    <a:pt x="970" y="14"/>
                  </a:cubicBezTo>
                  <a:cubicBezTo>
                    <a:pt x="970" y="15"/>
                    <a:pt x="970" y="15"/>
                    <a:pt x="970" y="15"/>
                  </a:cubicBezTo>
                  <a:cubicBezTo>
                    <a:pt x="970" y="15"/>
                    <a:pt x="970" y="15"/>
                    <a:pt x="970" y="15"/>
                  </a:cubicBezTo>
                  <a:cubicBezTo>
                    <a:pt x="970" y="15"/>
                    <a:pt x="970" y="15"/>
                    <a:pt x="969" y="15"/>
                  </a:cubicBezTo>
                  <a:cubicBezTo>
                    <a:pt x="969" y="15"/>
                    <a:pt x="969" y="15"/>
                    <a:pt x="969" y="15"/>
                  </a:cubicBezTo>
                  <a:cubicBezTo>
                    <a:pt x="969" y="15"/>
                    <a:pt x="969" y="16"/>
                    <a:pt x="968" y="16"/>
                  </a:cubicBezTo>
                  <a:cubicBezTo>
                    <a:pt x="968" y="16"/>
                    <a:pt x="968" y="16"/>
                    <a:pt x="968" y="16"/>
                  </a:cubicBezTo>
                  <a:cubicBezTo>
                    <a:pt x="968" y="16"/>
                    <a:pt x="968" y="16"/>
                    <a:pt x="968" y="16"/>
                  </a:cubicBezTo>
                  <a:cubicBezTo>
                    <a:pt x="968" y="16"/>
                    <a:pt x="968" y="16"/>
                    <a:pt x="968" y="16"/>
                  </a:cubicBezTo>
                  <a:cubicBezTo>
                    <a:pt x="968" y="16"/>
                    <a:pt x="968" y="16"/>
                    <a:pt x="968" y="17"/>
                  </a:cubicBezTo>
                  <a:cubicBezTo>
                    <a:pt x="968" y="17"/>
                    <a:pt x="968" y="17"/>
                    <a:pt x="968" y="17"/>
                  </a:cubicBezTo>
                  <a:cubicBezTo>
                    <a:pt x="968" y="17"/>
                    <a:pt x="967" y="17"/>
                    <a:pt x="967" y="17"/>
                  </a:cubicBezTo>
                  <a:cubicBezTo>
                    <a:pt x="967" y="17"/>
                    <a:pt x="967" y="17"/>
                    <a:pt x="967" y="17"/>
                  </a:cubicBezTo>
                  <a:cubicBezTo>
                    <a:pt x="967" y="17"/>
                    <a:pt x="967" y="17"/>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5" y="18"/>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4" y="19"/>
                    <a:pt x="964" y="20"/>
                    <a:pt x="964" y="20"/>
                  </a:cubicBezTo>
                  <a:cubicBezTo>
                    <a:pt x="964" y="20"/>
                    <a:pt x="964" y="20"/>
                    <a:pt x="964" y="20"/>
                  </a:cubicBezTo>
                  <a:cubicBezTo>
                    <a:pt x="964" y="20"/>
                    <a:pt x="964" y="20"/>
                    <a:pt x="964" y="20"/>
                  </a:cubicBezTo>
                  <a:cubicBezTo>
                    <a:pt x="964" y="20"/>
                    <a:pt x="964" y="20"/>
                    <a:pt x="964" y="20"/>
                  </a:cubicBezTo>
                  <a:cubicBezTo>
                    <a:pt x="964" y="20"/>
                    <a:pt x="964" y="20"/>
                    <a:pt x="964" y="21"/>
                  </a:cubicBezTo>
                  <a:cubicBezTo>
                    <a:pt x="964" y="20"/>
                    <a:pt x="964" y="20"/>
                    <a:pt x="964" y="20"/>
                  </a:cubicBezTo>
                  <a:cubicBezTo>
                    <a:pt x="963" y="21"/>
                    <a:pt x="963" y="21"/>
                    <a:pt x="963" y="21"/>
                  </a:cubicBezTo>
                  <a:cubicBezTo>
                    <a:pt x="963" y="21"/>
                    <a:pt x="963" y="21"/>
                    <a:pt x="963" y="21"/>
                  </a:cubicBezTo>
                  <a:cubicBezTo>
                    <a:pt x="963" y="22"/>
                    <a:pt x="963" y="22"/>
                    <a:pt x="962" y="22"/>
                  </a:cubicBezTo>
                  <a:cubicBezTo>
                    <a:pt x="962" y="22"/>
                    <a:pt x="962" y="22"/>
                    <a:pt x="962" y="22"/>
                  </a:cubicBezTo>
                  <a:cubicBezTo>
                    <a:pt x="962" y="22"/>
                    <a:pt x="962" y="22"/>
                    <a:pt x="962" y="22"/>
                  </a:cubicBezTo>
                  <a:cubicBezTo>
                    <a:pt x="962" y="22"/>
                    <a:pt x="962" y="22"/>
                    <a:pt x="962" y="22"/>
                  </a:cubicBezTo>
                  <a:cubicBezTo>
                    <a:pt x="962" y="22"/>
                    <a:pt x="962" y="22"/>
                    <a:pt x="962" y="23"/>
                  </a:cubicBezTo>
                  <a:cubicBezTo>
                    <a:pt x="962" y="23"/>
                    <a:pt x="962" y="23"/>
                    <a:pt x="962" y="23"/>
                  </a:cubicBezTo>
                  <a:cubicBezTo>
                    <a:pt x="961" y="23"/>
                    <a:pt x="961" y="23"/>
                    <a:pt x="961" y="24"/>
                  </a:cubicBezTo>
                  <a:cubicBezTo>
                    <a:pt x="961" y="24"/>
                    <a:pt x="961" y="24"/>
                    <a:pt x="961" y="24"/>
                  </a:cubicBezTo>
                  <a:cubicBezTo>
                    <a:pt x="961" y="24"/>
                    <a:pt x="961" y="24"/>
                    <a:pt x="961" y="24"/>
                  </a:cubicBezTo>
                  <a:cubicBezTo>
                    <a:pt x="961" y="24"/>
                    <a:pt x="961" y="24"/>
                    <a:pt x="961" y="24"/>
                  </a:cubicBezTo>
                  <a:cubicBezTo>
                    <a:pt x="961" y="24"/>
                    <a:pt x="960" y="24"/>
                    <a:pt x="960" y="24"/>
                  </a:cubicBezTo>
                  <a:cubicBezTo>
                    <a:pt x="960" y="24"/>
                    <a:pt x="960" y="24"/>
                    <a:pt x="960" y="24"/>
                  </a:cubicBezTo>
                  <a:cubicBezTo>
                    <a:pt x="960" y="24"/>
                    <a:pt x="960" y="25"/>
                    <a:pt x="960" y="25"/>
                  </a:cubicBezTo>
                  <a:cubicBezTo>
                    <a:pt x="960" y="25"/>
                    <a:pt x="960" y="25"/>
                    <a:pt x="960" y="25"/>
                  </a:cubicBezTo>
                  <a:cubicBezTo>
                    <a:pt x="960" y="25"/>
                    <a:pt x="960" y="25"/>
                    <a:pt x="960" y="25"/>
                  </a:cubicBezTo>
                  <a:cubicBezTo>
                    <a:pt x="960" y="25"/>
                    <a:pt x="960" y="25"/>
                    <a:pt x="960" y="25"/>
                  </a:cubicBezTo>
                  <a:cubicBezTo>
                    <a:pt x="959" y="25"/>
                    <a:pt x="960" y="26"/>
                    <a:pt x="959" y="26"/>
                  </a:cubicBezTo>
                  <a:cubicBezTo>
                    <a:pt x="959" y="26"/>
                    <a:pt x="959" y="26"/>
                    <a:pt x="959" y="26"/>
                  </a:cubicBezTo>
                  <a:cubicBezTo>
                    <a:pt x="959" y="26"/>
                    <a:pt x="959" y="26"/>
                    <a:pt x="959" y="26"/>
                  </a:cubicBezTo>
                  <a:cubicBezTo>
                    <a:pt x="959" y="26"/>
                    <a:pt x="959" y="26"/>
                    <a:pt x="959" y="26"/>
                  </a:cubicBezTo>
                  <a:cubicBezTo>
                    <a:pt x="959" y="26"/>
                    <a:pt x="959" y="27"/>
                    <a:pt x="959" y="27"/>
                  </a:cubicBezTo>
                  <a:cubicBezTo>
                    <a:pt x="959" y="27"/>
                    <a:pt x="959" y="27"/>
                    <a:pt x="959" y="27"/>
                  </a:cubicBezTo>
                  <a:cubicBezTo>
                    <a:pt x="958" y="27"/>
                    <a:pt x="958" y="27"/>
                    <a:pt x="958" y="27"/>
                  </a:cubicBezTo>
                  <a:cubicBezTo>
                    <a:pt x="958" y="27"/>
                    <a:pt x="958" y="27"/>
                    <a:pt x="958" y="27"/>
                  </a:cubicBezTo>
                  <a:cubicBezTo>
                    <a:pt x="958" y="28"/>
                    <a:pt x="958" y="28"/>
                    <a:pt x="958" y="28"/>
                  </a:cubicBezTo>
                  <a:cubicBezTo>
                    <a:pt x="958" y="28"/>
                    <a:pt x="958" y="28"/>
                    <a:pt x="958" y="28"/>
                  </a:cubicBezTo>
                  <a:cubicBezTo>
                    <a:pt x="958" y="28"/>
                    <a:pt x="958" y="29"/>
                    <a:pt x="958" y="29"/>
                  </a:cubicBezTo>
                  <a:cubicBezTo>
                    <a:pt x="958" y="29"/>
                    <a:pt x="958" y="29"/>
                    <a:pt x="958" y="29"/>
                  </a:cubicBezTo>
                  <a:cubicBezTo>
                    <a:pt x="957" y="29"/>
                    <a:pt x="957" y="29"/>
                    <a:pt x="957" y="29"/>
                  </a:cubicBezTo>
                  <a:cubicBezTo>
                    <a:pt x="957" y="29"/>
                    <a:pt x="957" y="29"/>
                    <a:pt x="957" y="29"/>
                  </a:cubicBezTo>
                  <a:cubicBezTo>
                    <a:pt x="957" y="30"/>
                    <a:pt x="957" y="30"/>
                    <a:pt x="957" y="30"/>
                  </a:cubicBezTo>
                  <a:cubicBezTo>
                    <a:pt x="957" y="30"/>
                    <a:pt x="957" y="30"/>
                    <a:pt x="957" y="30"/>
                  </a:cubicBezTo>
                  <a:cubicBezTo>
                    <a:pt x="957" y="30"/>
                    <a:pt x="957" y="30"/>
                    <a:pt x="957" y="30"/>
                  </a:cubicBezTo>
                  <a:cubicBezTo>
                    <a:pt x="957" y="30"/>
                    <a:pt x="957" y="30"/>
                    <a:pt x="957" y="31"/>
                  </a:cubicBezTo>
                  <a:cubicBezTo>
                    <a:pt x="957" y="31"/>
                    <a:pt x="957" y="31"/>
                    <a:pt x="957" y="31"/>
                  </a:cubicBezTo>
                  <a:cubicBezTo>
                    <a:pt x="956" y="31"/>
                    <a:pt x="956" y="31"/>
                    <a:pt x="956" y="31"/>
                  </a:cubicBezTo>
                  <a:cubicBezTo>
                    <a:pt x="956" y="31"/>
                    <a:pt x="956" y="31"/>
                    <a:pt x="956" y="31"/>
                  </a:cubicBezTo>
                  <a:cubicBezTo>
                    <a:pt x="956" y="31"/>
                    <a:pt x="956" y="32"/>
                    <a:pt x="956" y="32"/>
                  </a:cubicBezTo>
                  <a:cubicBezTo>
                    <a:pt x="956" y="32"/>
                    <a:pt x="956" y="32"/>
                    <a:pt x="956" y="32"/>
                  </a:cubicBezTo>
                  <a:cubicBezTo>
                    <a:pt x="956" y="32"/>
                    <a:pt x="956" y="32"/>
                    <a:pt x="956" y="32"/>
                  </a:cubicBezTo>
                  <a:cubicBezTo>
                    <a:pt x="956" y="32"/>
                    <a:pt x="956" y="33"/>
                    <a:pt x="956" y="33"/>
                  </a:cubicBezTo>
                  <a:cubicBezTo>
                    <a:pt x="956" y="33"/>
                    <a:pt x="956" y="33"/>
                    <a:pt x="956" y="33"/>
                  </a:cubicBezTo>
                  <a:cubicBezTo>
                    <a:pt x="955" y="33"/>
                    <a:pt x="955" y="33"/>
                    <a:pt x="955" y="33"/>
                  </a:cubicBezTo>
                  <a:cubicBezTo>
                    <a:pt x="955" y="33"/>
                    <a:pt x="955" y="33"/>
                    <a:pt x="955" y="34"/>
                  </a:cubicBezTo>
                  <a:cubicBezTo>
                    <a:pt x="955" y="34"/>
                    <a:pt x="955" y="34"/>
                    <a:pt x="955" y="34"/>
                  </a:cubicBezTo>
                  <a:cubicBezTo>
                    <a:pt x="955" y="34"/>
                    <a:pt x="955" y="34"/>
                    <a:pt x="955" y="34"/>
                  </a:cubicBezTo>
                  <a:cubicBezTo>
                    <a:pt x="955" y="34"/>
                    <a:pt x="955" y="34"/>
                    <a:pt x="955" y="34"/>
                  </a:cubicBezTo>
                  <a:cubicBezTo>
                    <a:pt x="955" y="35"/>
                    <a:pt x="955" y="35"/>
                    <a:pt x="954" y="35"/>
                  </a:cubicBezTo>
                  <a:cubicBezTo>
                    <a:pt x="955" y="35"/>
                    <a:pt x="955" y="35"/>
                    <a:pt x="955" y="35"/>
                  </a:cubicBezTo>
                  <a:cubicBezTo>
                    <a:pt x="954" y="35"/>
                    <a:pt x="954" y="35"/>
                    <a:pt x="954" y="35"/>
                  </a:cubicBezTo>
                  <a:cubicBezTo>
                    <a:pt x="954" y="36"/>
                    <a:pt x="954" y="36"/>
                    <a:pt x="954" y="36"/>
                  </a:cubicBezTo>
                  <a:cubicBezTo>
                    <a:pt x="954" y="36"/>
                    <a:pt x="954" y="36"/>
                    <a:pt x="954" y="36"/>
                  </a:cubicBezTo>
                  <a:cubicBezTo>
                    <a:pt x="954" y="36"/>
                    <a:pt x="954" y="37"/>
                    <a:pt x="954" y="37"/>
                  </a:cubicBezTo>
                  <a:cubicBezTo>
                    <a:pt x="954" y="37"/>
                    <a:pt x="954" y="37"/>
                    <a:pt x="954" y="37"/>
                  </a:cubicBezTo>
                  <a:cubicBezTo>
                    <a:pt x="953" y="37"/>
                    <a:pt x="954" y="38"/>
                    <a:pt x="953" y="38"/>
                  </a:cubicBezTo>
                  <a:cubicBezTo>
                    <a:pt x="953" y="38"/>
                    <a:pt x="953" y="38"/>
                    <a:pt x="953" y="38"/>
                  </a:cubicBezTo>
                  <a:cubicBezTo>
                    <a:pt x="953" y="38"/>
                    <a:pt x="953" y="39"/>
                    <a:pt x="953" y="39"/>
                  </a:cubicBezTo>
                  <a:cubicBezTo>
                    <a:pt x="953" y="39"/>
                    <a:pt x="953" y="39"/>
                    <a:pt x="953" y="39"/>
                  </a:cubicBezTo>
                  <a:cubicBezTo>
                    <a:pt x="953" y="40"/>
                    <a:pt x="953" y="40"/>
                    <a:pt x="953" y="40"/>
                  </a:cubicBezTo>
                  <a:cubicBezTo>
                    <a:pt x="953" y="41"/>
                    <a:pt x="953" y="41"/>
                    <a:pt x="953" y="41"/>
                  </a:cubicBezTo>
                  <a:cubicBezTo>
                    <a:pt x="953" y="41"/>
                    <a:pt x="953" y="41"/>
                    <a:pt x="953" y="41"/>
                  </a:cubicBezTo>
                  <a:cubicBezTo>
                    <a:pt x="952" y="41"/>
                    <a:pt x="953" y="41"/>
                    <a:pt x="952" y="42"/>
                  </a:cubicBezTo>
                  <a:cubicBezTo>
                    <a:pt x="952" y="42"/>
                    <a:pt x="952" y="42"/>
                    <a:pt x="952" y="42"/>
                  </a:cubicBezTo>
                  <a:cubicBezTo>
                    <a:pt x="952" y="42"/>
                    <a:pt x="952" y="43"/>
                    <a:pt x="952" y="43"/>
                  </a:cubicBezTo>
                  <a:cubicBezTo>
                    <a:pt x="952" y="43"/>
                    <a:pt x="952" y="43"/>
                    <a:pt x="952" y="43"/>
                  </a:cubicBezTo>
                  <a:cubicBezTo>
                    <a:pt x="952" y="43"/>
                    <a:pt x="952" y="43"/>
                    <a:pt x="952" y="43"/>
                  </a:cubicBezTo>
                  <a:cubicBezTo>
                    <a:pt x="952" y="44"/>
                    <a:pt x="952" y="44"/>
                    <a:pt x="952" y="45"/>
                  </a:cubicBezTo>
                  <a:cubicBezTo>
                    <a:pt x="952" y="45"/>
                    <a:pt x="952" y="45"/>
                    <a:pt x="952" y="45"/>
                  </a:cubicBezTo>
                  <a:cubicBezTo>
                    <a:pt x="951" y="46"/>
                    <a:pt x="952" y="46"/>
                    <a:pt x="951" y="47"/>
                  </a:cubicBezTo>
                  <a:cubicBezTo>
                    <a:pt x="951" y="47"/>
                    <a:pt x="951" y="47"/>
                    <a:pt x="951" y="48"/>
                  </a:cubicBezTo>
                  <a:cubicBezTo>
                    <a:pt x="951" y="48"/>
                    <a:pt x="951" y="49"/>
                    <a:pt x="951" y="50"/>
                  </a:cubicBezTo>
                  <a:cubicBezTo>
                    <a:pt x="951" y="50"/>
                    <a:pt x="951" y="50"/>
                    <a:pt x="951" y="50"/>
                  </a:cubicBezTo>
                  <a:cubicBezTo>
                    <a:pt x="951" y="54"/>
                    <a:pt x="951" y="58"/>
                    <a:pt x="951" y="62"/>
                  </a:cubicBezTo>
                  <a:cubicBezTo>
                    <a:pt x="951" y="62"/>
                    <a:pt x="951" y="63"/>
                    <a:pt x="951" y="63"/>
                  </a:cubicBezTo>
                  <a:cubicBezTo>
                    <a:pt x="951" y="63"/>
                    <a:pt x="951" y="64"/>
                    <a:pt x="951" y="65"/>
                  </a:cubicBezTo>
                  <a:cubicBezTo>
                    <a:pt x="951" y="65"/>
                    <a:pt x="951" y="65"/>
                    <a:pt x="951" y="66"/>
                  </a:cubicBezTo>
                  <a:cubicBezTo>
                    <a:pt x="952" y="66"/>
                    <a:pt x="951" y="67"/>
                    <a:pt x="952" y="67"/>
                  </a:cubicBezTo>
                  <a:cubicBezTo>
                    <a:pt x="952" y="67"/>
                    <a:pt x="952" y="67"/>
                    <a:pt x="952" y="67"/>
                  </a:cubicBezTo>
                  <a:cubicBezTo>
                    <a:pt x="952" y="68"/>
                    <a:pt x="952" y="68"/>
                    <a:pt x="952" y="68"/>
                  </a:cubicBezTo>
                  <a:cubicBezTo>
                    <a:pt x="952" y="68"/>
                    <a:pt x="952" y="69"/>
                    <a:pt x="952" y="69"/>
                  </a:cubicBezTo>
                  <a:cubicBezTo>
                    <a:pt x="952" y="69"/>
                    <a:pt x="952" y="69"/>
                    <a:pt x="952" y="69"/>
                  </a:cubicBezTo>
                  <a:cubicBezTo>
                    <a:pt x="952" y="69"/>
                    <a:pt x="952" y="69"/>
                    <a:pt x="952" y="69"/>
                  </a:cubicBezTo>
                  <a:cubicBezTo>
                    <a:pt x="952" y="70"/>
                    <a:pt x="952" y="70"/>
                    <a:pt x="952" y="71"/>
                  </a:cubicBezTo>
                  <a:cubicBezTo>
                    <a:pt x="952" y="71"/>
                    <a:pt x="952" y="71"/>
                    <a:pt x="952" y="71"/>
                  </a:cubicBezTo>
                  <a:cubicBezTo>
                    <a:pt x="952" y="71"/>
                    <a:pt x="952" y="71"/>
                    <a:pt x="952" y="71"/>
                  </a:cubicBezTo>
                  <a:cubicBezTo>
                    <a:pt x="953" y="71"/>
                    <a:pt x="952" y="72"/>
                    <a:pt x="953" y="72"/>
                  </a:cubicBezTo>
                  <a:cubicBezTo>
                    <a:pt x="953" y="72"/>
                    <a:pt x="953" y="72"/>
                    <a:pt x="953" y="72"/>
                  </a:cubicBezTo>
                  <a:cubicBezTo>
                    <a:pt x="953" y="72"/>
                    <a:pt x="953" y="73"/>
                    <a:pt x="953" y="73"/>
                  </a:cubicBezTo>
                  <a:cubicBezTo>
                    <a:pt x="953" y="73"/>
                    <a:pt x="953" y="73"/>
                    <a:pt x="953" y="73"/>
                  </a:cubicBezTo>
                  <a:cubicBezTo>
                    <a:pt x="953" y="73"/>
                    <a:pt x="953" y="74"/>
                    <a:pt x="953" y="74"/>
                  </a:cubicBezTo>
                  <a:cubicBezTo>
                    <a:pt x="953" y="74"/>
                    <a:pt x="953" y="74"/>
                    <a:pt x="953" y="74"/>
                  </a:cubicBezTo>
                  <a:cubicBezTo>
                    <a:pt x="954" y="75"/>
                    <a:pt x="954" y="75"/>
                    <a:pt x="954" y="75"/>
                  </a:cubicBezTo>
                  <a:cubicBezTo>
                    <a:pt x="954" y="75"/>
                    <a:pt x="954" y="75"/>
                    <a:pt x="954" y="75"/>
                  </a:cubicBezTo>
                  <a:cubicBezTo>
                    <a:pt x="954" y="76"/>
                    <a:pt x="954" y="76"/>
                    <a:pt x="954" y="76"/>
                  </a:cubicBezTo>
                  <a:cubicBezTo>
                    <a:pt x="954" y="76"/>
                    <a:pt x="954" y="76"/>
                    <a:pt x="954" y="76"/>
                  </a:cubicBezTo>
                  <a:cubicBezTo>
                    <a:pt x="954" y="76"/>
                    <a:pt x="954" y="77"/>
                    <a:pt x="954" y="77"/>
                  </a:cubicBezTo>
                  <a:cubicBezTo>
                    <a:pt x="954" y="77"/>
                    <a:pt x="954" y="77"/>
                    <a:pt x="954" y="77"/>
                  </a:cubicBezTo>
                  <a:cubicBezTo>
                    <a:pt x="955" y="77"/>
                    <a:pt x="955" y="78"/>
                    <a:pt x="955" y="78"/>
                  </a:cubicBezTo>
                  <a:cubicBezTo>
                    <a:pt x="955" y="78"/>
                    <a:pt x="955" y="78"/>
                    <a:pt x="955" y="78"/>
                  </a:cubicBezTo>
                  <a:cubicBezTo>
                    <a:pt x="955" y="78"/>
                    <a:pt x="955" y="78"/>
                    <a:pt x="955" y="79"/>
                  </a:cubicBezTo>
                  <a:cubicBezTo>
                    <a:pt x="955" y="79"/>
                    <a:pt x="955" y="79"/>
                    <a:pt x="955" y="79"/>
                  </a:cubicBezTo>
                  <a:cubicBezTo>
                    <a:pt x="955" y="79"/>
                    <a:pt x="955" y="79"/>
                    <a:pt x="955" y="79"/>
                  </a:cubicBezTo>
                  <a:cubicBezTo>
                    <a:pt x="955" y="79"/>
                    <a:pt x="955" y="79"/>
                    <a:pt x="956" y="80"/>
                  </a:cubicBezTo>
                  <a:cubicBezTo>
                    <a:pt x="956" y="80"/>
                    <a:pt x="956" y="80"/>
                    <a:pt x="956" y="80"/>
                  </a:cubicBezTo>
                  <a:cubicBezTo>
                    <a:pt x="956" y="80"/>
                    <a:pt x="956" y="80"/>
                    <a:pt x="956" y="80"/>
                  </a:cubicBezTo>
                  <a:cubicBezTo>
                    <a:pt x="956" y="80"/>
                    <a:pt x="956" y="80"/>
                    <a:pt x="956" y="80"/>
                  </a:cubicBezTo>
                  <a:cubicBezTo>
                    <a:pt x="956" y="80"/>
                    <a:pt x="956" y="81"/>
                    <a:pt x="956" y="81"/>
                  </a:cubicBezTo>
                  <a:cubicBezTo>
                    <a:pt x="956" y="81"/>
                    <a:pt x="956" y="81"/>
                    <a:pt x="956" y="81"/>
                  </a:cubicBezTo>
                  <a:cubicBezTo>
                    <a:pt x="956" y="81"/>
                    <a:pt x="956" y="81"/>
                    <a:pt x="957" y="82"/>
                  </a:cubicBezTo>
                  <a:cubicBezTo>
                    <a:pt x="957" y="82"/>
                    <a:pt x="957" y="82"/>
                    <a:pt x="957" y="82"/>
                  </a:cubicBezTo>
                  <a:cubicBezTo>
                    <a:pt x="957" y="82"/>
                    <a:pt x="957" y="82"/>
                    <a:pt x="957" y="82"/>
                  </a:cubicBezTo>
                  <a:cubicBezTo>
                    <a:pt x="957" y="82"/>
                    <a:pt x="957" y="82"/>
                    <a:pt x="957" y="82"/>
                  </a:cubicBezTo>
                  <a:cubicBezTo>
                    <a:pt x="957" y="82"/>
                    <a:pt x="957" y="82"/>
                    <a:pt x="957" y="82"/>
                  </a:cubicBezTo>
                  <a:cubicBezTo>
                    <a:pt x="957" y="82"/>
                    <a:pt x="957" y="83"/>
                    <a:pt x="957" y="83"/>
                  </a:cubicBezTo>
                  <a:cubicBezTo>
                    <a:pt x="957" y="83"/>
                    <a:pt x="957" y="83"/>
                    <a:pt x="957" y="83"/>
                  </a:cubicBezTo>
                  <a:cubicBezTo>
                    <a:pt x="957" y="83"/>
                    <a:pt x="957" y="83"/>
                    <a:pt x="958" y="83"/>
                  </a:cubicBezTo>
                  <a:cubicBezTo>
                    <a:pt x="958" y="83"/>
                    <a:pt x="958" y="83"/>
                    <a:pt x="958" y="83"/>
                  </a:cubicBezTo>
                  <a:cubicBezTo>
                    <a:pt x="958" y="84"/>
                    <a:pt x="958" y="84"/>
                    <a:pt x="958" y="84"/>
                  </a:cubicBezTo>
                  <a:cubicBezTo>
                    <a:pt x="958" y="84"/>
                    <a:pt x="958" y="84"/>
                    <a:pt x="958" y="84"/>
                  </a:cubicBezTo>
                  <a:cubicBezTo>
                    <a:pt x="958" y="84"/>
                    <a:pt x="958" y="84"/>
                    <a:pt x="958" y="84"/>
                  </a:cubicBezTo>
                  <a:cubicBezTo>
                    <a:pt x="958" y="84"/>
                    <a:pt x="958" y="84"/>
                    <a:pt x="958" y="84"/>
                  </a:cubicBezTo>
                  <a:cubicBezTo>
                    <a:pt x="958" y="85"/>
                    <a:pt x="958" y="85"/>
                    <a:pt x="959" y="85"/>
                  </a:cubicBezTo>
                  <a:cubicBezTo>
                    <a:pt x="959" y="85"/>
                    <a:pt x="959" y="85"/>
                    <a:pt x="959" y="85"/>
                  </a:cubicBezTo>
                  <a:cubicBezTo>
                    <a:pt x="959" y="85"/>
                    <a:pt x="959" y="85"/>
                    <a:pt x="959" y="86"/>
                  </a:cubicBezTo>
                  <a:cubicBezTo>
                    <a:pt x="959" y="86"/>
                    <a:pt x="959" y="86"/>
                    <a:pt x="959" y="86"/>
                  </a:cubicBezTo>
                  <a:cubicBezTo>
                    <a:pt x="959" y="86"/>
                    <a:pt x="959" y="86"/>
                    <a:pt x="959" y="86"/>
                  </a:cubicBezTo>
                  <a:cubicBezTo>
                    <a:pt x="959" y="86"/>
                    <a:pt x="959" y="86"/>
                    <a:pt x="959" y="86"/>
                  </a:cubicBezTo>
                  <a:cubicBezTo>
                    <a:pt x="959" y="86"/>
                    <a:pt x="960" y="86"/>
                    <a:pt x="960" y="87"/>
                  </a:cubicBezTo>
                  <a:cubicBezTo>
                    <a:pt x="960" y="87"/>
                    <a:pt x="960" y="87"/>
                    <a:pt x="960" y="87"/>
                  </a:cubicBezTo>
                  <a:cubicBezTo>
                    <a:pt x="960" y="87"/>
                    <a:pt x="960" y="87"/>
                    <a:pt x="960" y="87"/>
                  </a:cubicBezTo>
                  <a:cubicBezTo>
                    <a:pt x="960" y="87"/>
                    <a:pt x="960" y="87"/>
                    <a:pt x="960" y="87"/>
                  </a:cubicBezTo>
                  <a:cubicBezTo>
                    <a:pt x="960" y="87"/>
                    <a:pt x="960" y="87"/>
                    <a:pt x="960" y="88"/>
                  </a:cubicBezTo>
                  <a:cubicBezTo>
                    <a:pt x="960" y="87"/>
                    <a:pt x="960" y="87"/>
                    <a:pt x="960" y="87"/>
                  </a:cubicBezTo>
                  <a:cubicBezTo>
                    <a:pt x="960" y="88"/>
                    <a:pt x="961" y="88"/>
                    <a:pt x="961" y="88"/>
                  </a:cubicBezTo>
                  <a:cubicBezTo>
                    <a:pt x="961" y="88"/>
                    <a:pt x="961" y="88"/>
                    <a:pt x="961" y="88"/>
                  </a:cubicBezTo>
                  <a:cubicBezTo>
                    <a:pt x="961" y="88"/>
                    <a:pt x="961" y="88"/>
                    <a:pt x="961" y="88"/>
                  </a:cubicBezTo>
                  <a:cubicBezTo>
                    <a:pt x="961" y="88"/>
                    <a:pt x="961" y="88"/>
                    <a:pt x="961" y="88"/>
                  </a:cubicBezTo>
                  <a:cubicBezTo>
                    <a:pt x="961" y="89"/>
                    <a:pt x="961" y="89"/>
                    <a:pt x="962" y="89"/>
                  </a:cubicBezTo>
                  <a:cubicBezTo>
                    <a:pt x="962" y="89"/>
                    <a:pt x="962" y="89"/>
                    <a:pt x="962" y="89"/>
                  </a:cubicBezTo>
                  <a:cubicBezTo>
                    <a:pt x="962" y="89"/>
                    <a:pt x="962" y="90"/>
                    <a:pt x="962" y="90"/>
                  </a:cubicBezTo>
                  <a:cubicBezTo>
                    <a:pt x="962" y="90"/>
                    <a:pt x="962" y="90"/>
                    <a:pt x="962" y="90"/>
                  </a:cubicBezTo>
                  <a:cubicBezTo>
                    <a:pt x="962" y="90"/>
                    <a:pt x="962" y="90"/>
                    <a:pt x="963" y="90"/>
                  </a:cubicBezTo>
                  <a:cubicBezTo>
                    <a:pt x="962" y="90"/>
                    <a:pt x="962" y="90"/>
                    <a:pt x="962" y="90"/>
                  </a:cubicBezTo>
                  <a:cubicBezTo>
                    <a:pt x="963" y="90"/>
                    <a:pt x="963" y="90"/>
                    <a:pt x="963" y="90"/>
                  </a:cubicBezTo>
                  <a:cubicBezTo>
                    <a:pt x="963" y="90"/>
                    <a:pt x="963" y="90"/>
                    <a:pt x="963" y="90"/>
                  </a:cubicBezTo>
                  <a:cubicBezTo>
                    <a:pt x="963" y="90"/>
                    <a:pt x="963" y="91"/>
                    <a:pt x="963" y="91"/>
                  </a:cubicBezTo>
                  <a:cubicBezTo>
                    <a:pt x="963" y="91"/>
                    <a:pt x="963" y="91"/>
                    <a:pt x="963" y="91"/>
                  </a:cubicBezTo>
                  <a:cubicBezTo>
                    <a:pt x="963" y="91"/>
                    <a:pt x="963" y="91"/>
                    <a:pt x="964" y="91"/>
                  </a:cubicBezTo>
                  <a:cubicBezTo>
                    <a:pt x="964" y="91"/>
                    <a:pt x="964" y="91"/>
                    <a:pt x="964" y="91"/>
                  </a:cubicBezTo>
                  <a:cubicBezTo>
                    <a:pt x="964" y="91"/>
                    <a:pt x="964" y="91"/>
                    <a:pt x="964" y="91"/>
                  </a:cubicBezTo>
                  <a:cubicBezTo>
                    <a:pt x="964" y="91"/>
                    <a:pt x="964" y="91"/>
                    <a:pt x="964" y="91"/>
                  </a:cubicBezTo>
                  <a:cubicBezTo>
                    <a:pt x="964" y="92"/>
                    <a:pt x="964" y="92"/>
                    <a:pt x="964" y="92"/>
                  </a:cubicBezTo>
                  <a:cubicBezTo>
                    <a:pt x="964" y="92"/>
                    <a:pt x="964" y="92"/>
                    <a:pt x="964" y="92"/>
                  </a:cubicBezTo>
                  <a:cubicBezTo>
                    <a:pt x="964" y="92"/>
                    <a:pt x="964" y="92"/>
                    <a:pt x="965" y="92"/>
                  </a:cubicBezTo>
                  <a:cubicBezTo>
                    <a:pt x="965" y="92"/>
                    <a:pt x="965" y="92"/>
                    <a:pt x="965" y="92"/>
                  </a:cubicBezTo>
                  <a:cubicBezTo>
                    <a:pt x="965" y="92"/>
                    <a:pt x="965" y="92"/>
                    <a:pt x="965" y="92"/>
                  </a:cubicBezTo>
                  <a:cubicBezTo>
                    <a:pt x="965" y="92"/>
                    <a:pt x="965" y="92"/>
                    <a:pt x="965" y="92"/>
                  </a:cubicBezTo>
                  <a:cubicBezTo>
                    <a:pt x="965" y="93"/>
                    <a:pt x="965" y="93"/>
                    <a:pt x="965" y="93"/>
                  </a:cubicBezTo>
                  <a:cubicBezTo>
                    <a:pt x="965" y="93"/>
                    <a:pt x="965" y="93"/>
                    <a:pt x="965" y="93"/>
                  </a:cubicBezTo>
                  <a:cubicBezTo>
                    <a:pt x="965" y="93"/>
                    <a:pt x="966" y="93"/>
                    <a:pt x="966" y="94"/>
                  </a:cubicBezTo>
                  <a:cubicBezTo>
                    <a:pt x="966" y="94"/>
                    <a:pt x="966" y="94"/>
                    <a:pt x="966" y="94"/>
                  </a:cubicBezTo>
                  <a:cubicBezTo>
                    <a:pt x="966"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5"/>
                    <a:pt x="968" y="95"/>
                    <a:pt x="968" y="95"/>
                  </a:cubicBezTo>
                  <a:cubicBezTo>
                    <a:pt x="968" y="95"/>
                    <a:pt x="968" y="95"/>
                    <a:pt x="968" y="95"/>
                  </a:cubicBezTo>
                  <a:cubicBezTo>
                    <a:pt x="968" y="95"/>
                    <a:pt x="968" y="95"/>
                    <a:pt x="968" y="95"/>
                  </a:cubicBezTo>
                  <a:cubicBezTo>
                    <a:pt x="968" y="95"/>
                    <a:pt x="968" y="95"/>
                    <a:pt x="968" y="95"/>
                  </a:cubicBezTo>
                  <a:cubicBezTo>
                    <a:pt x="969" y="96"/>
                    <a:pt x="969" y="96"/>
                    <a:pt x="969" y="96"/>
                  </a:cubicBezTo>
                  <a:cubicBezTo>
                    <a:pt x="969" y="96"/>
                    <a:pt x="969" y="96"/>
                    <a:pt x="969" y="96"/>
                  </a:cubicBezTo>
                  <a:cubicBezTo>
                    <a:pt x="970" y="96"/>
                    <a:pt x="970" y="96"/>
                    <a:pt x="971" y="97"/>
                  </a:cubicBezTo>
                  <a:cubicBezTo>
                    <a:pt x="970" y="97"/>
                    <a:pt x="970" y="97"/>
                    <a:pt x="970" y="97"/>
                  </a:cubicBezTo>
                  <a:cubicBezTo>
                    <a:pt x="971" y="97"/>
                    <a:pt x="971" y="97"/>
                    <a:pt x="971" y="97"/>
                  </a:cubicBezTo>
                  <a:cubicBezTo>
                    <a:pt x="971" y="97"/>
                    <a:pt x="971" y="97"/>
                    <a:pt x="971" y="97"/>
                  </a:cubicBezTo>
                  <a:cubicBezTo>
                    <a:pt x="971" y="97"/>
                    <a:pt x="971" y="97"/>
                    <a:pt x="972" y="97"/>
                  </a:cubicBezTo>
                  <a:cubicBezTo>
                    <a:pt x="972" y="97"/>
                    <a:pt x="972" y="97"/>
                    <a:pt x="972" y="97"/>
                  </a:cubicBezTo>
                  <a:cubicBezTo>
                    <a:pt x="972" y="98"/>
                    <a:pt x="972" y="97"/>
                    <a:pt x="972" y="98"/>
                  </a:cubicBezTo>
                  <a:cubicBezTo>
                    <a:pt x="972" y="98"/>
                    <a:pt x="972" y="98"/>
                    <a:pt x="972" y="98"/>
                  </a:cubicBezTo>
                  <a:cubicBezTo>
                    <a:pt x="972" y="98"/>
                    <a:pt x="973" y="98"/>
                    <a:pt x="973" y="98"/>
                  </a:cubicBezTo>
                  <a:cubicBezTo>
                    <a:pt x="973" y="98"/>
                    <a:pt x="973" y="98"/>
                    <a:pt x="973" y="98"/>
                  </a:cubicBezTo>
                  <a:cubicBezTo>
                    <a:pt x="973" y="98"/>
                    <a:pt x="973" y="98"/>
                    <a:pt x="974" y="98"/>
                  </a:cubicBezTo>
                  <a:cubicBezTo>
                    <a:pt x="974" y="98"/>
                    <a:pt x="974" y="98"/>
                    <a:pt x="974" y="98"/>
                  </a:cubicBezTo>
                  <a:cubicBezTo>
                    <a:pt x="974" y="99"/>
                    <a:pt x="974" y="99"/>
                    <a:pt x="974" y="99"/>
                  </a:cubicBezTo>
                  <a:cubicBezTo>
                    <a:pt x="974" y="99"/>
                    <a:pt x="974" y="99"/>
                    <a:pt x="974" y="99"/>
                  </a:cubicBezTo>
                  <a:cubicBezTo>
                    <a:pt x="974" y="99"/>
                    <a:pt x="975" y="99"/>
                    <a:pt x="975" y="99"/>
                  </a:cubicBezTo>
                  <a:cubicBezTo>
                    <a:pt x="975" y="99"/>
                    <a:pt x="975" y="99"/>
                    <a:pt x="975" y="99"/>
                  </a:cubicBezTo>
                  <a:cubicBezTo>
                    <a:pt x="975" y="99"/>
                    <a:pt x="975" y="99"/>
                    <a:pt x="976" y="99"/>
                  </a:cubicBezTo>
                  <a:cubicBezTo>
                    <a:pt x="976" y="99"/>
                    <a:pt x="976" y="99"/>
                    <a:pt x="976" y="99"/>
                  </a:cubicBezTo>
                  <a:cubicBezTo>
                    <a:pt x="976" y="100"/>
                    <a:pt x="976" y="100"/>
                    <a:pt x="977" y="100"/>
                  </a:cubicBezTo>
                  <a:cubicBezTo>
                    <a:pt x="977" y="100"/>
                    <a:pt x="977" y="100"/>
                    <a:pt x="977" y="100"/>
                  </a:cubicBezTo>
                  <a:cubicBezTo>
                    <a:pt x="977" y="100"/>
                    <a:pt x="977" y="100"/>
                    <a:pt x="977" y="100"/>
                  </a:cubicBezTo>
                  <a:cubicBezTo>
                    <a:pt x="977" y="100"/>
                    <a:pt x="977" y="100"/>
                    <a:pt x="977" y="100"/>
                  </a:cubicBezTo>
                  <a:cubicBezTo>
                    <a:pt x="977" y="100"/>
                    <a:pt x="977" y="100"/>
                    <a:pt x="977" y="100"/>
                  </a:cubicBezTo>
                  <a:cubicBezTo>
                    <a:pt x="978" y="100"/>
                    <a:pt x="978" y="100"/>
                    <a:pt x="978" y="100"/>
                  </a:cubicBezTo>
                  <a:cubicBezTo>
                    <a:pt x="978" y="100"/>
                    <a:pt x="978" y="100"/>
                    <a:pt x="978" y="100"/>
                  </a:cubicBezTo>
                  <a:cubicBezTo>
                    <a:pt x="978" y="100"/>
                    <a:pt x="978" y="100"/>
                    <a:pt x="978" y="100"/>
                  </a:cubicBezTo>
                  <a:cubicBezTo>
                    <a:pt x="979" y="101"/>
                    <a:pt x="979" y="101"/>
                    <a:pt x="979" y="101"/>
                  </a:cubicBezTo>
                  <a:cubicBezTo>
                    <a:pt x="979" y="101"/>
                    <a:pt x="979" y="101"/>
                    <a:pt x="979" y="101"/>
                  </a:cubicBezTo>
                  <a:cubicBezTo>
                    <a:pt x="980" y="101"/>
                    <a:pt x="980" y="101"/>
                    <a:pt x="980" y="101"/>
                  </a:cubicBezTo>
                  <a:cubicBezTo>
                    <a:pt x="980" y="101"/>
                    <a:pt x="980" y="101"/>
                    <a:pt x="980" y="101"/>
                  </a:cubicBezTo>
                  <a:cubicBezTo>
                    <a:pt x="980" y="101"/>
                    <a:pt x="980" y="101"/>
                    <a:pt x="980" y="101"/>
                  </a:cubicBezTo>
                  <a:cubicBezTo>
                    <a:pt x="981" y="101"/>
                    <a:pt x="981" y="101"/>
                    <a:pt x="981" y="101"/>
                  </a:cubicBezTo>
                  <a:cubicBezTo>
                    <a:pt x="981" y="101"/>
                    <a:pt x="981" y="101"/>
                    <a:pt x="982" y="102"/>
                  </a:cubicBezTo>
                  <a:cubicBezTo>
                    <a:pt x="982" y="101"/>
                    <a:pt x="982" y="101"/>
                    <a:pt x="982" y="101"/>
                  </a:cubicBezTo>
                  <a:cubicBezTo>
                    <a:pt x="982" y="102"/>
                    <a:pt x="982" y="102"/>
                    <a:pt x="983" y="102"/>
                  </a:cubicBezTo>
                  <a:cubicBezTo>
                    <a:pt x="983" y="102"/>
                    <a:pt x="983" y="102"/>
                    <a:pt x="983" y="102"/>
                  </a:cubicBezTo>
                  <a:cubicBezTo>
                    <a:pt x="983" y="102"/>
                    <a:pt x="983" y="102"/>
                    <a:pt x="983" y="102"/>
                  </a:cubicBezTo>
                  <a:cubicBezTo>
                    <a:pt x="983" y="102"/>
                    <a:pt x="984" y="102"/>
                    <a:pt x="984" y="102"/>
                  </a:cubicBezTo>
                  <a:cubicBezTo>
                    <a:pt x="985" y="102"/>
                    <a:pt x="985" y="102"/>
                    <a:pt x="985" y="102"/>
                  </a:cubicBezTo>
                  <a:cubicBezTo>
                    <a:pt x="985" y="102"/>
                    <a:pt x="985" y="102"/>
                    <a:pt x="985" y="102"/>
                  </a:cubicBezTo>
                  <a:cubicBezTo>
                    <a:pt x="985" y="103"/>
                    <a:pt x="986" y="102"/>
                    <a:pt x="986" y="103"/>
                  </a:cubicBezTo>
                  <a:cubicBezTo>
                    <a:pt x="986" y="102"/>
                    <a:pt x="986" y="102"/>
                    <a:pt x="986" y="102"/>
                  </a:cubicBezTo>
                  <a:cubicBezTo>
                    <a:pt x="986" y="103"/>
                    <a:pt x="986" y="103"/>
                    <a:pt x="986" y="103"/>
                  </a:cubicBezTo>
                  <a:cubicBezTo>
                    <a:pt x="987" y="103"/>
                    <a:pt x="988" y="103"/>
                    <a:pt x="989" y="103"/>
                  </a:cubicBezTo>
                  <a:cubicBezTo>
                    <a:pt x="989" y="103"/>
                    <a:pt x="989" y="103"/>
                    <a:pt x="989" y="103"/>
                  </a:cubicBezTo>
                  <a:cubicBezTo>
                    <a:pt x="991" y="103"/>
                    <a:pt x="992" y="103"/>
                    <a:pt x="993" y="103"/>
                  </a:cubicBezTo>
                  <a:cubicBezTo>
                    <a:pt x="995" y="103"/>
                    <a:pt x="996" y="103"/>
                    <a:pt x="997" y="103"/>
                  </a:cubicBezTo>
                  <a:cubicBezTo>
                    <a:pt x="999" y="103"/>
                    <a:pt x="1000" y="103"/>
                    <a:pt x="1002" y="103"/>
                  </a:cubicBezTo>
                  <a:cubicBezTo>
                    <a:pt x="1002" y="103"/>
                    <a:pt x="1002" y="103"/>
                    <a:pt x="1003" y="103"/>
                  </a:cubicBezTo>
                  <a:cubicBezTo>
                    <a:pt x="1004" y="102"/>
                    <a:pt x="1004" y="103"/>
                    <a:pt x="1005" y="103"/>
                  </a:cubicBezTo>
                  <a:cubicBezTo>
                    <a:pt x="1005" y="102"/>
                    <a:pt x="1005" y="102"/>
                    <a:pt x="1005" y="102"/>
                  </a:cubicBezTo>
                  <a:cubicBezTo>
                    <a:pt x="1006" y="103"/>
                    <a:pt x="1006" y="103"/>
                    <a:pt x="1006" y="103"/>
                  </a:cubicBezTo>
                  <a:cubicBezTo>
                    <a:pt x="1006" y="102"/>
                    <a:pt x="1007" y="103"/>
                    <a:pt x="1007" y="102"/>
                  </a:cubicBezTo>
                  <a:cubicBezTo>
                    <a:pt x="1007" y="102"/>
                    <a:pt x="1007" y="102"/>
                    <a:pt x="1007" y="102"/>
                  </a:cubicBezTo>
                  <a:cubicBezTo>
                    <a:pt x="1008" y="102"/>
                    <a:pt x="1008" y="102"/>
                    <a:pt x="1008" y="102"/>
                  </a:cubicBezTo>
                  <a:cubicBezTo>
                    <a:pt x="1008" y="102"/>
                    <a:pt x="1009" y="102"/>
                    <a:pt x="1009" y="102"/>
                  </a:cubicBezTo>
                  <a:cubicBezTo>
                    <a:pt x="1009" y="102"/>
                    <a:pt x="1009" y="102"/>
                    <a:pt x="1009" y="102"/>
                  </a:cubicBezTo>
                  <a:cubicBezTo>
                    <a:pt x="1009" y="102"/>
                    <a:pt x="1009" y="102"/>
                    <a:pt x="1009" y="102"/>
                  </a:cubicBezTo>
                  <a:cubicBezTo>
                    <a:pt x="1010" y="102"/>
                    <a:pt x="1010" y="102"/>
                    <a:pt x="1011" y="102"/>
                  </a:cubicBezTo>
                  <a:cubicBezTo>
                    <a:pt x="1011" y="101"/>
                    <a:pt x="1011" y="101"/>
                    <a:pt x="1011" y="101"/>
                  </a:cubicBezTo>
                  <a:cubicBezTo>
                    <a:pt x="1011" y="101"/>
                    <a:pt x="1011" y="101"/>
                    <a:pt x="1011" y="101"/>
                  </a:cubicBezTo>
                  <a:cubicBezTo>
                    <a:pt x="1011" y="101"/>
                    <a:pt x="1012" y="101"/>
                    <a:pt x="1012" y="101"/>
                  </a:cubicBezTo>
                  <a:cubicBezTo>
                    <a:pt x="1012" y="101"/>
                    <a:pt x="1012" y="101"/>
                    <a:pt x="1012" y="101"/>
                  </a:cubicBezTo>
                  <a:cubicBezTo>
                    <a:pt x="1013" y="101"/>
                    <a:pt x="1013" y="101"/>
                    <a:pt x="1013" y="101"/>
                  </a:cubicBezTo>
                  <a:cubicBezTo>
                    <a:pt x="1013" y="101"/>
                    <a:pt x="1013" y="101"/>
                    <a:pt x="1013" y="101"/>
                  </a:cubicBezTo>
                  <a:cubicBezTo>
                    <a:pt x="1013" y="101"/>
                    <a:pt x="1013" y="101"/>
                    <a:pt x="1013" y="101"/>
                  </a:cubicBezTo>
                  <a:cubicBezTo>
                    <a:pt x="1014" y="101"/>
                    <a:pt x="1014" y="101"/>
                    <a:pt x="1014" y="101"/>
                  </a:cubicBezTo>
                  <a:cubicBezTo>
                    <a:pt x="1014" y="100"/>
                    <a:pt x="1014" y="100"/>
                    <a:pt x="1014" y="100"/>
                  </a:cubicBezTo>
                  <a:cubicBezTo>
                    <a:pt x="1015" y="100"/>
                    <a:pt x="1015" y="100"/>
                    <a:pt x="1015" y="100"/>
                  </a:cubicBezTo>
                  <a:cubicBezTo>
                    <a:pt x="1015" y="100"/>
                    <a:pt x="1015" y="100"/>
                    <a:pt x="1015" y="100"/>
                  </a:cubicBezTo>
                  <a:cubicBezTo>
                    <a:pt x="1015" y="100"/>
                    <a:pt x="1015" y="100"/>
                    <a:pt x="1015" y="100"/>
                  </a:cubicBezTo>
                  <a:cubicBezTo>
                    <a:pt x="1016" y="100"/>
                    <a:pt x="1016" y="100"/>
                    <a:pt x="1016" y="100"/>
                  </a:cubicBezTo>
                  <a:cubicBezTo>
                    <a:pt x="1016" y="100"/>
                    <a:pt x="1016" y="100"/>
                    <a:pt x="1016" y="100"/>
                  </a:cubicBezTo>
                  <a:cubicBezTo>
                    <a:pt x="1016" y="100"/>
                    <a:pt x="1016" y="100"/>
                    <a:pt x="1016" y="100"/>
                  </a:cubicBezTo>
                  <a:cubicBezTo>
                    <a:pt x="1017" y="99"/>
                    <a:pt x="1017" y="100"/>
                    <a:pt x="1017" y="99"/>
                  </a:cubicBezTo>
                  <a:cubicBezTo>
                    <a:pt x="1017" y="99"/>
                    <a:pt x="1017" y="99"/>
                    <a:pt x="1017" y="99"/>
                  </a:cubicBezTo>
                  <a:cubicBezTo>
                    <a:pt x="1018" y="99"/>
                    <a:pt x="1018" y="99"/>
                    <a:pt x="1018" y="99"/>
                  </a:cubicBezTo>
                  <a:cubicBezTo>
                    <a:pt x="1018" y="99"/>
                    <a:pt x="1018" y="99"/>
                    <a:pt x="1018" y="99"/>
                  </a:cubicBezTo>
                  <a:cubicBezTo>
                    <a:pt x="1018" y="99"/>
                    <a:pt x="1019" y="99"/>
                    <a:pt x="1019" y="99"/>
                  </a:cubicBezTo>
                  <a:cubicBezTo>
                    <a:pt x="1019" y="99"/>
                    <a:pt x="1019" y="99"/>
                    <a:pt x="1019" y="99"/>
                  </a:cubicBezTo>
                  <a:cubicBezTo>
                    <a:pt x="1019" y="99"/>
                    <a:pt x="1019" y="99"/>
                    <a:pt x="1019" y="99"/>
                  </a:cubicBezTo>
                  <a:cubicBezTo>
                    <a:pt x="1019" y="99"/>
                    <a:pt x="1019" y="99"/>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1" y="98"/>
                    <a:pt x="1021" y="98"/>
                    <a:pt x="1021" y="98"/>
                  </a:cubicBezTo>
                  <a:cubicBezTo>
                    <a:pt x="1021" y="98"/>
                    <a:pt x="1021" y="98"/>
                    <a:pt x="1021" y="98"/>
                  </a:cubicBezTo>
                  <a:cubicBezTo>
                    <a:pt x="1021" y="94"/>
                    <a:pt x="1021" y="91"/>
                    <a:pt x="1021" y="87"/>
                  </a:cubicBezTo>
                  <a:cubicBezTo>
                    <a:pt x="1021" y="87"/>
                    <a:pt x="1021" y="87"/>
                    <a:pt x="1021" y="87"/>
                  </a:cubicBezTo>
                  <a:cubicBezTo>
                    <a:pt x="1021" y="87"/>
                    <a:pt x="1021" y="87"/>
                    <a:pt x="1021" y="87"/>
                  </a:cubicBezTo>
                  <a:cubicBezTo>
                    <a:pt x="1020" y="87"/>
                    <a:pt x="1020" y="87"/>
                    <a:pt x="1020" y="87"/>
                  </a:cubicBezTo>
                  <a:cubicBezTo>
                    <a:pt x="1020" y="87"/>
                    <a:pt x="1020" y="87"/>
                    <a:pt x="1020" y="87"/>
                  </a:cubicBezTo>
                  <a:cubicBezTo>
                    <a:pt x="1020" y="87"/>
                    <a:pt x="1019" y="87"/>
                    <a:pt x="1019" y="88"/>
                  </a:cubicBezTo>
                  <a:cubicBezTo>
                    <a:pt x="1019" y="88"/>
                    <a:pt x="1019" y="88"/>
                    <a:pt x="1019" y="88"/>
                  </a:cubicBezTo>
                  <a:cubicBezTo>
                    <a:pt x="1019" y="88"/>
                    <a:pt x="1019" y="88"/>
                    <a:pt x="1019" y="88"/>
                  </a:cubicBezTo>
                  <a:cubicBezTo>
                    <a:pt x="1019" y="88"/>
                    <a:pt x="1019" y="88"/>
                    <a:pt x="1019" y="88"/>
                  </a:cubicBezTo>
                  <a:cubicBezTo>
                    <a:pt x="1018" y="88"/>
                    <a:pt x="1018" y="88"/>
                    <a:pt x="1018" y="88"/>
                  </a:cubicBezTo>
                  <a:cubicBezTo>
                    <a:pt x="1018" y="88"/>
                    <a:pt x="1018" y="88"/>
                    <a:pt x="1018" y="88"/>
                  </a:cubicBezTo>
                  <a:cubicBezTo>
                    <a:pt x="1018" y="88"/>
                    <a:pt x="1018" y="88"/>
                    <a:pt x="1018" y="88"/>
                  </a:cubicBezTo>
                  <a:cubicBezTo>
                    <a:pt x="1018" y="88"/>
                    <a:pt x="1018" y="88"/>
                    <a:pt x="1017" y="89"/>
                  </a:cubicBezTo>
                  <a:cubicBezTo>
                    <a:pt x="1017" y="89"/>
                    <a:pt x="1017" y="89"/>
                    <a:pt x="1017" y="89"/>
                  </a:cubicBezTo>
                  <a:cubicBezTo>
                    <a:pt x="1017" y="89"/>
                    <a:pt x="1017" y="89"/>
                    <a:pt x="1017" y="89"/>
                  </a:cubicBezTo>
                  <a:cubicBezTo>
                    <a:pt x="1017" y="89"/>
                    <a:pt x="1017" y="89"/>
                    <a:pt x="1016" y="89"/>
                  </a:cubicBezTo>
                  <a:cubicBezTo>
                    <a:pt x="1016" y="89"/>
                    <a:pt x="1016" y="89"/>
                    <a:pt x="1016" y="89"/>
                  </a:cubicBezTo>
                  <a:cubicBezTo>
                    <a:pt x="1016" y="89"/>
                    <a:pt x="1016" y="89"/>
                    <a:pt x="1016" y="89"/>
                  </a:cubicBezTo>
                  <a:cubicBezTo>
                    <a:pt x="1016" y="89"/>
                    <a:pt x="1016" y="89"/>
                    <a:pt x="1016" y="89"/>
                  </a:cubicBezTo>
                  <a:cubicBezTo>
                    <a:pt x="1016" y="90"/>
                    <a:pt x="1015" y="89"/>
                    <a:pt x="1015" y="90"/>
                  </a:cubicBezTo>
                  <a:cubicBezTo>
                    <a:pt x="1015" y="90"/>
                    <a:pt x="1015" y="90"/>
                    <a:pt x="1015" y="90"/>
                  </a:cubicBezTo>
                  <a:cubicBezTo>
                    <a:pt x="1015" y="90"/>
                    <a:pt x="1014" y="90"/>
                    <a:pt x="1014" y="90"/>
                  </a:cubicBezTo>
                  <a:cubicBezTo>
                    <a:pt x="1014" y="90"/>
                    <a:pt x="1014" y="90"/>
                    <a:pt x="1014" y="90"/>
                  </a:cubicBezTo>
                  <a:cubicBezTo>
                    <a:pt x="1014" y="90"/>
                    <a:pt x="1013" y="90"/>
                    <a:pt x="1013" y="90"/>
                  </a:cubicBezTo>
                  <a:cubicBezTo>
                    <a:pt x="1013" y="90"/>
                    <a:pt x="1013" y="90"/>
                    <a:pt x="1013" y="90"/>
                  </a:cubicBezTo>
                  <a:cubicBezTo>
                    <a:pt x="1013" y="91"/>
                    <a:pt x="1012" y="91"/>
                    <a:pt x="1012" y="91"/>
                  </a:cubicBezTo>
                  <a:cubicBezTo>
                    <a:pt x="1012" y="91"/>
                    <a:pt x="1012" y="91"/>
                    <a:pt x="1012" y="91"/>
                  </a:cubicBezTo>
                  <a:cubicBezTo>
                    <a:pt x="1012" y="91"/>
                    <a:pt x="1011" y="91"/>
                    <a:pt x="1011" y="91"/>
                  </a:cubicBezTo>
                  <a:cubicBezTo>
                    <a:pt x="1011" y="91"/>
                    <a:pt x="1011" y="91"/>
                    <a:pt x="1011" y="91"/>
                  </a:cubicBezTo>
                  <a:cubicBezTo>
                    <a:pt x="1011" y="91"/>
                    <a:pt x="1010" y="91"/>
                    <a:pt x="1010" y="91"/>
                  </a:cubicBezTo>
                  <a:cubicBezTo>
                    <a:pt x="1010" y="92"/>
                    <a:pt x="1010" y="92"/>
                    <a:pt x="1010" y="91"/>
                  </a:cubicBezTo>
                  <a:cubicBezTo>
                    <a:pt x="1009" y="92"/>
                    <a:pt x="1009" y="91"/>
                    <a:pt x="1008" y="92"/>
                  </a:cubicBezTo>
                  <a:cubicBezTo>
                    <a:pt x="1008" y="92"/>
                    <a:pt x="1008" y="92"/>
                    <a:pt x="1008" y="92"/>
                  </a:cubicBezTo>
                  <a:cubicBezTo>
                    <a:pt x="1008" y="92"/>
                    <a:pt x="1007" y="92"/>
                    <a:pt x="1007" y="92"/>
                  </a:cubicBezTo>
                  <a:cubicBezTo>
                    <a:pt x="1007" y="92"/>
                    <a:pt x="1006" y="92"/>
                    <a:pt x="1006" y="92"/>
                  </a:cubicBezTo>
                  <a:cubicBezTo>
                    <a:pt x="1006" y="92"/>
                    <a:pt x="1005" y="92"/>
                    <a:pt x="1005" y="92"/>
                  </a:cubicBezTo>
                  <a:cubicBezTo>
                    <a:pt x="1004" y="93"/>
                    <a:pt x="1004" y="93"/>
                    <a:pt x="1004" y="92"/>
                  </a:cubicBezTo>
                  <a:cubicBezTo>
                    <a:pt x="1003" y="93"/>
                    <a:pt x="1003" y="92"/>
                    <a:pt x="1002" y="93"/>
                  </a:cubicBezTo>
                  <a:cubicBezTo>
                    <a:pt x="1001" y="93"/>
                    <a:pt x="1001" y="93"/>
                    <a:pt x="1001" y="93"/>
                  </a:cubicBezTo>
                  <a:cubicBezTo>
                    <a:pt x="998" y="93"/>
                    <a:pt x="996" y="93"/>
                    <a:pt x="993" y="93"/>
                  </a:cubicBezTo>
                  <a:cubicBezTo>
                    <a:pt x="993" y="93"/>
                    <a:pt x="993" y="93"/>
                    <a:pt x="992" y="93"/>
                  </a:cubicBezTo>
                  <a:cubicBezTo>
                    <a:pt x="992" y="92"/>
                    <a:pt x="991" y="93"/>
                    <a:pt x="990" y="92"/>
                  </a:cubicBezTo>
                  <a:cubicBezTo>
                    <a:pt x="990" y="93"/>
                    <a:pt x="990" y="93"/>
                    <a:pt x="990" y="93"/>
                  </a:cubicBezTo>
                  <a:cubicBezTo>
                    <a:pt x="990" y="92"/>
                    <a:pt x="990" y="92"/>
                    <a:pt x="990" y="92"/>
                  </a:cubicBezTo>
                  <a:cubicBezTo>
                    <a:pt x="989" y="92"/>
                    <a:pt x="989" y="92"/>
                    <a:pt x="988" y="92"/>
                  </a:cubicBezTo>
                  <a:cubicBezTo>
                    <a:pt x="988" y="92"/>
                    <a:pt x="988" y="92"/>
                    <a:pt x="988" y="92"/>
                  </a:cubicBezTo>
                  <a:cubicBezTo>
                    <a:pt x="988" y="92"/>
                    <a:pt x="988" y="92"/>
                    <a:pt x="988" y="92"/>
                  </a:cubicBezTo>
                  <a:cubicBezTo>
                    <a:pt x="988" y="92"/>
                    <a:pt x="987" y="92"/>
                    <a:pt x="987" y="92"/>
                  </a:cubicBezTo>
                  <a:cubicBezTo>
                    <a:pt x="987" y="92"/>
                    <a:pt x="987" y="92"/>
                    <a:pt x="987" y="92"/>
                  </a:cubicBezTo>
                  <a:cubicBezTo>
                    <a:pt x="986" y="91"/>
                    <a:pt x="986" y="92"/>
                    <a:pt x="986" y="91"/>
                  </a:cubicBezTo>
                  <a:cubicBezTo>
                    <a:pt x="986" y="92"/>
                    <a:pt x="985" y="91"/>
                    <a:pt x="985" y="91"/>
                  </a:cubicBezTo>
                  <a:cubicBezTo>
                    <a:pt x="985" y="91"/>
                    <a:pt x="985" y="91"/>
                    <a:pt x="985" y="91"/>
                  </a:cubicBezTo>
                  <a:cubicBezTo>
                    <a:pt x="985" y="91"/>
                    <a:pt x="984" y="91"/>
                    <a:pt x="984" y="91"/>
                  </a:cubicBezTo>
                  <a:cubicBezTo>
                    <a:pt x="984" y="91"/>
                    <a:pt x="984" y="91"/>
                    <a:pt x="984" y="91"/>
                  </a:cubicBezTo>
                  <a:cubicBezTo>
                    <a:pt x="984" y="91"/>
                    <a:pt x="984" y="91"/>
                    <a:pt x="984" y="91"/>
                  </a:cubicBezTo>
                  <a:cubicBezTo>
                    <a:pt x="983" y="91"/>
                    <a:pt x="983" y="91"/>
                    <a:pt x="983" y="90"/>
                  </a:cubicBezTo>
                  <a:cubicBezTo>
                    <a:pt x="983" y="90"/>
                    <a:pt x="983" y="90"/>
                    <a:pt x="983" y="90"/>
                  </a:cubicBezTo>
                  <a:cubicBezTo>
                    <a:pt x="983" y="90"/>
                    <a:pt x="983" y="90"/>
                    <a:pt x="983" y="90"/>
                  </a:cubicBezTo>
                  <a:cubicBezTo>
                    <a:pt x="982" y="90"/>
                    <a:pt x="982" y="90"/>
                    <a:pt x="982" y="90"/>
                  </a:cubicBezTo>
                  <a:cubicBezTo>
                    <a:pt x="982" y="90"/>
                    <a:pt x="982" y="90"/>
                    <a:pt x="982" y="90"/>
                  </a:cubicBezTo>
                  <a:cubicBezTo>
                    <a:pt x="982" y="90"/>
                    <a:pt x="981" y="90"/>
                    <a:pt x="981" y="90"/>
                  </a:cubicBezTo>
                  <a:cubicBezTo>
                    <a:pt x="981" y="90"/>
                    <a:pt x="981" y="90"/>
                    <a:pt x="981" y="90"/>
                  </a:cubicBezTo>
                  <a:cubicBezTo>
                    <a:pt x="981" y="89"/>
                    <a:pt x="981" y="90"/>
                    <a:pt x="981" y="89"/>
                  </a:cubicBezTo>
                  <a:cubicBezTo>
                    <a:pt x="981" y="89"/>
                    <a:pt x="981" y="89"/>
                    <a:pt x="981" y="89"/>
                  </a:cubicBezTo>
                  <a:cubicBezTo>
                    <a:pt x="980" y="89"/>
                    <a:pt x="980" y="89"/>
                    <a:pt x="980" y="89"/>
                  </a:cubicBezTo>
                  <a:cubicBezTo>
                    <a:pt x="980" y="89"/>
                    <a:pt x="980" y="89"/>
                    <a:pt x="980" y="89"/>
                  </a:cubicBezTo>
                  <a:cubicBezTo>
                    <a:pt x="980" y="89"/>
                    <a:pt x="979" y="89"/>
                    <a:pt x="979" y="89"/>
                  </a:cubicBezTo>
                  <a:cubicBezTo>
                    <a:pt x="979" y="89"/>
                    <a:pt x="979" y="89"/>
                    <a:pt x="979" y="89"/>
                  </a:cubicBezTo>
                  <a:cubicBezTo>
                    <a:pt x="979" y="88"/>
                    <a:pt x="979" y="88"/>
                    <a:pt x="979" y="88"/>
                  </a:cubicBezTo>
                  <a:cubicBezTo>
                    <a:pt x="979" y="88"/>
                    <a:pt x="979" y="88"/>
                    <a:pt x="979" y="88"/>
                  </a:cubicBezTo>
                  <a:cubicBezTo>
                    <a:pt x="978" y="88"/>
                    <a:pt x="978" y="88"/>
                    <a:pt x="978" y="88"/>
                  </a:cubicBezTo>
                  <a:cubicBezTo>
                    <a:pt x="978" y="88"/>
                    <a:pt x="978" y="88"/>
                    <a:pt x="978" y="88"/>
                  </a:cubicBezTo>
                  <a:cubicBezTo>
                    <a:pt x="978" y="88"/>
                    <a:pt x="978" y="88"/>
                    <a:pt x="978" y="88"/>
                  </a:cubicBezTo>
                  <a:cubicBezTo>
                    <a:pt x="978" y="88"/>
                    <a:pt x="978" y="88"/>
                    <a:pt x="977" y="88"/>
                  </a:cubicBezTo>
                  <a:cubicBezTo>
                    <a:pt x="977" y="88"/>
                    <a:pt x="977" y="88"/>
                    <a:pt x="977" y="88"/>
                  </a:cubicBezTo>
                  <a:cubicBezTo>
                    <a:pt x="977" y="87"/>
                    <a:pt x="977" y="87"/>
                    <a:pt x="977" y="87"/>
                  </a:cubicBezTo>
                  <a:cubicBezTo>
                    <a:pt x="977" y="87"/>
                    <a:pt x="977" y="87"/>
                    <a:pt x="977" y="87"/>
                  </a:cubicBezTo>
                  <a:cubicBezTo>
                    <a:pt x="977" y="87"/>
                    <a:pt x="977" y="87"/>
                    <a:pt x="976" y="87"/>
                  </a:cubicBezTo>
                  <a:cubicBezTo>
                    <a:pt x="976" y="87"/>
                    <a:pt x="976" y="87"/>
                    <a:pt x="976" y="87"/>
                  </a:cubicBezTo>
                  <a:cubicBezTo>
                    <a:pt x="976" y="87"/>
                    <a:pt x="976" y="87"/>
                    <a:pt x="976" y="87"/>
                  </a:cubicBezTo>
                  <a:cubicBezTo>
                    <a:pt x="976" y="87"/>
                    <a:pt x="976" y="87"/>
                    <a:pt x="976" y="87"/>
                  </a:cubicBezTo>
                  <a:cubicBezTo>
                    <a:pt x="976" y="86"/>
                    <a:pt x="976" y="86"/>
                    <a:pt x="976" y="86"/>
                  </a:cubicBezTo>
                  <a:cubicBezTo>
                    <a:pt x="976" y="86"/>
                    <a:pt x="976" y="86"/>
                    <a:pt x="976" y="86"/>
                  </a:cubicBezTo>
                  <a:cubicBezTo>
                    <a:pt x="975" y="86"/>
                    <a:pt x="975" y="86"/>
                    <a:pt x="975" y="85"/>
                  </a:cubicBezTo>
                  <a:cubicBezTo>
                    <a:pt x="975" y="85"/>
                    <a:pt x="975" y="85"/>
                    <a:pt x="975" y="85"/>
                  </a:cubicBezTo>
                  <a:cubicBezTo>
                    <a:pt x="975" y="85"/>
                    <a:pt x="974" y="85"/>
                    <a:pt x="974" y="85"/>
                  </a:cubicBezTo>
                  <a:cubicBezTo>
                    <a:pt x="974" y="85"/>
                    <a:pt x="974" y="85"/>
                    <a:pt x="974" y="85"/>
                  </a:cubicBezTo>
                  <a:cubicBezTo>
                    <a:pt x="974" y="85"/>
                    <a:pt x="974" y="85"/>
                    <a:pt x="974" y="85"/>
                  </a:cubicBezTo>
                  <a:cubicBezTo>
                    <a:pt x="974" y="85"/>
                    <a:pt x="974" y="85"/>
                    <a:pt x="974" y="85"/>
                  </a:cubicBezTo>
                  <a:cubicBezTo>
                    <a:pt x="974" y="85"/>
                    <a:pt x="974" y="85"/>
                    <a:pt x="974" y="84"/>
                  </a:cubicBezTo>
                  <a:cubicBezTo>
                    <a:pt x="974" y="85"/>
                    <a:pt x="974" y="85"/>
                    <a:pt x="974" y="85"/>
                  </a:cubicBezTo>
                  <a:cubicBezTo>
                    <a:pt x="973" y="84"/>
                    <a:pt x="973" y="84"/>
                    <a:pt x="973" y="84"/>
                  </a:cubicBezTo>
                  <a:cubicBezTo>
                    <a:pt x="973" y="84"/>
                    <a:pt x="973" y="84"/>
                    <a:pt x="973" y="84"/>
                  </a:cubicBezTo>
                  <a:cubicBezTo>
                    <a:pt x="973" y="84"/>
                    <a:pt x="973" y="84"/>
                    <a:pt x="973" y="84"/>
                  </a:cubicBezTo>
                  <a:cubicBezTo>
                    <a:pt x="973" y="84"/>
                    <a:pt x="973" y="84"/>
                    <a:pt x="973" y="84"/>
                  </a:cubicBezTo>
                  <a:cubicBezTo>
                    <a:pt x="973" y="84"/>
                    <a:pt x="973" y="84"/>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2"/>
                    <a:pt x="971" y="82"/>
                  </a:cubicBezTo>
                  <a:cubicBezTo>
                    <a:pt x="971" y="82"/>
                    <a:pt x="971" y="82"/>
                    <a:pt x="971" y="82"/>
                  </a:cubicBezTo>
                  <a:cubicBezTo>
                    <a:pt x="971" y="82"/>
                    <a:pt x="971" y="82"/>
                    <a:pt x="971" y="82"/>
                  </a:cubicBezTo>
                  <a:cubicBezTo>
                    <a:pt x="971" y="82"/>
                    <a:pt x="971" y="82"/>
                    <a:pt x="971" y="82"/>
                  </a:cubicBezTo>
                  <a:cubicBezTo>
                    <a:pt x="971" y="82"/>
                    <a:pt x="971" y="81"/>
                    <a:pt x="970" y="81"/>
                  </a:cubicBezTo>
                  <a:cubicBezTo>
                    <a:pt x="970" y="81"/>
                    <a:pt x="970" y="81"/>
                    <a:pt x="970" y="81"/>
                  </a:cubicBezTo>
                  <a:cubicBezTo>
                    <a:pt x="970" y="81"/>
                    <a:pt x="970" y="81"/>
                    <a:pt x="970" y="81"/>
                  </a:cubicBezTo>
                  <a:cubicBezTo>
                    <a:pt x="970" y="81"/>
                    <a:pt x="970" y="81"/>
                    <a:pt x="970" y="81"/>
                  </a:cubicBezTo>
                  <a:cubicBezTo>
                    <a:pt x="970" y="81"/>
                    <a:pt x="970" y="80"/>
                    <a:pt x="970" y="80"/>
                  </a:cubicBezTo>
                  <a:cubicBezTo>
                    <a:pt x="970" y="80"/>
                    <a:pt x="970" y="80"/>
                    <a:pt x="970" y="80"/>
                  </a:cubicBezTo>
                  <a:cubicBezTo>
                    <a:pt x="970" y="80"/>
                    <a:pt x="970" y="80"/>
                    <a:pt x="969" y="80"/>
                  </a:cubicBezTo>
                  <a:cubicBezTo>
                    <a:pt x="969" y="80"/>
                    <a:pt x="969" y="80"/>
                    <a:pt x="969" y="80"/>
                  </a:cubicBezTo>
                  <a:cubicBezTo>
                    <a:pt x="969" y="79"/>
                    <a:pt x="969" y="79"/>
                    <a:pt x="969" y="79"/>
                  </a:cubicBezTo>
                  <a:cubicBezTo>
                    <a:pt x="969" y="79"/>
                    <a:pt x="969" y="79"/>
                    <a:pt x="969" y="79"/>
                  </a:cubicBezTo>
                  <a:cubicBezTo>
                    <a:pt x="969" y="79"/>
                    <a:pt x="969" y="79"/>
                    <a:pt x="969" y="79"/>
                  </a:cubicBezTo>
                  <a:cubicBezTo>
                    <a:pt x="969" y="79"/>
                    <a:pt x="969" y="79"/>
                    <a:pt x="969" y="79"/>
                  </a:cubicBezTo>
                  <a:cubicBezTo>
                    <a:pt x="969" y="78"/>
                    <a:pt x="968" y="78"/>
                    <a:pt x="968" y="78"/>
                  </a:cubicBezTo>
                  <a:cubicBezTo>
                    <a:pt x="968" y="78"/>
                    <a:pt x="968" y="78"/>
                    <a:pt x="968" y="78"/>
                  </a:cubicBezTo>
                  <a:cubicBezTo>
                    <a:pt x="968" y="78"/>
                    <a:pt x="968" y="78"/>
                    <a:pt x="968" y="78"/>
                  </a:cubicBezTo>
                  <a:cubicBezTo>
                    <a:pt x="968" y="78"/>
                    <a:pt x="968" y="78"/>
                    <a:pt x="968" y="78"/>
                  </a:cubicBezTo>
                  <a:cubicBezTo>
                    <a:pt x="968" y="77"/>
                    <a:pt x="968" y="77"/>
                    <a:pt x="968" y="77"/>
                  </a:cubicBezTo>
                  <a:cubicBezTo>
                    <a:pt x="968" y="77"/>
                    <a:pt x="968" y="77"/>
                    <a:pt x="968" y="77"/>
                  </a:cubicBezTo>
                  <a:cubicBezTo>
                    <a:pt x="968" y="77"/>
                    <a:pt x="967" y="77"/>
                    <a:pt x="967" y="76"/>
                  </a:cubicBezTo>
                  <a:cubicBezTo>
                    <a:pt x="967" y="76"/>
                    <a:pt x="967" y="76"/>
                    <a:pt x="967" y="76"/>
                  </a:cubicBezTo>
                  <a:cubicBezTo>
                    <a:pt x="967" y="76"/>
                    <a:pt x="967" y="76"/>
                    <a:pt x="967" y="76"/>
                  </a:cubicBezTo>
                  <a:cubicBezTo>
                    <a:pt x="967" y="76"/>
                    <a:pt x="967" y="76"/>
                    <a:pt x="967" y="76"/>
                  </a:cubicBezTo>
                  <a:cubicBezTo>
                    <a:pt x="967" y="76"/>
                    <a:pt x="967" y="75"/>
                    <a:pt x="967" y="75"/>
                  </a:cubicBezTo>
                  <a:cubicBezTo>
                    <a:pt x="967" y="75"/>
                    <a:pt x="967" y="75"/>
                    <a:pt x="967" y="75"/>
                  </a:cubicBezTo>
                  <a:cubicBezTo>
                    <a:pt x="966" y="75"/>
                    <a:pt x="966" y="75"/>
                    <a:pt x="966" y="74"/>
                  </a:cubicBezTo>
                  <a:cubicBezTo>
                    <a:pt x="966" y="74"/>
                    <a:pt x="966" y="74"/>
                    <a:pt x="966" y="74"/>
                  </a:cubicBezTo>
                  <a:cubicBezTo>
                    <a:pt x="966" y="74"/>
                    <a:pt x="966" y="74"/>
                    <a:pt x="966" y="74"/>
                  </a:cubicBezTo>
                  <a:cubicBezTo>
                    <a:pt x="966" y="74"/>
                    <a:pt x="966" y="74"/>
                    <a:pt x="966" y="73"/>
                  </a:cubicBezTo>
                  <a:cubicBezTo>
                    <a:pt x="966" y="73"/>
                    <a:pt x="966" y="73"/>
                    <a:pt x="966" y="73"/>
                  </a:cubicBezTo>
                  <a:cubicBezTo>
                    <a:pt x="966" y="73"/>
                    <a:pt x="966" y="73"/>
                    <a:pt x="966" y="73"/>
                  </a:cubicBezTo>
                  <a:cubicBezTo>
                    <a:pt x="966" y="73"/>
                    <a:pt x="966" y="73"/>
                    <a:pt x="966" y="73"/>
                  </a:cubicBezTo>
                  <a:cubicBezTo>
                    <a:pt x="965" y="72"/>
                    <a:pt x="965" y="72"/>
                    <a:pt x="965" y="72"/>
                  </a:cubicBezTo>
                  <a:cubicBezTo>
                    <a:pt x="965" y="72"/>
                    <a:pt x="965" y="72"/>
                    <a:pt x="965" y="72"/>
                  </a:cubicBezTo>
                  <a:cubicBezTo>
                    <a:pt x="965" y="71"/>
                    <a:pt x="965" y="71"/>
                    <a:pt x="965" y="71"/>
                  </a:cubicBezTo>
                  <a:cubicBezTo>
                    <a:pt x="965" y="71"/>
                    <a:pt x="965" y="71"/>
                    <a:pt x="965" y="71"/>
                  </a:cubicBezTo>
                  <a:cubicBezTo>
                    <a:pt x="965" y="71"/>
                    <a:pt x="965" y="71"/>
                    <a:pt x="965" y="71"/>
                  </a:cubicBezTo>
                  <a:cubicBezTo>
                    <a:pt x="965" y="70"/>
                    <a:pt x="965" y="70"/>
                    <a:pt x="965" y="70"/>
                  </a:cubicBezTo>
                  <a:cubicBezTo>
                    <a:pt x="964" y="70"/>
                    <a:pt x="964" y="70"/>
                    <a:pt x="964" y="70"/>
                  </a:cubicBezTo>
                  <a:cubicBezTo>
                    <a:pt x="964" y="70"/>
                    <a:pt x="964" y="70"/>
                    <a:pt x="964" y="70"/>
                  </a:cubicBezTo>
                  <a:cubicBezTo>
                    <a:pt x="964" y="69"/>
                    <a:pt x="964" y="69"/>
                    <a:pt x="964" y="69"/>
                  </a:cubicBezTo>
                  <a:cubicBezTo>
                    <a:pt x="964" y="69"/>
                    <a:pt x="964" y="69"/>
                    <a:pt x="964" y="69"/>
                  </a:cubicBezTo>
                  <a:cubicBezTo>
                    <a:pt x="964" y="68"/>
                    <a:pt x="964" y="68"/>
                    <a:pt x="964" y="67"/>
                  </a:cubicBezTo>
                  <a:cubicBezTo>
                    <a:pt x="964" y="67"/>
                    <a:pt x="964" y="67"/>
                    <a:pt x="964" y="67"/>
                  </a:cubicBezTo>
                  <a:cubicBezTo>
                    <a:pt x="964" y="67"/>
                    <a:pt x="964" y="66"/>
                    <a:pt x="964" y="66"/>
                  </a:cubicBezTo>
                  <a:cubicBezTo>
                    <a:pt x="963" y="66"/>
                    <a:pt x="963" y="66"/>
                    <a:pt x="963" y="66"/>
                  </a:cubicBezTo>
                  <a:cubicBezTo>
                    <a:pt x="963" y="65"/>
                    <a:pt x="964" y="64"/>
                    <a:pt x="963" y="64"/>
                  </a:cubicBezTo>
                  <a:cubicBezTo>
                    <a:pt x="963" y="64"/>
                    <a:pt x="963" y="64"/>
                    <a:pt x="963" y="64"/>
                  </a:cubicBezTo>
                  <a:cubicBezTo>
                    <a:pt x="963" y="64"/>
                    <a:pt x="963" y="64"/>
                    <a:pt x="963" y="64"/>
                  </a:cubicBezTo>
                  <a:cubicBezTo>
                    <a:pt x="963" y="63"/>
                    <a:pt x="963" y="62"/>
                    <a:pt x="963" y="62"/>
                  </a:cubicBezTo>
                  <a:cubicBezTo>
                    <a:pt x="963" y="62"/>
                    <a:pt x="963" y="61"/>
                    <a:pt x="963" y="61"/>
                  </a:cubicBezTo>
                  <a:cubicBezTo>
                    <a:pt x="962" y="60"/>
                    <a:pt x="963" y="58"/>
                    <a:pt x="962" y="57"/>
                  </a:cubicBezTo>
                  <a:cubicBezTo>
                    <a:pt x="962" y="56"/>
                    <a:pt x="962" y="55"/>
                    <a:pt x="962" y="55"/>
                  </a:cubicBezTo>
                  <a:cubicBezTo>
                    <a:pt x="963" y="53"/>
                    <a:pt x="962" y="52"/>
                    <a:pt x="963" y="50"/>
                  </a:cubicBezTo>
                  <a:cubicBezTo>
                    <a:pt x="963" y="50"/>
                    <a:pt x="963" y="50"/>
                    <a:pt x="963" y="49"/>
                  </a:cubicBezTo>
                  <a:cubicBezTo>
                    <a:pt x="963" y="49"/>
                    <a:pt x="963" y="48"/>
                    <a:pt x="963" y="47"/>
                  </a:cubicBezTo>
                  <a:cubicBezTo>
                    <a:pt x="963" y="47"/>
                    <a:pt x="963" y="47"/>
                    <a:pt x="963" y="47"/>
                  </a:cubicBezTo>
                  <a:cubicBezTo>
                    <a:pt x="963" y="46"/>
                    <a:pt x="963" y="46"/>
                    <a:pt x="963" y="45"/>
                  </a:cubicBezTo>
                  <a:cubicBezTo>
                    <a:pt x="963" y="45"/>
                    <a:pt x="963" y="45"/>
                    <a:pt x="963" y="45"/>
                  </a:cubicBezTo>
                  <a:cubicBezTo>
                    <a:pt x="963" y="45"/>
                    <a:pt x="963" y="45"/>
                    <a:pt x="963" y="45"/>
                  </a:cubicBezTo>
                  <a:cubicBezTo>
                    <a:pt x="964" y="45"/>
                    <a:pt x="963" y="44"/>
                    <a:pt x="964" y="44"/>
                  </a:cubicBezTo>
                  <a:cubicBezTo>
                    <a:pt x="964" y="44"/>
                    <a:pt x="964" y="43"/>
                    <a:pt x="964" y="43"/>
                  </a:cubicBezTo>
                  <a:cubicBezTo>
                    <a:pt x="964" y="43"/>
                    <a:pt x="964" y="43"/>
                    <a:pt x="964" y="42"/>
                  </a:cubicBezTo>
                  <a:cubicBezTo>
                    <a:pt x="964" y="42"/>
                    <a:pt x="964" y="42"/>
                    <a:pt x="964" y="42"/>
                  </a:cubicBezTo>
                  <a:cubicBezTo>
                    <a:pt x="964" y="42"/>
                    <a:pt x="964" y="42"/>
                    <a:pt x="964" y="41"/>
                  </a:cubicBezTo>
                  <a:cubicBezTo>
                    <a:pt x="964" y="41"/>
                    <a:pt x="964" y="41"/>
                    <a:pt x="964" y="41"/>
                  </a:cubicBezTo>
                  <a:cubicBezTo>
                    <a:pt x="965" y="41"/>
                    <a:pt x="965" y="41"/>
                    <a:pt x="965" y="41"/>
                  </a:cubicBezTo>
                  <a:cubicBezTo>
                    <a:pt x="965" y="41"/>
                    <a:pt x="965" y="40"/>
                    <a:pt x="965" y="40"/>
                  </a:cubicBezTo>
                  <a:cubicBezTo>
                    <a:pt x="965" y="40"/>
                    <a:pt x="965" y="40"/>
                    <a:pt x="965" y="40"/>
                  </a:cubicBezTo>
                  <a:cubicBezTo>
                    <a:pt x="965" y="40"/>
                    <a:pt x="965" y="40"/>
                    <a:pt x="965" y="40"/>
                  </a:cubicBezTo>
                  <a:cubicBezTo>
                    <a:pt x="965" y="40"/>
                    <a:pt x="965" y="39"/>
                    <a:pt x="965" y="39"/>
                  </a:cubicBezTo>
                  <a:cubicBezTo>
                    <a:pt x="965" y="39"/>
                    <a:pt x="965" y="39"/>
                    <a:pt x="965" y="39"/>
                  </a:cubicBezTo>
                  <a:cubicBezTo>
                    <a:pt x="965" y="39"/>
                    <a:pt x="965" y="39"/>
                    <a:pt x="965" y="39"/>
                  </a:cubicBezTo>
                  <a:cubicBezTo>
                    <a:pt x="965" y="39"/>
                    <a:pt x="965" y="38"/>
                    <a:pt x="966" y="38"/>
                  </a:cubicBezTo>
                  <a:cubicBezTo>
                    <a:pt x="966" y="38"/>
                    <a:pt x="966" y="38"/>
                    <a:pt x="966" y="38"/>
                  </a:cubicBezTo>
                  <a:cubicBezTo>
                    <a:pt x="966" y="38"/>
                    <a:pt x="966" y="38"/>
                    <a:pt x="966" y="37"/>
                  </a:cubicBezTo>
                  <a:cubicBezTo>
                    <a:pt x="966" y="37"/>
                    <a:pt x="966" y="37"/>
                    <a:pt x="966" y="37"/>
                  </a:cubicBezTo>
                  <a:cubicBezTo>
                    <a:pt x="966" y="37"/>
                    <a:pt x="966" y="37"/>
                    <a:pt x="966" y="37"/>
                  </a:cubicBezTo>
                  <a:cubicBezTo>
                    <a:pt x="966" y="37"/>
                    <a:pt x="966" y="37"/>
                    <a:pt x="966" y="36"/>
                  </a:cubicBezTo>
                  <a:cubicBezTo>
                    <a:pt x="966" y="36"/>
                    <a:pt x="966" y="36"/>
                    <a:pt x="966" y="36"/>
                  </a:cubicBezTo>
                  <a:cubicBezTo>
                    <a:pt x="966" y="36"/>
                    <a:pt x="966" y="36"/>
                    <a:pt x="967" y="36"/>
                  </a:cubicBezTo>
                  <a:cubicBezTo>
                    <a:pt x="967" y="36"/>
                    <a:pt x="967" y="36"/>
                    <a:pt x="967" y="36"/>
                  </a:cubicBezTo>
                  <a:cubicBezTo>
                    <a:pt x="967" y="36"/>
                    <a:pt x="967" y="35"/>
                    <a:pt x="967" y="35"/>
                  </a:cubicBezTo>
                  <a:cubicBezTo>
                    <a:pt x="967" y="35"/>
                    <a:pt x="967" y="35"/>
                    <a:pt x="967" y="35"/>
                  </a:cubicBezTo>
                  <a:cubicBezTo>
                    <a:pt x="967" y="35"/>
                    <a:pt x="967" y="35"/>
                    <a:pt x="967" y="34"/>
                  </a:cubicBezTo>
                  <a:cubicBezTo>
                    <a:pt x="967" y="34"/>
                    <a:pt x="967" y="34"/>
                    <a:pt x="967" y="34"/>
                  </a:cubicBezTo>
                  <a:cubicBezTo>
                    <a:pt x="968" y="34"/>
                    <a:pt x="967" y="34"/>
                    <a:pt x="968" y="34"/>
                  </a:cubicBezTo>
                  <a:cubicBezTo>
                    <a:pt x="968" y="34"/>
                    <a:pt x="968" y="34"/>
                    <a:pt x="968" y="34"/>
                  </a:cubicBezTo>
                  <a:cubicBezTo>
                    <a:pt x="968" y="33"/>
                    <a:pt x="968" y="33"/>
                    <a:pt x="968" y="33"/>
                  </a:cubicBezTo>
                  <a:cubicBezTo>
                    <a:pt x="968" y="33"/>
                    <a:pt x="968" y="33"/>
                    <a:pt x="968" y="33"/>
                  </a:cubicBezTo>
                  <a:cubicBezTo>
                    <a:pt x="968" y="33"/>
                    <a:pt x="968" y="32"/>
                    <a:pt x="968" y="32"/>
                  </a:cubicBezTo>
                  <a:cubicBezTo>
                    <a:pt x="968" y="32"/>
                    <a:pt x="968" y="32"/>
                    <a:pt x="968" y="32"/>
                  </a:cubicBezTo>
                  <a:cubicBezTo>
                    <a:pt x="968" y="32"/>
                    <a:pt x="969" y="32"/>
                    <a:pt x="969" y="32"/>
                  </a:cubicBezTo>
                  <a:cubicBezTo>
                    <a:pt x="969" y="32"/>
                    <a:pt x="969" y="32"/>
                    <a:pt x="969" y="32"/>
                  </a:cubicBezTo>
                  <a:cubicBezTo>
                    <a:pt x="969" y="32"/>
                    <a:pt x="969" y="31"/>
                    <a:pt x="969" y="31"/>
                  </a:cubicBezTo>
                  <a:cubicBezTo>
                    <a:pt x="969" y="31"/>
                    <a:pt x="969" y="31"/>
                    <a:pt x="969" y="31"/>
                  </a:cubicBezTo>
                  <a:cubicBezTo>
                    <a:pt x="969" y="31"/>
                    <a:pt x="969" y="31"/>
                    <a:pt x="969" y="31"/>
                  </a:cubicBezTo>
                  <a:cubicBezTo>
                    <a:pt x="969" y="31"/>
                    <a:pt x="969" y="31"/>
                    <a:pt x="969" y="31"/>
                  </a:cubicBezTo>
                  <a:cubicBezTo>
                    <a:pt x="970" y="31"/>
                    <a:pt x="970" y="30"/>
                    <a:pt x="970" y="30"/>
                  </a:cubicBezTo>
                  <a:cubicBezTo>
                    <a:pt x="970" y="30"/>
                    <a:pt x="970" y="30"/>
                    <a:pt x="970" y="30"/>
                  </a:cubicBezTo>
                  <a:cubicBezTo>
                    <a:pt x="970" y="30"/>
                    <a:pt x="970" y="30"/>
                    <a:pt x="970" y="30"/>
                  </a:cubicBezTo>
                  <a:cubicBezTo>
                    <a:pt x="970" y="30"/>
                    <a:pt x="970" y="30"/>
                    <a:pt x="970" y="30"/>
                  </a:cubicBezTo>
                  <a:cubicBezTo>
                    <a:pt x="970" y="30"/>
                    <a:pt x="971" y="29"/>
                    <a:pt x="971" y="29"/>
                  </a:cubicBezTo>
                  <a:cubicBezTo>
                    <a:pt x="971" y="29"/>
                    <a:pt x="971" y="29"/>
                    <a:pt x="971" y="29"/>
                  </a:cubicBezTo>
                  <a:cubicBezTo>
                    <a:pt x="971" y="29"/>
                    <a:pt x="971" y="29"/>
                    <a:pt x="971" y="28"/>
                  </a:cubicBezTo>
                  <a:cubicBezTo>
                    <a:pt x="971" y="28"/>
                    <a:pt x="971" y="28"/>
                    <a:pt x="971" y="28"/>
                  </a:cubicBezTo>
                  <a:cubicBezTo>
                    <a:pt x="971" y="28"/>
                    <a:pt x="971" y="28"/>
                    <a:pt x="971" y="28"/>
                  </a:cubicBezTo>
                  <a:cubicBezTo>
                    <a:pt x="971" y="28"/>
                    <a:pt x="971" y="28"/>
                    <a:pt x="971" y="28"/>
                  </a:cubicBezTo>
                  <a:cubicBezTo>
                    <a:pt x="972" y="28"/>
                    <a:pt x="972" y="27"/>
                    <a:pt x="972" y="27"/>
                  </a:cubicBezTo>
                  <a:cubicBezTo>
                    <a:pt x="972" y="27"/>
                    <a:pt x="972" y="27"/>
                    <a:pt x="972" y="27"/>
                  </a:cubicBezTo>
                  <a:cubicBezTo>
                    <a:pt x="972" y="27"/>
                    <a:pt x="972" y="27"/>
                    <a:pt x="973" y="27"/>
                  </a:cubicBezTo>
                  <a:cubicBezTo>
                    <a:pt x="973" y="27"/>
                    <a:pt x="973" y="27"/>
                    <a:pt x="973" y="27"/>
                  </a:cubicBezTo>
                  <a:cubicBezTo>
                    <a:pt x="973" y="27"/>
                    <a:pt x="973" y="26"/>
                    <a:pt x="973" y="26"/>
                  </a:cubicBezTo>
                  <a:cubicBezTo>
                    <a:pt x="973" y="26"/>
                    <a:pt x="973" y="26"/>
                    <a:pt x="973" y="26"/>
                  </a:cubicBezTo>
                  <a:cubicBezTo>
                    <a:pt x="973" y="26"/>
                    <a:pt x="973" y="26"/>
                    <a:pt x="973" y="26"/>
                  </a:cubicBezTo>
                  <a:cubicBezTo>
                    <a:pt x="973" y="26"/>
                    <a:pt x="973" y="26"/>
                    <a:pt x="973" y="26"/>
                  </a:cubicBezTo>
                  <a:cubicBezTo>
                    <a:pt x="973" y="26"/>
                    <a:pt x="973" y="26"/>
                    <a:pt x="974" y="26"/>
                  </a:cubicBezTo>
                  <a:cubicBezTo>
                    <a:pt x="974" y="26"/>
                    <a:pt x="974" y="26"/>
                    <a:pt x="974" y="26"/>
                  </a:cubicBezTo>
                  <a:cubicBezTo>
                    <a:pt x="974" y="26"/>
                    <a:pt x="974" y="25"/>
                    <a:pt x="974" y="25"/>
                  </a:cubicBezTo>
                  <a:cubicBezTo>
                    <a:pt x="974" y="25"/>
                    <a:pt x="974" y="25"/>
                    <a:pt x="974" y="25"/>
                  </a:cubicBezTo>
                  <a:cubicBezTo>
                    <a:pt x="974" y="25"/>
                    <a:pt x="974" y="25"/>
                    <a:pt x="974" y="25"/>
                  </a:cubicBezTo>
                  <a:cubicBezTo>
                    <a:pt x="974" y="25"/>
                    <a:pt x="974" y="25"/>
                    <a:pt x="974" y="25"/>
                  </a:cubicBezTo>
                  <a:cubicBezTo>
                    <a:pt x="974" y="25"/>
                    <a:pt x="975" y="25"/>
                    <a:pt x="975" y="25"/>
                  </a:cubicBezTo>
                  <a:cubicBezTo>
                    <a:pt x="975" y="25"/>
                    <a:pt x="975" y="25"/>
                    <a:pt x="975" y="25"/>
                  </a:cubicBezTo>
                  <a:cubicBezTo>
                    <a:pt x="975" y="24"/>
                    <a:pt x="975" y="24"/>
                    <a:pt x="975" y="24"/>
                  </a:cubicBezTo>
                  <a:cubicBezTo>
                    <a:pt x="975" y="24"/>
                    <a:pt x="975" y="24"/>
                    <a:pt x="975" y="24"/>
                  </a:cubicBezTo>
                  <a:cubicBezTo>
                    <a:pt x="975" y="24"/>
                    <a:pt x="976" y="24"/>
                    <a:pt x="976" y="23"/>
                  </a:cubicBezTo>
                  <a:cubicBezTo>
                    <a:pt x="976" y="23"/>
                    <a:pt x="976" y="23"/>
                    <a:pt x="976" y="23"/>
                  </a:cubicBezTo>
                  <a:cubicBezTo>
                    <a:pt x="976" y="23"/>
                    <a:pt x="976" y="23"/>
                    <a:pt x="976" y="23"/>
                  </a:cubicBezTo>
                  <a:cubicBezTo>
                    <a:pt x="976" y="23"/>
                    <a:pt x="976" y="23"/>
                    <a:pt x="976" y="23"/>
                  </a:cubicBezTo>
                  <a:cubicBezTo>
                    <a:pt x="976" y="23"/>
                    <a:pt x="977" y="23"/>
                    <a:pt x="977" y="23"/>
                  </a:cubicBezTo>
                  <a:cubicBezTo>
                    <a:pt x="977" y="23"/>
                    <a:pt x="977" y="23"/>
                    <a:pt x="977" y="23"/>
                  </a:cubicBezTo>
                  <a:cubicBezTo>
                    <a:pt x="977" y="23"/>
                    <a:pt x="977" y="23"/>
                    <a:pt x="977" y="22"/>
                  </a:cubicBezTo>
                  <a:cubicBezTo>
                    <a:pt x="977" y="22"/>
                    <a:pt x="977" y="22"/>
                    <a:pt x="977" y="22"/>
                  </a:cubicBezTo>
                  <a:cubicBezTo>
                    <a:pt x="978" y="22"/>
                    <a:pt x="978" y="22"/>
                    <a:pt x="978" y="22"/>
                  </a:cubicBezTo>
                  <a:cubicBezTo>
                    <a:pt x="978" y="22"/>
                    <a:pt x="978" y="22"/>
                    <a:pt x="978" y="22"/>
                  </a:cubicBezTo>
                  <a:cubicBezTo>
                    <a:pt x="978" y="22"/>
                    <a:pt x="978" y="22"/>
                    <a:pt x="979" y="21"/>
                  </a:cubicBezTo>
                  <a:cubicBezTo>
                    <a:pt x="979" y="21"/>
                    <a:pt x="979" y="21"/>
                    <a:pt x="979" y="21"/>
                  </a:cubicBezTo>
                  <a:cubicBezTo>
                    <a:pt x="979" y="21"/>
                    <a:pt x="979" y="21"/>
                    <a:pt x="979" y="21"/>
                  </a:cubicBezTo>
                  <a:cubicBezTo>
                    <a:pt x="979" y="21"/>
                    <a:pt x="979" y="21"/>
                    <a:pt x="979" y="21"/>
                  </a:cubicBezTo>
                  <a:cubicBezTo>
                    <a:pt x="980" y="21"/>
                    <a:pt x="980" y="21"/>
                    <a:pt x="980" y="21"/>
                  </a:cubicBezTo>
                  <a:cubicBezTo>
                    <a:pt x="980" y="21"/>
                    <a:pt x="980" y="21"/>
                    <a:pt x="980" y="21"/>
                  </a:cubicBezTo>
                  <a:cubicBezTo>
                    <a:pt x="980" y="21"/>
                    <a:pt x="980" y="21"/>
                    <a:pt x="981" y="20"/>
                  </a:cubicBezTo>
                  <a:cubicBezTo>
                    <a:pt x="981" y="20"/>
                    <a:pt x="981" y="20"/>
                    <a:pt x="981" y="20"/>
                  </a:cubicBezTo>
                  <a:cubicBezTo>
                    <a:pt x="981" y="20"/>
                    <a:pt x="981" y="20"/>
                    <a:pt x="981" y="20"/>
                  </a:cubicBezTo>
                  <a:cubicBezTo>
                    <a:pt x="981" y="20"/>
                    <a:pt x="981" y="20"/>
                    <a:pt x="981" y="20"/>
                  </a:cubicBezTo>
                  <a:cubicBezTo>
                    <a:pt x="981" y="20"/>
                    <a:pt x="982" y="20"/>
                    <a:pt x="982" y="20"/>
                  </a:cubicBezTo>
                  <a:cubicBezTo>
                    <a:pt x="982" y="20"/>
                    <a:pt x="982" y="20"/>
                    <a:pt x="982" y="20"/>
                  </a:cubicBezTo>
                  <a:cubicBezTo>
                    <a:pt x="982" y="20"/>
                    <a:pt x="982" y="20"/>
                    <a:pt x="983" y="19"/>
                  </a:cubicBezTo>
                  <a:cubicBezTo>
                    <a:pt x="983" y="19"/>
                    <a:pt x="983" y="19"/>
                    <a:pt x="983" y="19"/>
                  </a:cubicBezTo>
                  <a:cubicBezTo>
                    <a:pt x="983" y="19"/>
                    <a:pt x="983" y="19"/>
                    <a:pt x="983" y="19"/>
                  </a:cubicBezTo>
                  <a:cubicBezTo>
                    <a:pt x="983" y="19"/>
                    <a:pt x="983" y="19"/>
                    <a:pt x="983" y="19"/>
                  </a:cubicBezTo>
                  <a:cubicBezTo>
                    <a:pt x="984" y="19"/>
                    <a:pt x="984" y="19"/>
                    <a:pt x="984" y="19"/>
                  </a:cubicBezTo>
                  <a:cubicBezTo>
                    <a:pt x="984" y="19"/>
                    <a:pt x="984" y="19"/>
                    <a:pt x="984" y="19"/>
                  </a:cubicBezTo>
                  <a:cubicBezTo>
                    <a:pt x="984" y="18"/>
                    <a:pt x="985" y="19"/>
                    <a:pt x="985" y="18"/>
                  </a:cubicBezTo>
                  <a:cubicBezTo>
                    <a:pt x="985" y="18"/>
                    <a:pt x="985" y="18"/>
                    <a:pt x="985" y="18"/>
                  </a:cubicBezTo>
                  <a:cubicBezTo>
                    <a:pt x="985" y="18"/>
                    <a:pt x="986" y="18"/>
                    <a:pt x="986" y="18"/>
                  </a:cubicBezTo>
                  <a:cubicBezTo>
                    <a:pt x="986" y="18"/>
                    <a:pt x="986" y="18"/>
                    <a:pt x="986" y="18"/>
                  </a:cubicBezTo>
                  <a:cubicBezTo>
                    <a:pt x="986" y="18"/>
                    <a:pt x="986" y="18"/>
                    <a:pt x="986" y="18"/>
                  </a:cubicBezTo>
                  <a:cubicBezTo>
                    <a:pt x="986" y="18"/>
                    <a:pt x="987" y="18"/>
                    <a:pt x="987" y="18"/>
                  </a:cubicBezTo>
                  <a:cubicBezTo>
                    <a:pt x="987" y="18"/>
                    <a:pt x="987" y="18"/>
                    <a:pt x="987" y="18"/>
                  </a:cubicBezTo>
                  <a:cubicBezTo>
                    <a:pt x="987" y="18"/>
                    <a:pt x="987" y="18"/>
                    <a:pt x="987" y="18"/>
                  </a:cubicBezTo>
                  <a:cubicBezTo>
                    <a:pt x="987" y="17"/>
                    <a:pt x="988" y="18"/>
                    <a:pt x="988" y="17"/>
                  </a:cubicBezTo>
                  <a:cubicBezTo>
                    <a:pt x="988" y="17"/>
                    <a:pt x="988" y="17"/>
                    <a:pt x="988" y="17"/>
                  </a:cubicBezTo>
                  <a:cubicBezTo>
                    <a:pt x="988" y="17"/>
                    <a:pt x="989" y="17"/>
                    <a:pt x="989" y="17"/>
                  </a:cubicBezTo>
                  <a:cubicBezTo>
                    <a:pt x="989" y="17"/>
                    <a:pt x="989" y="17"/>
                    <a:pt x="989" y="17"/>
                  </a:cubicBezTo>
                  <a:cubicBezTo>
                    <a:pt x="990" y="17"/>
                    <a:pt x="990" y="17"/>
                    <a:pt x="990" y="17"/>
                  </a:cubicBezTo>
                  <a:cubicBezTo>
                    <a:pt x="990" y="17"/>
                    <a:pt x="991" y="17"/>
                    <a:pt x="991" y="17"/>
                  </a:cubicBezTo>
                  <a:cubicBezTo>
                    <a:pt x="991" y="17"/>
                    <a:pt x="991" y="17"/>
                    <a:pt x="991" y="17"/>
                  </a:cubicBezTo>
                  <a:cubicBezTo>
                    <a:pt x="991" y="17"/>
                    <a:pt x="991" y="17"/>
                    <a:pt x="991" y="17"/>
                  </a:cubicBezTo>
                  <a:cubicBezTo>
                    <a:pt x="992" y="16"/>
                    <a:pt x="993" y="17"/>
                    <a:pt x="993" y="16"/>
                  </a:cubicBezTo>
                  <a:cubicBezTo>
                    <a:pt x="993" y="16"/>
                    <a:pt x="993" y="16"/>
                    <a:pt x="994" y="16"/>
                  </a:cubicBezTo>
                  <a:cubicBezTo>
                    <a:pt x="995" y="16"/>
                    <a:pt x="996" y="16"/>
                    <a:pt x="997" y="16"/>
                  </a:cubicBezTo>
                  <a:cubicBezTo>
                    <a:pt x="998" y="16"/>
                    <a:pt x="999" y="16"/>
                    <a:pt x="1000" y="16"/>
                  </a:cubicBezTo>
                  <a:cubicBezTo>
                    <a:pt x="1002" y="16"/>
                    <a:pt x="1003" y="16"/>
                    <a:pt x="1004" y="16"/>
                  </a:cubicBezTo>
                  <a:cubicBezTo>
                    <a:pt x="1004" y="16"/>
                    <a:pt x="1004" y="16"/>
                    <a:pt x="1005" y="16"/>
                  </a:cubicBezTo>
                  <a:cubicBezTo>
                    <a:pt x="1005" y="17"/>
                    <a:pt x="1006" y="16"/>
                    <a:pt x="1006" y="17"/>
                  </a:cubicBezTo>
                  <a:cubicBezTo>
                    <a:pt x="1007" y="16"/>
                    <a:pt x="1007" y="16"/>
                    <a:pt x="1007" y="17"/>
                  </a:cubicBezTo>
                  <a:cubicBezTo>
                    <a:pt x="1007" y="17"/>
                    <a:pt x="1008" y="17"/>
                    <a:pt x="1008" y="17"/>
                  </a:cubicBezTo>
                  <a:cubicBezTo>
                    <a:pt x="1009" y="17"/>
                    <a:pt x="1009" y="17"/>
                    <a:pt x="1009" y="17"/>
                  </a:cubicBezTo>
                  <a:cubicBezTo>
                    <a:pt x="1009" y="17"/>
                    <a:pt x="1009" y="17"/>
                    <a:pt x="1009" y="17"/>
                  </a:cubicBezTo>
                  <a:cubicBezTo>
                    <a:pt x="1009" y="17"/>
                    <a:pt x="1010" y="17"/>
                    <a:pt x="1010" y="17"/>
                  </a:cubicBezTo>
                  <a:close/>
                  <a:moveTo>
                    <a:pt x="1066" y="103"/>
                  </a:moveTo>
                  <a:cubicBezTo>
                    <a:pt x="1066" y="103"/>
                    <a:pt x="1066" y="103"/>
                    <a:pt x="1066" y="103"/>
                  </a:cubicBezTo>
                  <a:cubicBezTo>
                    <a:pt x="1067" y="103"/>
                    <a:pt x="1068" y="103"/>
                    <a:pt x="1069" y="103"/>
                  </a:cubicBezTo>
                  <a:cubicBezTo>
                    <a:pt x="1069" y="102"/>
                    <a:pt x="1069" y="102"/>
                    <a:pt x="1069" y="102"/>
                  </a:cubicBezTo>
                  <a:cubicBezTo>
                    <a:pt x="1069" y="103"/>
                    <a:pt x="1069" y="103"/>
                    <a:pt x="1069" y="103"/>
                  </a:cubicBezTo>
                  <a:cubicBezTo>
                    <a:pt x="1069" y="102"/>
                    <a:pt x="1070" y="103"/>
                    <a:pt x="1070" y="102"/>
                  </a:cubicBezTo>
                  <a:cubicBezTo>
                    <a:pt x="1070" y="102"/>
                    <a:pt x="1070" y="102"/>
                    <a:pt x="1070" y="102"/>
                  </a:cubicBezTo>
                  <a:cubicBezTo>
                    <a:pt x="1071" y="102"/>
                    <a:pt x="1071" y="102"/>
                    <a:pt x="1071" y="102"/>
                  </a:cubicBezTo>
                  <a:cubicBezTo>
                    <a:pt x="1071" y="102"/>
                    <a:pt x="1071" y="102"/>
                    <a:pt x="1072" y="102"/>
                  </a:cubicBezTo>
                  <a:cubicBezTo>
                    <a:pt x="1072" y="102"/>
                    <a:pt x="1072" y="102"/>
                    <a:pt x="1072" y="102"/>
                  </a:cubicBezTo>
                  <a:cubicBezTo>
                    <a:pt x="1072" y="102"/>
                    <a:pt x="1072" y="102"/>
                    <a:pt x="1072" y="102"/>
                  </a:cubicBezTo>
                  <a:cubicBezTo>
                    <a:pt x="1072" y="102"/>
                    <a:pt x="1073" y="102"/>
                    <a:pt x="1073" y="102"/>
                  </a:cubicBezTo>
                  <a:cubicBezTo>
                    <a:pt x="1073" y="101"/>
                    <a:pt x="1073" y="101"/>
                    <a:pt x="1073" y="101"/>
                  </a:cubicBezTo>
                  <a:cubicBezTo>
                    <a:pt x="1073" y="101"/>
                    <a:pt x="1073" y="101"/>
                    <a:pt x="1073" y="101"/>
                  </a:cubicBezTo>
                  <a:cubicBezTo>
                    <a:pt x="1074" y="101"/>
                    <a:pt x="1074" y="101"/>
                    <a:pt x="1075" y="101"/>
                  </a:cubicBezTo>
                  <a:cubicBezTo>
                    <a:pt x="1074" y="101"/>
                    <a:pt x="1074" y="101"/>
                    <a:pt x="1074" y="101"/>
                  </a:cubicBezTo>
                  <a:cubicBezTo>
                    <a:pt x="1075" y="101"/>
                    <a:pt x="1075" y="101"/>
                    <a:pt x="1076" y="101"/>
                  </a:cubicBezTo>
                  <a:cubicBezTo>
                    <a:pt x="1076" y="101"/>
                    <a:pt x="1076" y="101"/>
                    <a:pt x="1076" y="101"/>
                  </a:cubicBezTo>
                  <a:cubicBezTo>
                    <a:pt x="1076" y="101"/>
                    <a:pt x="1076" y="101"/>
                    <a:pt x="1076" y="100"/>
                  </a:cubicBezTo>
                  <a:cubicBezTo>
                    <a:pt x="1076" y="100"/>
                    <a:pt x="1076" y="100"/>
                    <a:pt x="1076" y="100"/>
                  </a:cubicBezTo>
                  <a:cubicBezTo>
                    <a:pt x="1076" y="100"/>
                    <a:pt x="1076" y="100"/>
                    <a:pt x="1076" y="100"/>
                  </a:cubicBezTo>
                  <a:cubicBezTo>
                    <a:pt x="1077" y="100"/>
                    <a:pt x="1077" y="100"/>
                    <a:pt x="1077" y="100"/>
                  </a:cubicBezTo>
                  <a:cubicBezTo>
                    <a:pt x="1077" y="100"/>
                    <a:pt x="1077" y="100"/>
                    <a:pt x="1077" y="100"/>
                  </a:cubicBezTo>
                  <a:cubicBezTo>
                    <a:pt x="1077" y="100"/>
                    <a:pt x="1078" y="100"/>
                    <a:pt x="1078" y="100"/>
                  </a:cubicBezTo>
                  <a:cubicBezTo>
                    <a:pt x="1078" y="100"/>
                    <a:pt x="1078" y="100"/>
                    <a:pt x="1078" y="100"/>
                  </a:cubicBezTo>
                  <a:cubicBezTo>
                    <a:pt x="1078" y="100"/>
                    <a:pt x="1079" y="100"/>
                    <a:pt x="1079" y="99"/>
                  </a:cubicBezTo>
                  <a:cubicBezTo>
                    <a:pt x="1079" y="99"/>
                    <a:pt x="1079" y="99"/>
                    <a:pt x="1079" y="99"/>
                  </a:cubicBezTo>
                  <a:cubicBezTo>
                    <a:pt x="1079" y="99"/>
                    <a:pt x="1079" y="99"/>
                    <a:pt x="1079" y="99"/>
                  </a:cubicBezTo>
                  <a:cubicBezTo>
                    <a:pt x="1079" y="99"/>
                    <a:pt x="1079" y="99"/>
                    <a:pt x="1079" y="99"/>
                  </a:cubicBezTo>
                  <a:cubicBezTo>
                    <a:pt x="1080" y="99"/>
                    <a:pt x="1080" y="99"/>
                    <a:pt x="1080" y="99"/>
                  </a:cubicBezTo>
                  <a:cubicBezTo>
                    <a:pt x="1080" y="99"/>
                    <a:pt x="1080" y="99"/>
                    <a:pt x="1080" y="99"/>
                  </a:cubicBezTo>
                  <a:cubicBezTo>
                    <a:pt x="1080" y="99"/>
                    <a:pt x="1081" y="99"/>
                    <a:pt x="1081" y="98"/>
                  </a:cubicBezTo>
                  <a:cubicBezTo>
                    <a:pt x="1081" y="98"/>
                    <a:pt x="1081" y="98"/>
                    <a:pt x="1081" y="98"/>
                  </a:cubicBezTo>
                  <a:cubicBezTo>
                    <a:pt x="1081" y="98"/>
                    <a:pt x="1081" y="98"/>
                    <a:pt x="1081" y="98"/>
                  </a:cubicBezTo>
                  <a:cubicBezTo>
                    <a:pt x="1081" y="98"/>
                    <a:pt x="1081" y="98"/>
                    <a:pt x="1081" y="98"/>
                  </a:cubicBezTo>
                  <a:cubicBezTo>
                    <a:pt x="1081" y="98"/>
                    <a:pt x="1082" y="98"/>
                    <a:pt x="1082" y="98"/>
                  </a:cubicBezTo>
                  <a:cubicBezTo>
                    <a:pt x="1082" y="98"/>
                    <a:pt x="1082" y="98"/>
                    <a:pt x="1082" y="98"/>
                  </a:cubicBezTo>
                  <a:cubicBezTo>
                    <a:pt x="1082" y="97"/>
                    <a:pt x="1082" y="98"/>
                    <a:pt x="1082" y="97"/>
                  </a:cubicBezTo>
                  <a:cubicBezTo>
                    <a:pt x="1082" y="97"/>
                    <a:pt x="1082" y="97"/>
                    <a:pt x="1082" y="97"/>
                  </a:cubicBezTo>
                  <a:cubicBezTo>
                    <a:pt x="1083" y="97"/>
                    <a:pt x="1083" y="97"/>
                    <a:pt x="1083" y="97"/>
                  </a:cubicBezTo>
                  <a:cubicBezTo>
                    <a:pt x="1083" y="97"/>
                    <a:pt x="1083" y="97"/>
                    <a:pt x="1083" y="97"/>
                  </a:cubicBezTo>
                  <a:cubicBezTo>
                    <a:pt x="1083" y="97"/>
                    <a:pt x="1083" y="97"/>
                    <a:pt x="1083" y="97"/>
                  </a:cubicBezTo>
                  <a:cubicBezTo>
                    <a:pt x="1083" y="93"/>
                    <a:pt x="1083" y="90"/>
                    <a:pt x="1083" y="87"/>
                  </a:cubicBezTo>
                  <a:cubicBezTo>
                    <a:pt x="1083" y="86"/>
                    <a:pt x="1083" y="86"/>
                    <a:pt x="1083" y="87"/>
                  </a:cubicBezTo>
                  <a:cubicBezTo>
                    <a:pt x="1083" y="87"/>
                    <a:pt x="1083" y="87"/>
                    <a:pt x="1083" y="87"/>
                  </a:cubicBezTo>
                  <a:cubicBezTo>
                    <a:pt x="1083" y="87"/>
                    <a:pt x="1083" y="87"/>
                    <a:pt x="1083" y="87"/>
                  </a:cubicBezTo>
                  <a:cubicBezTo>
                    <a:pt x="1083" y="87"/>
                    <a:pt x="1083" y="87"/>
                    <a:pt x="1083" y="87"/>
                  </a:cubicBezTo>
                  <a:cubicBezTo>
                    <a:pt x="1082" y="87"/>
                    <a:pt x="1082" y="87"/>
                    <a:pt x="1082" y="87"/>
                  </a:cubicBezTo>
                  <a:cubicBezTo>
                    <a:pt x="1082" y="87"/>
                    <a:pt x="1082" y="87"/>
                    <a:pt x="1082" y="87"/>
                  </a:cubicBezTo>
                  <a:cubicBezTo>
                    <a:pt x="1082" y="87"/>
                    <a:pt x="1082" y="87"/>
                    <a:pt x="1082" y="88"/>
                  </a:cubicBezTo>
                  <a:cubicBezTo>
                    <a:pt x="1082" y="88"/>
                    <a:pt x="1082" y="88"/>
                    <a:pt x="1082" y="88"/>
                  </a:cubicBezTo>
                  <a:cubicBezTo>
                    <a:pt x="1081" y="88"/>
                    <a:pt x="1081" y="88"/>
                    <a:pt x="1081" y="88"/>
                  </a:cubicBezTo>
                  <a:cubicBezTo>
                    <a:pt x="1081" y="88"/>
                    <a:pt x="1081" y="88"/>
                    <a:pt x="1081" y="88"/>
                  </a:cubicBezTo>
                  <a:cubicBezTo>
                    <a:pt x="1081" y="88"/>
                    <a:pt x="1081" y="88"/>
                    <a:pt x="1080" y="88"/>
                  </a:cubicBezTo>
                  <a:cubicBezTo>
                    <a:pt x="1080" y="88"/>
                    <a:pt x="1080" y="88"/>
                    <a:pt x="1080" y="88"/>
                  </a:cubicBezTo>
                  <a:cubicBezTo>
                    <a:pt x="1080" y="88"/>
                    <a:pt x="1080" y="88"/>
                    <a:pt x="1080" y="89"/>
                  </a:cubicBezTo>
                  <a:cubicBezTo>
                    <a:pt x="1080" y="89"/>
                    <a:pt x="1080" y="89"/>
                    <a:pt x="1080" y="89"/>
                  </a:cubicBezTo>
                  <a:cubicBezTo>
                    <a:pt x="1080" y="89"/>
                    <a:pt x="1080" y="89"/>
                    <a:pt x="1079" y="89"/>
                  </a:cubicBezTo>
                  <a:cubicBezTo>
                    <a:pt x="1079" y="89"/>
                    <a:pt x="1079" y="89"/>
                    <a:pt x="1079" y="89"/>
                  </a:cubicBezTo>
                  <a:cubicBezTo>
                    <a:pt x="1079" y="89"/>
                    <a:pt x="1079" y="89"/>
                    <a:pt x="1079" y="89"/>
                  </a:cubicBezTo>
                  <a:cubicBezTo>
                    <a:pt x="1079" y="89"/>
                    <a:pt x="1079" y="89"/>
                    <a:pt x="1079" y="89"/>
                  </a:cubicBezTo>
                  <a:cubicBezTo>
                    <a:pt x="1079" y="90"/>
                    <a:pt x="1078" y="89"/>
                    <a:pt x="1078" y="90"/>
                  </a:cubicBezTo>
                  <a:cubicBezTo>
                    <a:pt x="1078" y="90"/>
                    <a:pt x="1078" y="90"/>
                    <a:pt x="1078" y="90"/>
                  </a:cubicBezTo>
                  <a:cubicBezTo>
                    <a:pt x="1078" y="90"/>
                    <a:pt x="1078" y="90"/>
                    <a:pt x="1078" y="90"/>
                  </a:cubicBezTo>
                  <a:cubicBezTo>
                    <a:pt x="1078" y="90"/>
                    <a:pt x="1078" y="90"/>
                    <a:pt x="1078" y="90"/>
                  </a:cubicBezTo>
                  <a:cubicBezTo>
                    <a:pt x="1077" y="90"/>
                    <a:pt x="1077" y="90"/>
                    <a:pt x="1077" y="90"/>
                  </a:cubicBezTo>
                  <a:cubicBezTo>
                    <a:pt x="1077" y="90"/>
                    <a:pt x="1077" y="90"/>
                    <a:pt x="1077" y="90"/>
                  </a:cubicBezTo>
                  <a:cubicBezTo>
                    <a:pt x="1077" y="90"/>
                    <a:pt x="1077" y="90"/>
                    <a:pt x="1077" y="90"/>
                  </a:cubicBezTo>
                  <a:cubicBezTo>
                    <a:pt x="1077" y="91"/>
                    <a:pt x="1076" y="91"/>
                    <a:pt x="1076" y="91"/>
                  </a:cubicBezTo>
                  <a:cubicBezTo>
                    <a:pt x="1076" y="91"/>
                    <a:pt x="1076" y="91"/>
                    <a:pt x="1076" y="91"/>
                  </a:cubicBezTo>
                  <a:cubicBezTo>
                    <a:pt x="1076" y="91"/>
                    <a:pt x="1076" y="91"/>
                    <a:pt x="1076" y="91"/>
                  </a:cubicBezTo>
                  <a:cubicBezTo>
                    <a:pt x="1076" y="91"/>
                    <a:pt x="1075" y="91"/>
                    <a:pt x="1075" y="91"/>
                  </a:cubicBezTo>
                  <a:cubicBezTo>
                    <a:pt x="1075" y="91"/>
                    <a:pt x="1075" y="91"/>
                    <a:pt x="1075" y="91"/>
                  </a:cubicBezTo>
                  <a:cubicBezTo>
                    <a:pt x="1075" y="91"/>
                    <a:pt x="1075" y="91"/>
                    <a:pt x="1075" y="91"/>
                  </a:cubicBezTo>
                  <a:cubicBezTo>
                    <a:pt x="1075" y="91"/>
                    <a:pt x="1075" y="91"/>
                    <a:pt x="1075" y="91"/>
                  </a:cubicBezTo>
                  <a:cubicBezTo>
                    <a:pt x="1074" y="92"/>
                    <a:pt x="1074" y="92"/>
                    <a:pt x="1074" y="92"/>
                  </a:cubicBezTo>
                  <a:cubicBezTo>
                    <a:pt x="1074" y="92"/>
                    <a:pt x="1074" y="92"/>
                    <a:pt x="1074" y="92"/>
                  </a:cubicBezTo>
                  <a:cubicBezTo>
                    <a:pt x="1073" y="92"/>
                    <a:pt x="1073" y="92"/>
                    <a:pt x="1073" y="92"/>
                  </a:cubicBezTo>
                  <a:cubicBezTo>
                    <a:pt x="1073" y="92"/>
                    <a:pt x="1073" y="92"/>
                    <a:pt x="1073" y="92"/>
                  </a:cubicBezTo>
                  <a:cubicBezTo>
                    <a:pt x="1073" y="92"/>
                    <a:pt x="1073" y="92"/>
                    <a:pt x="1073" y="92"/>
                  </a:cubicBezTo>
                  <a:cubicBezTo>
                    <a:pt x="1072" y="92"/>
                    <a:pt x="1072" y="92"/>
                    <a:pt x="1072" y="92"/>
                  </a:cubicBezTo>
                  <a:cubicBezTo>
                    <a:pt x="1072" y="93"/>
                    <a:pt x="1072" y="93"/>
                    <a:pt x="1071" y="92"/>
                  </a:cubicBezTo>
                  <a:cubicBezTo>
                    <a:pt x="1071" y="93"/>
                    <a:pt x="1071" y="93"/>
                    <a:pt x="1070" y="93"/>
                  </a:cubicBezTo>
                  <a:cubicBezTo>
                    <a:pt x="1070" y="93"/>
                    <a:pt x="1070" y="93"/>
                    <a:pt x="1070" y="93"/>
                  </a:cubicBezTo>
                  <a:cubicBezTo>
                    <a:pt x="1070" y="93"/>
                    <a:pt x="1070" y="93"/>
                    <a:pt x="1070" y="93"/>
                  </a:cubicBezTo>
                  <a:cubicBezTo>
                    <a:pt x="1070" y="93"/>
                    <a:pt x="1069" y="93"/>
                    <a:pt x="1069" y="93"/>
                  </a:cubicBezTo>
                  <a:cubicBezTo>
                    <a:pt x="1069" y="93"/>
                    <a:pt x="1069" y="93"/>
                    <a:pt x="1069" y="93"/>
                  </a:cubicBezTo>
                  <a:cubicBezTo>
                    <a:pt x="1068" y="94"/>
                    <a:pt x="1067" y="93"/>
                    <a:pt x="1067" y="93"/>
                  </a:cubicBezTo>
                  <a:cubicBezTo>
                    <a:pt x="1067" y="94"/>
                    <a:pt x="1067" y="94"/>
                    <a:pt x="1066" y="94"/>
                  </a:cubicBezTo>
                  <a:cubicBezTo>
                    <a:pt x="1064" y="94"/>
                    <a:pt x="1061" y="94"/>
                    <a:pt x="1058" y="94"/>
                  </a:cubicBezTo>
                  <a:cubicBezTo>
                    <a:pt x="1058" y="94"/>
                    <a:pt x="1058" y="93"/>
                    <a:pt x="1058" y="93"/>
                  </a:cubicBezTo>
                  <a:cubicBezTo>
                    <a:pt x="1057" y="93"/>
                    <a:pt x="1057" y="93"/>
                    <a:pt x="1056" y="93"/>
                  </a:cubicBezTo>
                  <a:cubicBezTo>
                    <a:pt x="1056" y="93"/>
                    <a:pt x="1056" y="93"/>
                    <a:pt x="1056" y="93"/>
                  </a:cubicBezTo>
                  <a:cubicBezTo>
                    <a:pt x="1056" y="93"/>
                    <a:pt x="1055" y="93"/>
                    <a:pt x="1055" y="93"/>
                  </a:cubicBezTo>
                  <a:cubicBezTo>
                    <a:pt x="1055" y="93"/>
                    <a:pt x="1055" y="93"/>
                    <a:pt x="1055" y="93"/>
                  </a:cubicBezTo>
                  <a:cubicBezTo>
                    <a:pt x="1054" y="93"/>
                    <a:pt x="1054" y="93"/>
                    <a:pt x="1054" y="93"/>
                  </a:cubicBezTo>
                  <a:cubicBezTo>
                    <a:pt x="1054" y="93"/>
                    <a:pt x="1054" y="93"/>
                    <a:pt x="1054" y="92"/>
                  </a:cubicBezTo>
                  <a:cubicBezTo>
                    <a:pt x="1053" y="92"/>
                    <a:pt x="1053" y="92"/>
                    <a:pt x="1053" y="92"/>
                  </a:cubicBezTo>
                  <a:cubicBezTo>
                    <a:pt x="1053" y="92"/>
                    <a:pt x="1053" y="92"/>
                    <a:pt x="1053" y="92"/>
                  </a:cubicBezTo>
                  <a:cubicBezTo>
                    <a:pt x="1053" y="92"/>
                    <a:pt x="1052" y="92"/>
                    <a:pt x="1052" y="92"/>
                  </a:cubicBezTo>
                  <a:cubicBezTo>
                    <a:pt x="1052" y="92"/>
                    <a:pt x="1052" y="92"/>
                    <a:pt x="1052" y="92"/>
                  </a:cubicBezTo>
                  <a:cubicBezTo>
                    <a:pt x="1052" y="92"/>
                    <a:pt x="1052" y="92"/>
                    <a:pt x="1051" y="91"/>
                  </a:cubicBezTo>
                  <a:cubicBezTo>
                    <a:pt x="1051" y="91"/>
                    <a:pt x="1051" y="91"/>
                    <a:pt x="1051" y="91"/>
                  </a:cubicBezTo>
                  <a:cubicBezTo>
                    <a:pt x="1051" y="91"/>
                    <a:pt x="1051" y="91"/>
                    <a:pt x="1051" y="91"/>
                  </a:cubicBezTo>
                  <a:cubicBezTo>
                    <a:pt x="1051" y="91"/>
                    <a:pt x="1051" y="91"/>
                    <a:pt x="1051" y="91"/>
                  </a:cubicBezTo>
                  <a:cubicBezTo>
                    <a:pt x="1051" y="91"/>
                    <a:pt x="1051" y="91"/>
                    <a:pt x="1051" y="91"/>
                  </a:cubicBezTo>
                  <a:cubicBezTo>
                    <a:pt x="1051" y="91"/>
                    <a:pt x="1050" y="91"/>
                    <a:pt x="1050" y="91"/>
                  </a:cubicBezTo>
                  <a:cubicBezTo>
                    <a:pt x="1050" y="91"/>
                    <a:pt x="1050" y="91"/>
                    <a:pt x="1050" y="91"/>
                  </a:cubicBezTo>
                  <a:cubicBezTo>
                    <a:pt x="1050" y="91"/>
                    <a:pt x="1050" y="91"/>
                    <a:pt x="1050"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89"/>
                    <a:pt x="1048" y="90"/>
                    <a:pt x="1048" y="89"/>
                  </a:cubicBezTo>
                  <a:cubicBezTo>
                    <a:pt x="1048" y="89"/>
                    <a:pt x="1048" y="89"/>
                    <a:pt x="1048" y="89"/>
                  </a:cubicBezTo>
                  <a:cubicBezTo>
                    <a:pt x="1048" y="89"/>
                    <a:pt x="1048" y="89"/>
                    <a:pt x="1048" y="89"/>
                  </a:cubicBezTo>
                  <a:cubicBezTo>
                    <a:pt x="1048" y="89"/>
                    <a:pt x="1048" y="89"/>
                    <a:pt x="1048" y="89"/>
                  </a:cubicBezTo>
                  <a:cubicBezTo>
                    <a:pt x="1048" y="89"/>
                    <a:pt x="1047" y="89"/>
                    <a:pt x="1047" y="89"/>
                  </a:cubicBezTo>
                  <a:cubicBezTo>
                    <a:pt x="1047" y="89"/>
                    <a:pt x="1047" y="89"/>
                    <a:pt x="1047" y="89"/>
                  </a:cubicBezTo>
                  <a:cubicBezTo>
                    <a:pt x="1047" y="89"/>
                    <a:pt x="1047" y="88"/>
                    <a:pt x="1047" y="88"/>
                  </a:cubicBezTo>
                  <a:cubicBezTo>
                    <a:pt x="1047" y="88"/>
                    <a:pt x="1047" y="88"/>
                    <a:pt x="1047" y="88"/>
                  </a:cubicBezTo>
                  <a:cubicBezTo>
                    <a:pt x="1047" y="88"/>
                    <a:pt x="1047" y="88"/>
                    <a:pt x="1047" y="88"/>
                  </a:cubicBezTo>
                  <a:cubicBezTo>
                    <a:pt x="1047" y="88"/>
                    <a:pt x="1047" y="88"/>
                    <a:pt x="1047" y="88"/>
                  </a:cubicBezTo>
                  <a:cubicBezTo>
                    <a:pt x="1047" y="88"/>
                    <a:pt x="1046" y="88"/>
                    <a:pt x="1046" y="88"/>
                  </a:cubicBezTo>
                  <a:cubicBezTo>
                    <a:pt x="1046" y="88"/>
                    <a:pt x="1046" y="88"/>
                    <a:pt x="1046" y="88"/>
                  </a:cubicBezTo>
                  <a:cubicBezTo>
                    <a:pt x="1046" y="87"/>
                    <a:pt x="1046" y="87"/>
                    <a:pt x="1046" y="87"/>
                  </a:cubicBezTo>
                  <a:cubicBezTo>
                    <a:pt x="1046" y="87"/>
                    <a:pt x="1046" y="87"/>
                    <a:pt x="1046" y="87"/>
                  </a:cubicBezTo>
                  <a:cubicBezTo>
                    <a:pt x="1046" y="87"/>
                    <a:pt x="1046" y="87"/>
                    <a:pt x="1046" y="87"/>
                  </a:cubicBezTo>
                  <a:cubicBezTo>
                    <a:pt x="1046" y="87"/>
                    <a:pt x="1046" y="87"/>
                    <a:pt x="1046" y="87"/>
                  </a:cubicBezTo>
                  <a:cubicBezTo>
                    <a:pt x="1045" y="87"/>
                    <a:pt x="1046" y="86"/>
                    <a:pt x="1045" y="86"/>
                  </a:cubicBezTo>
                  <a:cubicBezTo>
                    <a:pt x="1045" y="86"/>
                    <a:pt x="1045" y="86"/>
                    <a:pt x="1045" y="86"/>
                  </a:cubicBezTo>
                  <a:cubicBezTo>
                    <a:pt x="1045" y="86"/>
                    <a:pt x="1045" y="86"/>
                    <a:pt x="1045" y="86"/>
                  </a:cubicBezTo>
                  <a:cubicBezTo>
                    <a:pt x="1045" y="86"/>
                    <a:pt x="1045" y="86"/>
                    <a:pt x="1045" y="86"/>
                  </a:cubicBezTo>
                  <a:cubicBezTo>
                    <a:pt x="1045" y="86"/>
                    <a:pt x="1045" y="86"/>
                    <a:pt x="1045" y="85"/>
                  </a:cubicBezTo>
                  <a:cubicBezTo>
                    <a:pt x="1045" y="85"/>
                    <a:pt x="1045" y="85"/>
                    <a:pt x="1045" y="85"/>
                  </a:cubicBezTo>
                  <a:cubicBezTo>
                    <a:pt x="1044" y="85"/>
                    <a:pt x="1044" y="85"/>
                    <a:pt x="1044" y="85"/>
                  </a:cubicBezTo>
                  <a:cubicBezTo>
                    <a:pt x="1044" y="85"/>
                    <a:pt x="1044" y="85"/>
                    <a:pt x="1044" y="85"/>
                  </a:cubicBezTo>
                  <a:cubicBezTo>
                    <a:pt x="1044" y="85"/>
                    <a:pt x="1044" y="84"/>
                    <a:pt x="1044" y="84"/>
                  </a:cubicBezTo>
                  <a:cubicBezTo>
                    <a:pt x="1044" y="84"/>
                    <a:pt x="1044" y="84"/>
                    <a:pt x="1044" y="84"/>
                  </a:cubicBezTo>
                  <a:cubicBezTo>
                    <a:pt x="1044" y="84"/>
                    <a:pt x="1044" y="84"/>
                    <a:pt x="1044" y="84"/>
                  </a:cubicBezTo>
                  <a:cubicBezTo>
                    <a:pt x="1044" y="84"/>
                    <a:pt x="1044" y="84"/>
                    <a:pt x="1044" y="84"/>
                  </a:cubicBezTo>
                  <a:cubicBezTo>
                    <a:pt x="1043" y="84"/>
                    <a:pt x="1043" y="83"/>
                    <a:pt x="1043" y="83"/>
                  </a:cubicBezTo>
                  <a:cubicBezTo>
                    <a:pt x="1043" y="83"/>
                    <a:pt x="1043" y="83"/>
                    <a:pt x="1043" y="83"/>
                  </a:cubicBezTo>
                  <a:cubicBezTo>
                    <a:pt x="1043" y="83"/>
                    <a:pt x="1043" y="83"/>
                    <a:pt x="1043" y="82"/>
                  </a:cubicBezTo>
                  <a:cubicBezTo>
                    <a:pt x="1043" y="82"/>
                    <a:pt x="1043" y="82"/>
                    <a:pt x="1043" y="82"/>
                  </a:cubicBezTo>
                  <a:cubicBezTo>
                    <a:pt x="1043" y="82"/>
                    <a:pt x="1043" y="82"/>
                    <a:pt x="1043" y="82"/>
                  </a:cubicBezTo>
                  <a:cubicBezTo>
                    <a:pt x="1043" y="82"/>
                    <a:pt x="1043" y="82"/>
                    <a:pt x="1042" y="81"/>
                  </a:cubicBezTo>
                  <a:cubicBezTo>
                    <a:pt x="1042" y="81"/>
                    <a:pt x="1042" y="81"/>
                    <a:pt x="1042" y="81"/>
                  </a:cubicBezTo>
                  <a:cubicBezTo>
                    <a:pt x="1042" y="81"/>
                    <a:pt x="1042" y="81"/>
                    <a:pt x="1042" y="81"/>
                  </a:cubicBezTo>
                  <a:cubicBezTo>
                    <a:pt x="1042" y="81"/>
                    <a:pt x="1042" y="80"/>
                    <a:pt x="1042" y="80"/>
                  </a:cubicBezTo>
                  <a:cubicBezTo>
                    <a:pt x="1042" y="80"/>
                    <a:pt x="1042" y="80"/>
                    <a:pt x="1042" y="79"/>
                  </a:cubicBezTo>
                  <a:cubicBezTo>
                    <a:pt x="1042" y="79"/>
                    <a:pt x="1042" y="79"/>
                    <a:pt x="1042" y="79"/>
                  </a:cubicBezTo>
                  <a:cubicBezTo>
                    <a:pt x="1042" y="79"/>
                    <a:pt x="1042" y="79"/>
                    <a:pt x="1041" y="78"/>
                  </a:cubicBezTo>
                  <a:cubicBezTo>
                    <a:pt x="1041" y="78"/>
                    <a:pt x="1041" y="78"/>
                    <a:pt x="1041" y="78"/>
                  </a:cubicBezTo>
                  <a:cubicBezTo>
                    <a:pt x="1041" y="77"/>
                    <a:pt x="1041" y="77"/>
                    <a:pt x="1041" y="76"/>
                  </a:cubicBezTo>
                  <a:cubicBezTo>
                    <a:pt x="1041" y="76"/>
                    <a:pt x="1041" y="76"/>
                    <a:pt x="1041" y="76"/>
                  </a:cubicBezTo>
                  <a:cubicBezTo>
                    <a:pt x="1041" y="76"/>
                    <a:pt x="1041" y="75"/>
                    <a:pt x="1041" y="74"/>
                  </a:cubicBezTo>
                  <a:cubicBezTo>
                    <a:pt x="1041" y="74"/>
                    <a:pt x="1041" y="74"/>
                    <a:pt x="1041" y="73"/>
                  </a:cubicBezTo>
                  <a:cubicBezTo>
                    <a:pt x="1040" y="71"/>
                    <a:pt x="1040" y="71"/>
                    <a:pt x="1043" y="71"/>
                  </a:cubicBezTo>
                  <a:cubicBezTo>
                    <a:pt x="1057" y="71"/>
                    <a:pt x="1072" y="71"/>
                    <a:pt x="1086" y="71"/>
                  </a:cubicBezTo>
                  <a:cubicBezTo>
                    <a:pt x="1086" y="71"/>
                    <a:pt x="1087" y="71"/>
                    <a:pt x="1087" y="71"/>
                  </a:cubicBezTo>
                  <a:cubicBezTo>
                    <a:pt x="1088" y="71"/>
                    <a:pt x="1088" y="70"/>
                    <a:pt x="1088" y="70"/>
                  </a:cubicBezTo>
                  <a:cubicBezTo>
                    <a:pt x="1088" y="67"/>
                    <a:pt x="1088" y="64"/>
                    <a:pt x="1088" y="60"/>
                  </a:cubicBezTo>
                  <a:cubicBezTo>
                    <a:pt x="1088" y="60"/>
                    <a:pt x="1088" y="60"/>
                    <a:pt x="1088" y="60"/>
                  </a:cubicBezTo>
                  <a:cubicBezTo>
                    <a:pt x="1087" y="59"/>
                    <a:pt x="1088" y="58"/>
                    <a:pt x="1087" y="57"/>
                  </a:cubicBezTo>
                  <a:cubicBezTo>
                    <a:pt x="1087" y="57"/>
                    <a:pt x="1087" y="57"/>
                    <a:pt x="1087" y="57"/>
                  </a:cubicBezTo>
                  <a:cubicBezTo>
                    <a:pt x="1087" y="56"/>
                    <a:pt x="1087" y="56"/>
                    <a:pt x="1087" y="55"/>
                  </a:cubicBezTo>
                  <a:cubicBezTo>
                    <a:pt x="1087" y="55"/>
                    <a:pt x="1087" y="55"/>
                    <a:pt x="1087" y="55"/>
                  </a:cubicBezTo>
                  <a:cubicBezTo>
                    <a:pt x="1087" y="54"/>
                    <a:pt x="1087" y="54"/>
                    <a:pt x="1087" y="53"/>
                  </a:cubicBezTo>
                  <a:cubicBezTo>
                    <a:pt x="1087" y="53"/>
                    <a:pt x="1087" y="53"/>
                    <a:pt x="1087" y="53"/>
                  </a:cubicBezTo>
                  <a:cubicBezTo>
                    <a:pt x="1087" y="53"/>
                    <a:pt x="1087" y="53"/>
                    <a:pt x="1087" y="53"/>
                  </a:cubicBezTo>
                  <a:cubicBezTo>
                    <a:pt x="1086" y="53"/>
                    <a:pt x="1087" y="52"/>
                    <a:pt x="1086" y="52"/>
                  </a:cubicBezTo>
                  <a:cubicBezTo>
                    <a:pt x="1086" y="52"/>
                    <a:pt x="1086" y="52"/>
                    <a:pt x="1086" y="52"/>
                  </a:cubicBezTo>
                  <a:cubicBezTo>
                    <a:pt x="1086" y="52"/>
                    <a:pt x="1086" y="51"/>
                    <a:pt x="1086" y="51"/>
                  </a:cubicBezTo>
                  <a:cubicBezTo>
                    <a:pt x="1086" y="51"/>
                    <a:pt x="1086" y="51"/>
                    <a:pt x="1086" y="51"/>
                  </a:cubicBezTo>
                  <a:cubicBezTo>
                    <a:pt x="1086" y="51"/>
                    <a:pt x="1086" y="51"/>
                    <a:pt x="1086" y="51"/>
                  </a:cubicBezTo>
                  <a:cubicBezTo>
                    <a:pt x="1086" y="51"/>
                    <a:pt x="1086" y="50"/>
                    <a:pt x="1086" y="50"/>
                  </a:cubicBezTo>
                  <a:cubicBezTo>
                    <a:pt x="1086" y="50"/>
                    <a:pt x="1086" y="50"/>
                    <a:pt x="1086" y="50"/>
                  </a:cubicBezTo>
                  <a:cubicBezTo>
                    <a:pt x="1086" y="50"/>
                    <a:pt x="1086" y="50"/>
                    <a:pt x="1086" y="50"/>
                  </a:cubicBezTo>
                  <a:cubicBezTo>
                    <a:pt x="1086" y="50"/>
                    <a:pt x="1086" y="49"/>
                    <a:pt x="1085" y="49"/>
                  </a:cubicBezTo>
                  <a:cubicBezTo>
                    <a:pt x="1085" y="49"/>
                    <a:pt x="1085" y="49"/>
                    <a:pt x="1085" y="49"/>
                  </a:cubicBezTo>
                  <a:cubicBezTo>
                    <a:pt x="1085" y="49"/>
                    <a:pt x="1085" y="48"/>
                    <a:pt x="1085" y="48"/>
                  </a:cubicBezTo>
                  <a:cubicBezTo>
                    <a:pt x="1085" y="48"/>
                    <a:pt x="1085" y="48"/>
                    <a:pt x="1085" y="48"/>
                  </a:cubicBezTo>
                  <a:cubicBezTo>
                    <a:pt x="1085" y="48"/>
                    <a:pt x="1085" y="48"/>
                    <a:pt x="1085" y="48"/>
                  </a:cubicBezTo>
                  <a:cubicBezTo>
                    <a:pt x="1085" y="48"/>
                    <a:pt x="1085" y="47"/>
                    <a:pt x="1085" y="47"/>
                  </a:cubicBezTo>
                  <a:cubicBezTo>
                    <a:pt x="1085" y="47"/>
                    <a:pt x="1085" y="47"/>
                    <a:pt x="1085" y="47"/>
                  </a:cubicBezTo>
                  <a:cubicBezTo>
                    <a:pt x="1084" y="47"/>
                    <a:pt x="1084" y="47"/>
                    <a:pt x="1084" y="47"/>
                  </a:cubicBezTo>
                  <a:cubicBezTo>
                    <a:pt x="1084" y="47"/>
                    <a:pt x="1084" y="47"/>
                    <a:pt x="1084" y="47"/>
                  </a:cubicBezTo>
                  <a:cubicBezTo>
                    <a:pt x="1084" y="46"/>
                    <a:pt x="1084" y="46"/>
                    <a:pt x="1084" y="46"/>
                  </a:cubicBezTo>
                  <a:cubicBezTo>
                    <a:pt x="1084" y="46"/>
                    <a:pt x="1084" y="46"/>
                    <a:pt x="1084" y="46"/>
                  </a:cubicBezTo>
                  <a:cubicBezTo>
                    <a:pt x="1084" y="46"/>
                    <a:pt x="1084" y="45"/>
                    <a:pt x="1083" y="45"/>
                  </a:cubicBezTo>
                  <a:cubicBezTo>
                    <a:pt x="1084" y="45"/>
                    <a:pt x="1084" y="45"/>
                    <a:pt x="1084" y="45"/>
                  </a:cubicBezTo>
                  <a:cubicBezTo>
                    <a:pt x="1084" y="45"/>
                    <a:pt x="1083" y="45"/>
                    <a:pt x="1083" y="45"/>
                  </a:cubicBezTo>
                  <a:cubicBezTo>
                    <a:pt x="1083" y="45"/>
                    <a:pt x="1083" y="45"/>
                    <a:pt x="1083" y="45"/>
                  </a:cubicBezTo>
                  <a:cubicBezTo>
                    <a:pt x="1083" y="45"/>
                    <a:pt x="1083" y="44"/>
                    <a:pt x="1083" y="44"/>
                  </a:cubicBezTo>
                  <a:cubicBezTo>
                    <a:pt x="1083" y="44"/>
                    <a:pt x="1083" y="44"/>
                    <a:pt x="1083" y="44"/>
                  </a:cubicBezTo>
                  <a:cubicBezTo>
                    <a:pt x="1083" y="44"/>
                    <a:pt x="1082" y="43"/>
                    <a:pt x="1082" y="43"/>
                  </a:cubicBezTo>
                  <a:cubicBezTo>
                    <a:pt x="1082" y="43"/>
                    <a:pt x="1082" y="43"/>
                    <a:pt x="1082" y="43"/>
                  </a:cubicBezTo>
                  <a:cubicBezTo>
                    <a:pt x="1082" y="43"/>
                    <a:pt x="1082" y="43"/>
                    <a:pt x="1082" y="43"/>
                  </a:cubicBezTo>
                  <a:cubicBezTo>
                    <a:pt x="1082" y="43"/>
                    <a:pt x="1082" y="43"/>
                    <a:pt x="1082" y="43"/>
                  </a:cubicBezTo>
                  <a:cubicBezTo>
                    <a:pt x="1082" y="43"/>
                    <a:pt x="1082" y="42"/>
                    <a:pt x="1081" y="42"/>
                  </a:cubicBezTo>
                  <a:cubicBezTo>
                    <a:pt x="1081" y="42"/>
                    <a:pt x="1081" y="42"/>
                    <a:pt x="1081" y="42"/>
                  </a:cubicBezTo>
                  <a:cubicBezTo>
                    <a:pt x="1081" y="42"/>
                    <a:pt x="1081" y="42"/>
                    <a:pt x="1081" y="42"/>
                  </a:cubicBezTo>
                  <a:cubicBezTo>
                    <a:pt x="1081" y="42"/>
                    <a:pt x="1081" y="42"/>
                    <a:pt x="1081" y="42"/>
                  </a:cubicBezTo>
                  <a:cubicBezTo>
                    <a:pt x="1081" y="42"/>
                    <a:pt x="1081" y="41"/>
                    <a:pt x="1081" y="41"/>
                  </a:cubicBezTo>
                  <a:cubicBezTo>
                    <a:pt x="1081" y="41"/>
                    <a:pt x="1081" y="41"/>
                    <a:pt x="1081" y="41"/>
                  </a:cubicBezTo>
                  <a:cubicBezTo>
                    <a:pt x="1081" y="41"/>
                    <a:pt x="1081" y="41"/>
                    <a:pt x="1080" y="41"/>
                  </a:cubicBezTo>
                  <a:cubicBezTo>
                    <a:pt x="1080" y="41"/>
                    <a:pt x="1080" y="41"/>
                    <a:pt x="1080" y="41"/>
                  </a:cubicBezTo>
                  <a:cubicBezTo>
                    <a:pt x="1080" y="40"/>
                    <a:pt x="1079" y="39"/>
                    <a:pt x="1078" y="39"/>
                  </a:cubicBezTo>
                  <a:cubicBezTo>
                    <a:pt x="1078" y="38"/>
                    <a:pt x="1078" y="38"/>
                    <a:pt x="1078" y="38"/>
                  </a:cubicBezTo>
                  <a:cubicBezTo>
                    <a:pt x="1078" y="38"/>
                    <a:pt x="1078" y="38"/>
                    <a:pt x="1078" y="38"/>
                  </a:cubicBezTo>
                  <a:cubicBezTo>
                    <a:pt x="1078" y="38"/>
                    <a:pt x="1078" y="38"/>
                    <a:pt x="1078" y="38"/>
                  </a:cubicBezTo>
                  <a:cubicBezTo>
                    <a:pt x="1078" y="38"/>
                    <a:pt x="1077" y="38"/>
                    <a:pt x="1077" y="38"/>
                  </a:cubicBezTo>
                  <a:cubicBezTo>
                    <a:pt x="1077" y="38"/>
                    <a:pt x="1077" y="38"/>
                    <a:pt x="1077" y="38"/>
                  </a:cubicBezTo>
                  <a:cubicBezTo>
                    <a:pt x="1077" y="38"/>
                    <a:pt x="1077" y="37"/>
                    <a:pt x="1076" y="37"/>
                  </a:cubicBezTo>
                  <a:cubicBezTo>
                    <a:pt x="1076" y="37"/>
                    <a:pt x="1076" y="37"/>
                    <a:pt x="1076" y="37"/>
                  </a:cubicBezTo>
                  <a:cubicBezTo>
                    <a:pt x="1076" y="37"/>
                    <a:pt x="1076" y="37"/>
                    <a:pt x="1076" y="37"/>
                  </a:cubicBezTo>
                  <a:cubicBezTo>
                    <a:pt x="1076" y="37"/>
                    <a:pt x="1076" y="37"/>
                    <a:pt x="1076" y="37"/>
                  </a:cubicBezTo>
                  <a:cubicBezTo>
                    <a:pt x="1076" y="37"/>
                    <a:pt x="1075" y="37"/>
                    <a:pt x="1075" y="36"/>
                  </a:cubicBezTo>
                  <a:cubicBezTo>
                    <a:pt x="1075" y="36"/>
                    <a:pt x="1075" y="36"/>
                    <a:pt x="1075" y="36"/>
                  </a:cubicBezTo>
                  <a:cubicBezTo>
                    <a:pt x="1075" y="36"/>
                    <a:pt x="1075" y="36"/>
                    <a:pt x="1075" y="36"/>
                  </a:cubicBezTo>
                  <a:cubicBezTo>
                    <a:pt x="1075" y="36"/>
                    <a:pt x="1075" y="36"/>
                    <a:pt x="1075" y="36"/>
                  </a:cubicBezTo>
                  <a:cubicBezTo>
                    <a:pt x="1075" y="36"/>
                    <a:pt x="1075" y="36"/>
                    <a:pt x="1075" y="36"/>
                  </a:cubicBezTo>
                  <a:cubicBezTo>
                    <a:pt x="1074" y="36"/>
                    <a:pt x="1074" y="36"/>
                    <a:pt x="1074" y="36"/>
                  </a:cubicBezTo>
                  <a:cubicBezTo>
                    <a:pt x="1074" y="36"/>
                    <a:pt x="1074" y="36"/>
                    <a:pt x="1074" y="36"/>
                  </a:cubicBezTo>
                  <a:cubicBezTo>
                    <a:pt x="1074" y="35"/>
                    <a:pt x="1074" y="36"/>
                    <a:pt x="1073" y="35"/>
                  </a:cubicBezTo>
                  <a:cubicBezTo>
                    <a:pt x="1073" y="35"/>
                    <a:pt x="1073" y="35"/>
                    <a:pt x="1073" y="35"/>
                  </a:cubicBezTo>
                  <a:cubicBezTo>
                    <a:pt x="1073" y="35"/>
                    <a:pt x="1073" y="35"/>
                    <a:pt x="1073" y="35"/>
                  </a:cubicBezTo>
                  <a:cubicBezTo>
                    <a:pt x="1073" y="35"/>
                    <a:pt x="1073" y="35"/>
                    <a:pt x="1073" y="35"/>
                  </a:cubicBezTo>
                  <a:cubicBezTo>
                    <a:pt x="1073" y="35"/>
                    <a:pt x="1072" y="35"/>
                    <a:pt x="1072" y="35"/>
                  </a:cubicBezTo>
                  <a:cubicBezTo>
                    <a:pt x="1072" y="35"/>
                    <a:pt x="1072" y="35"/>
                    <a:pt x="1072" y="35"/>
                  </a:cubicBezTo>
                  <a:cubicBezTo>
                    <a:pt x="1072" y="35"/>
                    <a:pt x="1072" y="35"/>
                    <a:pt x="1072" y="35"/>
                  </a:cubicBezTo>
                  <a:cubicBezTo>
                    <a:pt x="1072" y="34"/>
                    <a:pt x="1071" y="35"/>
                    <a:pt x="1071" y="34"/>
                  </a:cubicBezTo>
                  <a:cubicBezTo>
                    <a:pt x="1071" y="34"/>
                    <a:pt x="1071" y="34"/>
                    <a:pt x="1071" y="34"/>
                  </a:cubicBezTo>
                  <a:cubicBezTo>
                    <a:pt x="1071" y="34"/>
                    <a:pt x="1070" y="34"/>
                    <a:pt x="1070" y="34"/>
                  </a:cubicBezTo>
                  <a:cubicBezTo>
                    <a:pt x="1070" y="34"/>
                    <a:pt x="1070" y="34"/>
                    <a:pt x="1070" y="34"/>
                  </a:cubicBezTo>
                  <a:cubicBezTo>
                    <a:pt x="1070" y="34"/>
                    <a:pt x="1069" y="34"/>
                    <a:pt x="1069" y="34"/>
                  </a:cubicBezTo>
                  <a:cubicBezTo>
                    <a:pt x="1069" y="34"/>
                    <a:pt x="1069" y="34"/>
                    <a:pt x="1069" y="34"/>
                  </a:cubicBezTo>
                  <a:cubicBezTo>
                    <a:pt x="1068" y="33"/>
                    <a:pt x="1068" y="34"/>
                    <a:pt x="1068" y="33"/>
                  </a:cubicBezTo>
                  <a:cubicBezTo>
                    <a:pt x="1067" y="33"/>
                    <a:pt x="1067" y="33"/>
                    <a:pt x="1067" y="33"/>
                  </a:cubicBezTo>
                  <a:cubicBezTo>
                    <a:pt x="1067" y="33"/>
                    <a:pt x="1066" y="33"/>
                    <a:pt x="1066" y="33"/>
                  </a:cubicBezTo>
                  <a:cubicBezTo>
                    <a:pt x="1066" y="33"/>
                    <a:pt x="1066" y="33"/>
                    <a:pt x="1065" y="33"/>
                  </a:cubicBezTo>
                  <a:cubicBezTo>
                    <a:pt x="1065" y="33"/>
                    <a:pt x="1064" y="33"/>
                    <a:pt x="1063" y="33"/>
                  </a:cubicBezTo>
                  <a:cubicBezTo>
                    <a:pt x="1061" y="33"/>
                    <a:pt x="1059" y="33"/>
                    <a:pt x="1058" y="33"/>
                  </a:cubicBezTo>
                  <a:cubicBezTo>
                    <a:pt x="1057" y="33"/>
                    <a:pt x="1056" y="33"/>
                    <a:pt x="1055" y="33"/>
                  </a:cubicBezTo>
                  <a:cubicBezTo>
                    <a:pt x="1055" y="33"/>
                    <a:pt x="1055" y="33"/>
                    <a:pt x="1055" y="33"/>
                  </a:cubicBezTo>
                  <a:cubicBezTo>
                    <a:pt x="1054" y="33"/>
                    <a:pt x="1054" y="33"/>
                    <a:pt x="1053" y="33"/>
                  </a:cubicBezTo>
                  <a:cubicBezTo>
                    <a:pt x="1053" y="33"/>
                    <a:pt x="1053" y="33"/>
                    <a:pt x="1053" y="33"/>
                  </a:cubicBezTo>
                  <a:cubicBezTo>
                    <a:pt x="1053" y="34"/>
                    <a:pt x="1052" y="33"/>
                    <a:pt x="1052" y="34"/>
                  </a:cubicBezTo>
                  <a:cubicBezTo>
                    <a:pt x="1052" y="34"/>
                    <a:pt x="1052" y="34"/>
                    <a:pt x="1052" y="34"/>
                  </a:cubicBezTo>
                  <a:cubicBezTo>
                    <a:pt x="1052" y="34"/>
                    <a:pt x="1051" y="34"/>
                    <a:pt x="1051" y="34"/>
                  </a:cubicBezTo>
                  <a:cubicBezTo>
                    <a:pt x="1051" y="34"/>
                    <a:pt x="1051" y="34"/>
                    <a:pt x="1051" y="34"/>
                  </a:cubicBezTo>
                  <a:cubicBezTo>
                    <a:pt x="1051" y="34"/>
                    <a:pt x="1050" y="34"/>
                    <a:pt x="1050" y="34"/>
                  </a:cubicBezTo>
                  <a:cubicBezTo>
                    <a:pt x="1050" y="34"/>
                    <a:pt x="1050" y="34"/>
                    <a:pt x="1050" y="34"/>
                  </a:cubicBezTo>
                  <a:cubicBezTo>
                    <a:pt x="1050" y="35"/>
                    <a:pt x="1049" y="34"/>
                    <a:pt x="1049" y="35"/>
                  </a:cubicBezTo>
                  <a:cubicBezTo>
                    <a:pt x="1049" y="35"/>
                    <a:pt x="1049" y="35"/>
                    <a:pt x="1049" y="35"/>
                  </a:cubicBezTo>
                  <a:cubicBezTo>
                    <a:pt x="1049" y="35"/>
                    <a:pt x="1048" y="35"/>
                    <a:pt x="1048" y="35"/>
                  </a:cubicBezTo>
                  <a:cubicBezTo>
                    <a:pt x="1048" y="35"/>
                    <a:pt x="1048" y="35"/>
                    <a:pt x="1048" y="35"/>
                  </a:cubicBezTo>
                  <a:cubicBezTo>
                    <a:pt x="1048" y="35"/>
                    <a:pt x="1048" y="35"/>
                    <a:pt x="1047" y="35"/>
                  </a:cubicBezTo>
                  <a:cubicBezTo>
                    <a:pt x="1047" y="35"/>
                    <a:pt x="1047" y="35"/>
                    <a:pt x="1047" y="35"/>
                  </a:cubicBezTo>
                  <a:cubicBezTo>
                    <a:pt x="1047" y="36"/>
                    <a:pt x="1047" y="36"/>
                    <a:pt x="1047" y="36"/>
                  </a:cubicBezTo>
                  <a:cubicBezTo>
                    <a:pt x="1047" y="36"/>
                    <a:pt x="1047" y="36"/>
                    <a:pt x="1047" y="36"/>
                  </a:cubicBezTo>
                  <a:cubicBezTo>
                    <a:pt x="1047" y="36"/>
                    <a:pt x="1046" y="36"/>
                    <a:pt x="1046" y="36"/>
                  </a:cubicBezTo>
                  <a:cubicBezTo>
                    <a:pt x="1046" y="36"/>
                    <a:pt x="1046" y="36"/>
                    <a:pt x="1046" y="36"/>
                  </a:cubicBezTo>
                  <a:cubicBezTo>
                    <a:pt x="1046" y="36"/>
                    <a:pt x="1045" y="36"/>
                    <a:pt x="1045" y="36"/>
                  </a:cubicBezTo>
                  <a:cubicBezTo>
                    <a:pt x="1045" y="36"/>
                    <a:pt x="1045" y="36"/>
                    <a:pt x="1045" y="36"/>
                  </a:cubicBezTo>
                  <a:cubicBezTo>
                    <a:pt x="1045" y="36"/>
                    <a:pt x="1045" y="37"/>
                    <a:pt x="1045" y="37"/>
                  </a:cubicBezTo>
                  <a:cubicBezTo>
                    <a:pt x="1045" y="37"/>
                    <a:pt x="1045" y="37"/>
                    <a:pt x="1045" y="37"/>
                  </a:cubicBezTo>
                  <a:cubicBezTo>
                    <a:pt x="1045" y="37"/>
                    <a:pt x="1044" y="37"/>
                    <a:pt x="1044" y="37"/>
                  </a:cubicBezTo>
                  <a:cubicBezTo>
                    <a:pt x="1044" y="37"/>
                    <a:pt x="1044" y="37"/>
                    <a:pt x="1044" y="37"/>
                  </a:cubicBezTo>
                  <a:cubicBezTo>
                    <a:pt x="1044" y="37"/>
                    <a:pt x="1044" y="37"/>
                    <a:pt x="1044" y="38"/>
                  </a:cubicBezTo>
                  <a:cubicBezTo>
                    <a:pt x="1044" y="38"/>
                    <a:pt x="1044" y="38"/>
                    <a:pt x="1044" y="38"/>
                  </a:cubicBezTo>
                  <a:cubicBezTo>
                    <a:pt x="1043" y="38"/>
                    <a:pt x="1043" y="38"/>
                    <a:pt x="1043" y="38"/>
                  </a:cubicBezTo>
                  <a:cubicBezTo>
                    <a:pt x="1043" y="38"/>
                    <a:pt x="1043" y="38"/>
                    <a:pt x="1043" y="38"/>
                  </a:cubicBezTo>
                  <a:cubicBezTo>
                    <a:pt x="1043" y="38"/>
                    <a:pt x="1043" y="38"/>
                    <a:pt x="1043" y="38"/>
                  </a:cubicBezTo>
                  <a:cubicBezTo>
                    <a:pt x="1043" y="38"/>
                    <a:pt x="1043" y="38"/>
                    <a:pt x="1043" y="38"/>
                  </a:cubicBezTo>
                  <a:cubicBezTo>
                    <a:pt x="1043" y="38"/>
                    <a:pt x="1042" y="38"/>
                    <a:pt x="1042" y="39"/>
                  </a:cubicBezTo>
                  <a:cubicBezTo>
                    <a:pt x="1042" y="39"/>
                    <a:pt x="1042" y="39"/>
                    <a:pt x="1042" y="39"/>
                  </a:cubicBezTo>
                  <a:cubicBezTo>
                    <a:pt x="1042" y="39"/>
                    <a:pt x="1042" y="39"/>
                    <a:pt x="1042" y="39"/>
                  </a:cubicBezTo>
                  <a:cubicBezTo>
                    <a:pt x="1042" y="39"/>
                    <a:pt x="1042" y="39"/>
                    <a:pt x="1042" y="39"/>
                  </a:cubicBezTo>
                  <a:cubicBezTo>
                    <a:pt x="1042" y="39"/>
                    <a:pt x="1042" y="39"/>
                    <a:pt x="1041" y="39"/>
                  </a:cubicBezTo>
                  <a:cubicBezTo>
                    <a:pt x="1041" y="39"/>
                    <a:pt x="1041" y="39"/>
                    <a:pt x="1041" y="39"/>
                  </a:cubicBezTo>
                  <a:cubicBezTo>
                    <a:pt x="1041" y="40"/>
                    <a:pt x="1040" y="40"/>
                    <a:pt x="1040" y="40"/>
                  </a:cubicBezTo>
                  <a:cubicBezTo>
                    <a:pt x="1040" y="40"/>
                    <a:pt x="1040" y="40"/>
                    <a:pt x="1040" y="40"/>
                  </a:cubicBezTo>
                  <a:cubicBezTo>
                    <a:pt x="1040" y="40"/>
                    <a:pt x="1040" y="40"/>
                    <a:pt x="1040" y="41"/>
                  </a:cubicBezTo>
                  <a:cubicBezTo>
                    <a:pt x="1040" y="41"/>
                    <a:pt x="1040" y="41"/>
                    <a:pt x="1040" y="41"/>
                  </a:cubicBezTo>
                  <a:cubicBezTo>
                    <a:pt x="1040" y="41"/>
                    <a:pt x="1039" y="41"/>
                    <a:pt x="1039" y="41"/>
                  </a:cubicBezTo>
                  <a:cubicBezTo>
                    <a:pt x="1039" y="41"/>
                    <a:pt x="1039" y="41"/>
                    <a:pt x="1039" y="41"/>
                  </a:cubicBezTo>
                  <a:cubicBezTo>
                    <a:pt x="1039" y="41"/>
                    <a:pt x="1039" y="41"/>
                    <a:pt x="1039" y="41"/>
                  </a:cubicBezTo>
                  <a:cubicBezTo>
                    <a:pt x="1039" y="41"/>
                    <a:pt x="1039" y="41"/>
                    <a:pt x="1039" y="41"/>
                  </a:cubicBezTo>
                  <a:cubicBezTo>
                    <a:pt x="1039" y="41"/>
                    <a:pt x="1039" y="42"/>
                    <a:pt x="1039" y="42"/>
                  </a:cubicBezTo>
                  <a:cubicBezTo>
                    <a:pt x="1039" y="42"/>
                    <a:pt x="1039" y="42"/>
                    <a:pt x="1039" y="42"/>
                  </a:cubicBezTo>
                  <a:cubicBezTo>
                    <a:pt x="1039" y="42"/>
                    <a:pt x="1038" y="42"/>
                    <a:pt x="1038" y="42"/>
                  </a:cubicBezTo>
                  <a:cubicBezTo>
                    <a:pt x="1038" y="42"/>
                    <a:pt x="1038" y="42"/>
                    <a:pt x="1038" y="42"/>
                  </a:cubicBezTo>
                  <a:cubicBezTo>
                    <a:pt x="1038" y="42"/>
                    <a:pt x="1038" y="43"/>
                    <a:pt x="1038" y="43"/>
                  </a:cubicBezTo>
                  <a:cubicBezTo>
                    <a:pt x="1038" y="43"/>
                    <a:pt x="1038" y="43"/>
                    <a:pt x="1038" y="43"/>
                  </a:cubicBezTo>
                  <a:cubicBezTo>
                    <a:pt x="1038" y="43"/>
                    <a:pt x="1037" y="43"/>
                    <a:pt x="1037" y="43"/>
                  </a:cubicBezTo>
                  <a:cubicBezTo>
                    <a:pt x="1037" y="43"/>
                    <a:pt x="1037" y="43"/>
                    <a:pt x="1037" y="43"/>
                  </a:cubicBezTo>
                  <a:cubicBezTo>
                    <a:pt x="1037" y="44"/>
                    <a:pt x="1037" y="44"/>
                    <a:pt x="1037" y="44"/>
                  </a:cubicBezTo>
                  <a:cubicBezTo>
                    <a:pt x="1037" y="44"/>
                    <a:pt x="1037" y="44"/>
                    <a:pt x="1037" y="44"/>
                  </a:cubicBezTo>
                  <a:cubicBezTo>
                    <a:pt x="1037" y="44"/>
                    <a:pt x="1037" y="44"/>
                    <a:pt x="1036" y="45"/>
                  </a:cubicBezTo>
                  <a:cubicBezTo>
                    <a:pt x="1036" y="45"/>
                    <a:pt x="1036" y="45"/>
                    <a:pt x="1036" y="45"/>
                  </a:cubicBezTo>
                  <a:cubicBezTo>
                    <a:pt x="1036" y="45"/>
                    <a:pt x="1036" y="45"/>
                    <a:pt x="1036" y="45"/>
                  </a:cubicBezTo>
                  <a:cubicBezTo>
                    <a:pt x="1036" y="45"/>
                    <a:pt x="1036" y="45"/>
                    <a:pt x="1036" y="45"/>
                  </a:cubicBezTo>
                  <a:cubicBezTo>
                    <a:pt x="1036" y="45"/>
                    <a:pt x="1036" y="46"/>
                    <a:pt x="1036" y="46"/>
                  </a:cubicBezTo>
                  <a:cubicBezTo>
                    <a:pt x="1036" y="46"/>
                    <a:pt x="1036" y="46"/>
                    <a:pt x="1036" y="46"/>
                  </a:cubicBezTo>
                  <a:cubicBezTo>
                    <a:pt x="1035" y="46"/>
                    <a:pt x="1035" y="46"/>
                    <a:pt x="1035" y="46"/>
                  </a:cubicBezTo>
                  <a:cubicBezTo>
                    <a:pt x="1035" y="46"/>
                    <a:pt x="1035" y="46"/>
                    <a:pt x="1035" y="46"/>
                  </a:cubicBezTo>
                  <a:cubicBezTo>
                    <a:pt x="1035" y="46"/>
                    <a:pt x="1035" y="47"/>
                    <a:pt x="1035" y="47"/>
                  </a:cubicBezTo>
                  <a:cubicBezTo>
                    <a:pt x="1035" y="47"/>
                    <a:pt x="1035" y="47"/>
                    <a:pt x="1035" y="47"/>
                  </a:cubicBezTo>
                  <a:cubicBezTo>
                    <a:pt x="1035" y="47"/>
                    <a:pt x="1035" y="47"/>
                    <a:pt x="1035" y="47"/>
                  </a:cubicBezTo>
                  <a:cubicBezTo>
                    <a:pt x="1035" y="47"/>
                    <a:pt x="1035" y="47"/>
                    <a:pt x="1035" y="47"/>
                  </a:cubicBezTo>
                  <a:cubicBezTo>
                    <a:pt x="1034" y="47"/>
                    <a:pt x="1034" y="48"/>
                    <a:pt x="1034" y="48"/>
                  </a:cubicBezTo>
                  <a:cubicBezTo>
                    <a:pt x="1034" y="48"/>
                    <a:pt x="1034" y="48"/>
                    <a:pt x="1034" y="48"/>
                  </a:cubicBezTo>
                  <a:cubicBezTo>
                    <a:pt x="1034" y="48"/>
                    <a:pt x="1034" y="48"/>
                    <a:pt x="1034" y="49"/>
                  </a:cubicBezTo>
                  <a:cubicBezTo>
                    <a:pt x="1034" y="49"/>
                    <a:pt x="1034" y="49"/>
                    <a:pt x="1034" y="49"/>
                  </a:cubicBezTo>
                  <a:cubicBezTo>
                    <a:pt x="1034" y="49"/>
                    <a:pt x="1034" y="49"/>
                    <a:pt x="1033" y="49"/>
                  </a:cubicBezTo>
                  <a:cubicBezTo>
                    <a:pt x="1033" y="49"/>
                    <a:pt x="1033" y="49"/>
                    <a:pt x="1033" y="49"/>
                  </a:cubicBezTo>
                  <a:cubicBezTo>
                    <a:pt x="1033" y="49"/>
                    <a:pt x="1033" y="50"/>
                    <a:pt x="1033" y="50"/>
                  </a:cubicBezTo>
                  <a:cubicBezTo>
                    <a:pt x="1033" y="50"/>
                    <a:pt x="1033" y="50"/>
                    <a:pt x="1033" y="50"/>
                  </a:cubicBezTo>
                  <a:cubicBezTo>
                    <a:pt x="1033" y="50"/>
                    <a:pt x="1033" y="51"/>
                    <a:pt x="1033" y="51"/>
                  </a:cubicBezTo>
                  <a:cubicBezTo>
                    <a:pt x="1033" y="51"/>
                    <a:pt x="1033" y="51"/>
                    <a:pt x="1033" y="51"/>
                  </a:cubicBezTo>
                  <a:cubicBezTo>
                    <a:pt x="1033" y="51"/>
                    <a:pt x="1033" y="51"/>
                    <a:pt x="1032" y="51"/>
                  </a:cubicBezTo>
                  <a:cubicBezTo>
                    <a:pt x="1032" y="51"/>
                    <a:pt x="1032" y="51"/>
                    <a:pt x="1032" y="51"/>
                  </a:cubicBezTo>
                  <a:cubicBezTo>
                    <a:pt x="1032" y="52"/>
                    <a:pt x="1032" y="52"/>
                    <a:pt x="1032" y="52"/>
                  </a:cubicBezTo>
                  <a:cubicBezTo>
                    <a:pt x="1032" y="52"/>
                    <a:pt x="1032" y="52"/>
                    <a:pt x="1032" y="52"/>
                  </a:cubicBezTo>
                  <a:cubicBezTo>
                    <a:pt x="1032" y="53"/>
                    <a:pt x="1032" y="53"/>
                    <a:pt x="1032" y="53"/>
                  </a:cubicBezTo>
                  <a:cubicBezTo>
                    <a:pt x="1032" y="53"/>
                    <a:pt x="1032" y="53"/>
                    <a:pt x="1032" y="53"/>
                  </a:cubicBezTo>
                  <a:cubicBezTo>
                    <a:pt x="1031" y="53"/>
                    <a:pt x="1032" y="54"/>
                    <a:pt x="1031" y="54"/>
                  </a:cubicBezTo>
                  <a:cubicBezTo>
                    <a:pt x="1031" y="54"/>
                    <a:pt x="1031" y="54"/>
                    <a:pt x="1031" y="54"/>
                  </a:cubicBezTo>
                  <a:cubicBezTo>
                    <a:pt x="1031" y="54"/>
                    <a:pt x="1031" y="55"/>
                    <a:pt x="1031" y="55"/>
                  </a:cubicBezTo>
                  <a:cubicBezTo>
                    <a:pt x="1031" y="55"/>
                    <a:pt x="1031" y="55"/>
                    <a:pt x="1031" y="55"/>
                  </a:cubicBezTo>
                  <a:cubicBezTo>
                    <a:pt x="1031" y="56"/>
                    <a:pt x="1031" y="56"/>
                    <a:pt x="1031" y="56"/>
                  </a:cubicBezTo>
                  <a:cubicBezTo>
                    <a:pt x="1031" y="56"/>
                    <a:pt x="1031" y="57"/>
                    <a:pt x="1031" y="57"/>
                  </a:cubicBezTo>
                  <a:cubicBezTo>
                    <a:pt x="1030" y="57"/>
                    <a:pt x="1031" y="57"/>
                    <a:pt x="1030" y="58"/>
                  </a:cubicBezTo>
                  <a:cubicBezTo>
                    <a:pt x="1030" y="58"/>
                    <a:pt x="1030" y="58"/>
                    <a:pt x="1030" y="58"/>
                  </a:cubicBezTo>
                  <a:cubicBezTo>
                    <a:pt x="1030" y="58"/>
                    <a:pt x="1030" y="59"/>
                    <a:pt x="1030" y="59"/>
                  </a:cubicBezTo>
                  <a:cubicBezTo>
                    <a:pt x="1030" y="59"/>
                    <a:pt x="1030" y="59"/>
                    <a:pt x="1030" y="59"/>
                  </a:cubicBezTo>
                  <a:cubicBezTo>
                    <a:pt x="1030" y="59"/>
                    <a:pt x="1030" y="59"/>
                    <a:pt x="1030" y="59"/>
                  </a:cubicBezTo>
                  <a:cubicBezTo>
                    <a:pt x="1030" y="60"/>
                    <a:pt x="1030" y="61"/>
                    <a:pt x="1030" y="61"/>
                  </a:cubicBezTo>
                  <a:cubicBezTo>
                    <a:pt x="1030" y="61"/>
                    <a:pt x="1030" y="61"/>
                    <a:pt x="1030" y="61"/>
                  </a:cubicBezTo>
                  <a:cubicBezTo>
                    <a:pt x="1029" y="62"/>
                    <a:pt x="1030" y="63"/>
                    <a:pt x="1029" y="64"/>
                  </a:cubicBezTo>
                  <a:cubicBezTo>
                    <a:pt x="1029" y="64"/>
                    <a:pt x="1029" y="65"/>
                    <a:pt x="1029" y="65"/>
                  </a:cubicBezTo>
                  <a:cubicBezTo>
                    <a:pt x="1029" y="67"/>
                    <a:pt x="1029" y="70"/>
                    <a:pt x="1029" y="72"/>
                  </a:cubicBezTo>
                  <a:cubicBezTo>
                    <a:pt x="1029" y="72"/>
                    <a:pt x="1029" y="73"/>
                    <a:pt x="1029" y="73"/>
                  </a:cubicBezTo>
                  <a:cubicBezTo>
                    <a:pt x="1030" y="74"/>
                    <a:pt x="1029" y="75"/>
                    <a:pt x="1030" y="76"/>
                  </a:cubicBezTo>
                  <a:cubicBezTo>
                    <a:pt x="1030" y="76"/>
                    <a:pt x="1030" y="76"/>
                    <a:pt x="1030" y="76"/>
                  </a:cubicBezTo>
                  <a:cubicBezTo>
                    <a:pt x="1030" y="77"/>
                    <a:pt x="1030" y="77"/>
                    <a:pt x="1030" y="78"/>
                  </a:cubicBezTo>
                  <a:cubicBezTo>
                    <a:pt x="1030" y="78"/>
                    <a:pt x="1030" y="78"/>
                    <a:pt x="1030" y="78"/>
                  </a:cubicBezTo>
                  <a:cubicBezTo>
                    <a:pt x="1030" y="79"/>
                    <a:pt x="1030" y="79"/>
                    <a:pt x="1030" y="80"/>
                  </a:cubicBezTo>
                  <a:cubicBezTo>
                    <a:pt x="1030" y="80"/>
                    <a:pt x="1030" y="80"/>
                    <a:pt x="1030" y="80"/>
                  </a:cubicBezTo>
                  <a:cubicBezTo>
                    <a:pt x="1031" y="80"/>
                    <a:pt x="1030" y="81"/>
                    <a:pt x="1031" y="81"/>
                  </a:cubicBezTo>
                  <a:cubicBezTo>
                    <a:pt x="1031" y="81"/>
                    <a:pt x="1031" y="81"/>
                    <a:pt x="1031" y="81"/>
                  </a:cubicBezTo>
                  <a:cubicBezTo>
                    <a:pt x="1031" y="82"/>
                    <a:pt x="1031" y="82"/>
                    <a:pt x="1031" y="82"/>
                  </a:cubicBezTo>
                  <a:cubicBezTo>
                    <a:pt x="1031" y="82"/>
                    <a:pt x="1031" y="82"/>
                    <a:pt x="1031" y="82"/>
                  </a:cubicBezTo>
                  <a:cubicBezTo>
                    <a:pt x="1031" y="83"/>
                    <a:pt x="1031" y="83"/>
                    <a:pt x="1031" y="83"/>
                  </a:cubicBezTo>
                  <a:cubicBezTo>
                    <a:pt x="1031" y="83"/>
                    <a:pt x="1031" y="83"/>
                    <a:pt x="1031" y="83"/>
                  </a:cubicBezTo>
                  <a:cubicBezTo>
                    <a:pt x="1031" y="83"/>
                    <a:pt x="1031" y="83"/>
                    <a:pt x="1031" y="83"/>
                  </a:cubicBezTo>
                  <a:cubicBezTo>
                    <a:pt x="1031" y="84"/>
                    <a:pt x="1031" y="84"/>
                    <a:pt x="1031" y="84"/>
                  </a:cubicBezTo>
                  <a:cubicBezTo>
                    <a:pt x="1032" y="84"/>
                    <a:pt x="1032" y="84"/>
                    <a:pt x="1032" y="84"/>
                  </a:cubicBezTo>
                  <a:cubicBezTo>
                    <a:pt x="1032" y="84"/>
                    <a:pt x="1032" y="84"/>
                    <a:pt x="1032" y="84"/>
                  </a:cubicBezTo>
                  <a:cubicBezTo>
                    <a:pt x="1032" y="85"/>
                    <a:pt x="1032" y="85"/>
                    <a:pt x="1032" y="85"/>
                  </a:cubicBezTo>
                  <a:cubicBezTo>
                    <a:pt x="1032" y="85"/>
                    <a:pt x="1032" y="85"/>
                    <a:pt x="1032" y="85"/>
                  </a:cubicBezTo>
                  <a:cubicBezTo>
                    <a:pt x="1032" y="86"/>
                    <a:pt x="1032" y="86"/>
                    <a:pt x="1032" y="86"/>
                  </a:cubicBezTo>
                  <a:cubicBezTo>
                    <a:pt x="1032" y="86"/>
                    <a:pt x="1032" y="86"/>
                    <a:pt x="1032" y="86"/>
                  </a:cubicBezTo>
                  <a:cubicBezTo>
                    <a:pt x="1033" y="86"/>
                    <a:pt x="1033" y="87"/>
                    <a:pt x="1033" y="87"/>
                  </a:cubicBezTo>
                  <a:cubicBezTo>
                    <a:pt x="1033" y="87"/>
                    <a:pt x="1033" y="87"/>
                    <a:pt x="1033" y="87"/>
                  </a:cubicBezTo>
                  <a:cubicBezTo>
                    <a:pt x="1033" y="87"/>
                    <a:pt x="1033" y="87"/>
                    <a:pt x="1033" y="87"/>
                  </a:cubicBezTo>
                  <a:cubicBezTo>
                    <a:pt x="1033" y="87"/>
                    <a:pt x="1033" y="87"/>
                    <a:pt x="1033" y="88"/>
                  </a:cubicBezTo>
                  <a:cubicBezTo>
                    <a:pt x="1033" y="88"/>
                    <a:pt x="1033" y="88"/>
                    <a:pt x="1033" y="88"/>
                  </a:cubicBezTo>
                  <a:cubicBezTo>
                    <a:pt x="1033" y="88"/>
                    <a:pt x="1033" y="88"/>
                    <a:pt x="1033" y="88"/>
                  </a:cubicBezTo>
                  <a:cubicBezTo>
                    <a:pt x="1033" y="88"/>
                    <a:pt x="1033" y="88"/>
                    <a:pt x="1033" y="88"/>
                  </a:cubicBezTo>
                  <a:cubicBezTo>
                    <a:pt x="1034" y="88"/>
                    <a:pt x="1034" y="88"/>
                    <a:pt x="1034" y="88"/>
                  </a:cubicBezTo>
                  <a:cubicBezTo>
                    <a:pt x="1034" y="88"/>
                    <a:pt x="1034" y="88"/>
                    <a:pt x="1034" y="88"/>
                  </a:cubicBezTo>
                  <a:cubicBezTo>
                    <a:pt x="1034" y="89"/>
                    <a:pt x="1034" y="89"/>
                    <a:pt x="1034" y="89"/>
                  </a:cubicBezTo>
                  <a:cubicBezTo>
                    <a:pt x="1034" y="89"/>
                    <a:pt x="1034" y="89"/>
                    <a:pt x="1034" y="89"/>
                  </a:cubicBezTo>
                  <a:cubicBezTo>
                    <a:pt x="1034" y="89"/>
                    <a:pt x="1034" y="90"/>
                    <a:pt x="1034" y="90"/>
                  </a:cubicBezTo>
                  <a:cubicBezTo>
                    <a:pt x="1034" y="90"/>
                    <a:pt x="1034" y="90"/>
                    <a:pt x="1034" y="90"/>
                  </a:cubicBezTo>
                  <a:cubicBezTo>
                    <a:pt x="1034" y="90"/>
                    <a:pt x="1034" y="90"/>
                    <a:pt x="1035" y="90"/>
                  </a:cubicBezTo>
                  <a:cubicBezTo>
                    <a:pt x="1035" y="90"/>
                    <a:pt x="1035" y="90"/>
                    <a:pt x="1035" y="90"/>
                  </a:cubicBezTo>
                  <a:cubicBezTo>
                    <a:pt x="1035" y="90"/>
                    <a:pt x="1035" y="91"/>
                    <a:pt x="1035" y="91"/>
                  </a:cubicBezTo>
                  <a:cubicBezTo>
                    <a:pt x="1035" y="91"/>
                    <a:pt x="1035" y="91"/>
                    <a:pt x="1035" y="91"/>
                  </a:cubicBezTo>
                  <a:cubicBezTo>
                    <a:pt x="1035" y="91"/>
                    <a:pt x="1035" y="91"/>
                    <a:pt x="1035" y="91"/>
                  </a:cubicBezTo>
                  <a:cubicBezTo>
                    <a:pt x="1035" y="91"/>
                    <a:pt x="1035" y="91"/>
                    <a:pt x="1035" y="91"/>
                  </a:cubicBezTo>
                  <a:cubicBezTo>
                    <a:pt x="1035" y="92"/>
                    <a:pt x="1035" y="92"/>
                    <a:pt x="1036" y="92"/>
                  </a:cubicBezTo>
                  <a:cubicBezTo>
                    <a:pt x="1036" y="92"/>
                    <a:pt x="1036" y="92"/>
                    <a:pt x="1036" y="92"/>
                  </a:cubicBezTo>
                  <a:cubicBezTo>
                    <a:pt x="1036" y="92"/>
                    <a:pt x="1036" y="92"/>
                    <a:pt x="1036" y="92"/>
                  </a:cubicBezTo>
                  <a:cubicBezTo>
                    <a:pt x="1036" y="92"/>
                    <a:pt x="1036" y="92"/>
                    <a:pt x="1036" y="92"/>
                  </a:cubicBezTo>
                  <a:cubicBezTo>
                    <a:pt x="1036" y="93"/>
                    <a:pt x="1036" y="93"/>
                    <a:pt x="1036" y="93"/>
                  </a:cubicBezTo>
                  <a:cubicBezTo>
                    <a:pt x="1036" y="93"/>
                    <a:pt x="1036" y="93"/>
                    <a:pt x="1036" y="93"/>
                  </a:cubicBezTo>
                  <a:cubicBezTo>
                    <a:pt x="1036" y="93"/>
                    <a:pt x="1036" y="93"/>
                    <a:pt x="1037" y="93"/>
                  </a:cubicBezTo>
                  <a:cubicBezTo>
                    <a:pt x="1037" y="93"/>
                    <a:pt x="1037" y="93"/>
                    <a:pt x="1037" y="93"/>
                  </a:cubicBezTo>
                  <a:cubicBezTo>
                    <a:pt x="1037" y="93"/>
                    <a:pt x="1037" y="93"/>
                    <a:pt x="1037" y="94"/>
                  </a:cubicBezTo>
                  <a:cubicBezTo>
                    <a:pt x="1037" y="94"/>
                    <a:pt x="1037" y="94"/>
                    <a:pt x="1037" y="94"/>
                  </a:cubicBezTo>
                  <a:cubicBezTo>
                    <a:pt x="1037" y="94"/>
                    <a:pt x="1037" y="94"/>
                    <a:pt x="1038" y="94"/>
                  </a:cubicBezTo>
                  <a:cubicBezTo>
                    <a:pt x="1038" y="94"/>
                    <a:pt x="1038" y="94"/>
                    <a:pt x="1038" y="94"/>
                  </a:cubicBezTo>
                  <a:cubicBezTo>
                    <a:pt x="1038" y="95"/>
                    <a:pt x="1038" y="95"/>
                    <a:pt x="1038" y="95"/>
                  </a:cubicBezTo>
                  <a:cubicBezTo>
                    <a:pt x="1038" y="95"/>
                    <a:pt x="1038" y="95"/>
                    <a:pt x="1038" y="95"/>
                  </a:cubicBezTo>
                  <a:cubicBezTo>
                    <a:pt x="1038" y="95"/>
                    <a:pt x="1038" y="95"/>
                    <a:pt x="1038" y="95"/>
                  </a:cubicBezTo>
                  <a:cubicBezTo>
                    <a:pt x="1038" y="95"/>
                    <a:pt x="1038" y="95"/>
                    <a:pt x="1038" y="95"/>
                  </a:cubicBezTo>
                  <a:cubicBezTo>
                    <a:pt x="1038" y="95"/>
                    <a:pt x="1039" y="95"/>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40" y="97"/>
                    <a:pt x="1040" y="97"/>
                    <a:pt x="1040" y="97"/>
                  </a:cubicBezTo>
                  <a:cubicBezTo>
                    <a:pt x="1040" y="97"/>
                    <a:pt x="1040" y="97"/>
                    <a:pt x="1040" y="97"/>
                  </a:cubicBezTo>
                  <a:cubicBezTo>
                    <a:pt x="1041" y="97"/>
                    <a:pt x="1041" y="97"/>
                    <a:pt x="1041" y="97"/>
                  </a:cubicBezTo>
                  <a:cubicBezTo>
                    <a:pt x="1041" y="97"/>
                    <a:pt x="1041" y="97"/>
                    <a:pt x="1041" y="97"/>
                  </a:cubicBezTo>
                  <a:cubicBezTo>
                    <a:pt x="1041" y="97"/>
                    <a:pt x="1041" y="98"/>
                    <a:pt x="1041" y="98"/>
                  </a:cubicBezTo>
                  <a:cubicBezTo>
                    <a:pt x="1041" y="98"/>
                    <a:pt x="1041" y="98"/>
                    <a:pt x="1041" y="98"/>
                  </a:cubicBezTo>
                  <a:cubicBezTo>
                    <a:pt x="1041" y="98"/>
                    <a:pt x="1042" y="98"/>
                    <a:pt x="1042" y="98"/>
                  </a:cubicBezTo>
                  <a:cubicBezTo>
                    <a:pt x="1042" y="98"/>
                    <a:pt x="1042" y="98"/>
                    <a:pt x="1042" y="98"/>
                  </a:cubicBezTo>
                  <a:cubicBezTo>
                    <a:pt x="1042" y="98"/>
                    <a:pt x="1042" y="98"/>
                    <a:pt x="1042" y="98"/>
                  </a:cubicBezTo>
                  <a:cubicBezTo>
                    <a:pt x="1042" y="98"/>
                    <a:pt x="1042" y="98"/>
                    <a:pt x="1042" y="98"/>
                  </a:cubicBezTo>
                  <a:cubicBezTo>
                    <a:pt x="1042" y="99"/>
                    <a:pt x="1043" y="98"/>
                    <a:pt x="1043" y="99"/>
                  </a:cubicBezTo>
                  <a:cubicBezTo>
                    <a:pt x="1043" y="99"/>
                    <a:pt x="1043" y="99"/>
                    <a:pt x="1043" y="99"/>
                  </a:cubicBezTo>
                  <a:cubicBezTo>
                    <a:pt x="1043" y="99"/>
                    <a:pt x="1043" y="99"/>
                    <a:pt x="1043" y="99"/>
                  </a:cubicBezTo>
                  <a:cubicBezTo>
                    <a:pt x="1043" y="99"/>
                    <a:pt x="1043" y="99"/>
                    <a:pt x="1043" y="99"/>
                  </a:cubicBezTo>
                  <a:cubicBezTo>
                    <a:pt x="1043" y="99"/>
                    <a:pt x="1044" y="99"/>
                    <a:pt x="1044" y="99"/>
                  </a:cubicBezTo>
                  <a:cubicBezTo>
                    <a:pt x="1044" y="99"/>
                    <a:pt x="1044" y="99"/>
                    <a:pt x="1044" y="99"/>
                  </a:cubicBezTo>
                  <a:cubicBezTo>
                    <a:pt x="1044" y="100"/>
                    <a:pt x="1044" y="100"/>
                    <a:pt x="1045" y="100"/>
                  </a:cubicBezTo>
                  <a:cubicBezTo>
                    <a:pt x="1045" y="100"/>
                    <a:pt x="1045" y="100"/>
                    <a:pt x="1045" y="100"/>
                  </a:cubicBezTo>
                  <a:cubicBezTo>
                    <a:pt x="1045" y="100"/>
                    <a:pt x="1045" y="100"/>
                    <a:pt x="1045" y="100"/>
                  </a:cubicBezTo>
                  <a:cubicBezTo>
                    <a:pt x="1045" y="100"/>
                    <a:pt x="1045" y="100"/>
                    <a:pt x="1045" y="100"/>
                  </a:cubicBezTo>
                  <a:cubicBezTo>
                    <a:pt x="1045" y="100"/>
                    <a:pt x="1045" y="100"/>
                    <a:pt x="1045" y="100"/>
                  </a:cubicBezTo>
                  <a:cubicBezTo>
                    <a:pt x="1045" y="100"/>
                    <a:pt x="1046" y="100"/>
                    <a:pt x="1046" y="100"/>
                  </a:cubicBezTo>
                  <a:cubicBezTo>
                    <a:pt x="1046" y="100"/>
                    <a:pt x="1046" y="100"/>
                    <a:pt x="1046" y="100"/>
                  </a:cubicBezTo>
                  <a:cubicBezTo>
                    <a:pt x="1046" y="100"/>
                    <a:pt x="1046" y="100"/>
                    <a:pt x="1046" y="100"/>
                  </a:cubicBezTo>
                  <a:cubicBezTo>
                    <a:pt x="1046" y="101"/>
                    <a:pt x="1047" y="101"/>
                    <a:pt x="1047" y="101"/>
                  </a:cubicBezTo>
                  <a:cubicBezTo>
                    <a:pt x="1047" y="101"/>
                    <a:pt x="1047" y="101"/>
                    <a:pt x="1047" y="101"/>
                  </a:cubicBezTo>
                  <a:cubicBezTo>
                    <a:pt x="1047" y="101"/>
                    <a:pt x="1047" y="101"/>
                    <a:pt x="1047" y="101"/>
                  </a:cubicBezTo>
                  <a:cubicBezTo>
                    <a:pt x="1047" y="101"/>
                    <a:pt x="1047" y="101"/>
                    <a:pt x="1047" y="101"/>
                  </a:cubicBezTo>
                  <a:cubicBezTo>
                    <a:pt x="1048" y="102"/>
                    <a:pt x="1048" y="101"/>
                    <a:pt x="1048" y="101"/>
                  </a:cubicBezTo>
                  <a:cubicBezTo>
                    <a:pt x="1048" y="101"/>
                    <a:pt x="1048" y="101"/>
                    <a:pt x="1048" y="101"/>
                  </a:cubicBezTo>
                  <a:cubicBezTo>
                    <a:pt x="1049" y="102"/>
                    <a:pt x="1049" y="102"/>
                    <a:pt x="1050" y="102"/>
                  </a:cubicBezTo>
                  <a:cubicBezTo>
                    <a:pt x="1049" y="102"/>
                    <a:pt x="1049" y="102"/>
                    <a:pt x="1049" y="102"/>
                  </a:cubicBezTo>
                  <a:cubicBezTo>
                    <a:pt x="1050" y="102"/>
                    <a:pt x="1050" y="102"/>
                    <a:pt x="1051" y="102"/>
                  </a:cubicBezTo>
                  <a:cubicBezTo>
                    <a:pt x="1051" y="102"/>
                    <a:pt x="1051" y="102"/>
                    <a:pt x="1051" y="102"/>
                  </a:cubicBezTo>
                  <a:cubicBezTo>
                    <a:pt x="1051" y="102"/>
                    <a:pt x="1051" y="102"/>
                    <a:pt x="1051" y="102"/>
                  </a:cubicBezTo>
                  <a:cubicBezTo>
                    <a:pt x="1051" y="103"/>
                    <a:pt x="1052" y="102"/>
                    <a:pt x="1052" y="103"/>
                  </a:cubicBezTo>
                  <a:cubicBezTo>
                    <a:pt x="1052" y="102"/>
                    <a:pt x="1052" y="102"/>
                    <a:pt x="1052" y="102"/>
                  </a:cubicBezTo>
                  <a:cubicBezTo>
                    <a:pt x="1053" y="103"/>
                    <a:pt x="1053" y="103"/>
                    <a:pt x="1053" y="103"/>
                  </a:cubicBezTo>
                  <a:cubicBezTo>
                    <a:pt x="1053" y="103"/>
                    <a:pt x="1054" y="103"/>
                    <a:pt x="1054" y="103"/>
                  </a:cubicBezTo>
                  <a:cubicBezTo>
                    <a:pt x="1054" y="103"/>
                    <a:pt x="1055" y="103"/>
                    <a:pt x="1055" y="103"/>
                  </a:cubicBezTo>
                  <a:cubicBezTo>
                    <a:pt x="1056" y="103"/>
                    <a:pt x="1057" y="103"/>
                    <a:pt x="1058" y="103"/>
                  </a:cubicBezTo>
                  <a:cubicBezTo>
                    <a:pt x="1059" y="103"/>
                    <a:pt x="1060" y="103"/>
                    <a:pt x="1062" y="103"/>
                  </a:cubicBezTo>
                  <a:cubicBezTo>
                    <a:pt x="1063" y="103"/>
                    <a:pt x="1064" y="103"/>
                    <a:pt x="1066" y="103"/>
                  </a:cubicBezTo>
                  <a:close/>
                  <a:moveTo>
                    <a:pt x="749" y="83"/>
                  </a:moveTo>
                  <a:cubicBezTo>
                    <a:pt x="749" y="83"/>
                    <a:pt x="749" y="83"/>
                    <a:pt x="749" y="83"/>
                  </a:cubicBezTo>
                  <a:cubicBezTo>
                    <a:pt x="749" y="83"/>
                    <a:pt x="749" y="84"/>
                    <a:pt x="749" y="84"/>
                  </a:cubicBezTo>
                  <a:cubicBezTo>
                    <a:pt x="749" y="84"/>
                    <a:pt x="749" y="84"/>
                    <a:pt x="749" y="84"/>
                  </a:cubicBezTo>
                  <a:cubicBezTo>
                    <a:pt x="750" y="84"/>
                    <a:pt x="750" y="85"/>
                    <a:pt x="750" y="85"/>
                  </a:cubicBezTo>
                  <a:cubicBezTo>
                    <a:pt x="750" y="85"/>
                    <a:pt x="750" y="85"/>
                    <a:pt x="750" y="85"/>
                  </a:cubicBezTo>
                  <a:cubicBezTo>
                    <a:pt x="750" y="85"/>
                    <a:pt x="750" y="85"/>
                    <a:pt x="750" y="85"/>
                  </a:cubicBezTo>
                  <a:cubicBezTo>
                    <a:pt x="750" y="85"/>
                    <a:pt x="750" y="86"/>
                    <a:pt x="750" y="86"/>
                  </a:cubicBezTo>
                  <a:cubicBezTo>
                    <a:pt x="750" y="86"/>
                    <a:pt x="750" y="86"/>
                    <a:pt x="750" y="86"/>
                  </a:cubicBezTo>
                  <a:cubicBezTo>
                    <a:pt x="750" y="86"/>
                    <a:pt x="750" y="86"/>
                    <a:pt x="750" y="87"/>
                  </a:cubicBezTo>
                  <a:cubicBezTo>
                    <a:pt x="750" y="87"/>
                    <a:pt x="750" y="87"/>
                    <a:pt x="750" y="87"/>
                  </a:cubicBezTo>
                  <a:cubicBezTo>
                    <a:pt x="751" y="87"/>
                    <a:pt x="751" y="87"/>
                    <a:pt x="751" y="87"/>
                  </a:cubicBezTo>
                  <a:cubicBezTo>
                    <a:pt x="751" y="87"/>
                    <a:pt x="751" y="87"/>
                    <a:pt x="751" y="87"/>
                  </a:cubicBezTo>
                  <a:cubicBezTo>
                    <a:pt x="751" y="87"/>
                    <a:pt x="751" y="87"/>
                    <a:pt x="751" y="87"/>
                  </a:cubicBezTo>
                  <a:cubicBezTo>
                    <a:pt x="751" y="88"/>
                    <a:pt x="751" y="88"/>
                    <a:pt x="751" y="88"/>
                  </a:cubicBezTo>
                  <a:cubicBezTo>
                    <a:pt x="751" y="88"/>
                    <a:pt x="751" y="88"/>
                    <a:pt x="751" y="88"/>
                  </a:cubicBezTo>
                  <a:cubicBezTo>
                    <a:pt x="751" y="88"/>
                    <a:pt x="751" y="88"/>
                    <a:pt x="751" y="88"/>
                  </a:cubicBezTo>
                  <a:cubicBezTo>
                    <a:pt x="751" y="88"/>
                    <a:pt x="751" y="88"/>
                    <a:pt x="751" y="89"/>
                  </a:cubicBezTo>
                  <a:cubicBezTo>
                    <a:pt x="751" y="89"/>
                    <a:pt x="751" y="89"/>
                    <a:pt x="751" y="89"/>
                  </a:cubicBezTo>
                  <a:cubicBezTo>
                    <a:pt x="752" y="89"/>
                    <a:pt x="752" y="89"/>
                    <a:pt x="752" y="89"/>
                  </a:cubicBezTo>
                  <a:cubicBezTo>
                    <a:pt x="752" y="89"/>
                    <a:pt x="752" y="89"/>
                    <a:pt x="752" y="89"/>
                  </a:cubicBezTo>
                  <a:cubicBezTo>
                    <a:pt x="752" y="90"/>
                    <a:pt x="752" y="90"/>
                    <a:pt x="752" y="90"/>
                  </a:cubicBezTo>
                  <a:cubicBezTo>
                    <a:pt x="752" y="90"/>
                    <a:pt x="752" y="90"/>
                    <a:pt x="752" y="90"/>
                  </a:cubicBezTo>
                  <a:cubicBezTo>
                    <a:pt x="752" y="90"/>
                    <a:pt x="753" y="91"/>
                    <a:pt x="753" y="91"/>
                  </a:cubicBezTo>
                  <a:cubicBezTo>
                    <a:pt x="753" y="91"/>
                    <a:pt x="753" y="91"/>
                    <a:pt x="753" y="91"/>
                  </a:cubicBezTo>
                  <a:cubicBezTo>
                    <a:pt x="753" y="91"/>
                    <a:pt x="753" y="92"/>
                    <a:pt x="754" y="92"/>
                  </a:cubicBezTo>
                  <a:cubicBezTo>
                    <a:pt x="754" y="92"/>
                    <a:pt x="754" y="92"/>
                    <a:pt x="754" y="92"/>
                  </a:cubicBezTo>
                  <a:cubicBezTo>
                    <a:pt x="754" y="92"/>
                    <a:pt x="754" y="92"/>
                    <a:pt x="754" y="92"/>
                  </a:cubicBezTo>
                  <a:cubicBezTo>
                    <a:pt x="754" y="92"/>
                    <a:pt x="754" y="92"/>
                    <a:pt x="754" y="92"/>
                  </a:cubicBezTo>
                  <a:cubicBezTo>
                    <a:pt x="754" y="93"/>
                    <a:pt x="754" y="93"/>
                    <a:pt x="755" y="93"/>
                  </a:cubicBezTo>
                  <a:cubicBezTo>
                    <a:pt x="755" y="93"/>
                    <a:pt x="755" y="93"/>
                    <a:pt x="755" y="93"/>
                  </a:cubicBezTo>
                  <a:cubicBezTo>
                    <a:pt x="755" y="94"/>
                    <a:pt x="755" y="94"/>
                    <a:pt x="755" y="94"/>
                  </a:cubicBezTo>
                  <a:cubicBezTo>
                    <a:pt x="755" y="94"/>
                    <a:pt x="755" y="94"/>
                    <a:pt x="755" y="94"/>
                  </a:cubicBezTo>
                  <a:cubicBezTo>
                    <a:pt x="755" y="94"/>
                    <a:pt x="755" y="94"/>
                    <a:pt x="755" y="94"/>
                  </a:cubicBezTo>
                  <a:cubicBezTo>
                    <a:pt x="755" y="94"/>
                    <a:pt x="755" y="94"/>
                    <a:pt x="755" y="94"/>
                  </a:cubicBezTo>
                  <a:cubicBezTo>
                    <a:pt x="755" y="94"/>
                    <a:pt x="756" y="94"/>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7" y="95"/>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8" y="96"/>
                    <a:pt x="758" y="97"/>
                    <a:pt x="758" y="97"/>
                  </a:cubicBezTo>
                  <a:cubicBezTo>
                    <a:pt x="758" y="97"/>
                    <a:pt x="758" y="97"/>
                    <a:pt x="758" y="97"/>
                  </a:cubicBezTo>
                  <a:cubicBezTo>
                    <a:pt x="758" y="97"/>
                    <a:pt x="758" y="97"/>
                    <a:pt x="758" y="97"/>
                  </a:cubicBezTo>
                  <a:cubicBezTo>
                    <a:pt x="758" y="97"/>
                    <a:pt x="758" y="97"/>
                    <a:pt x="758" y="97"/>
                  </a:cubicBezTo>
                  <a:cubicBezTo>
                    <a:pt x="758" y="97"/>
                    <a:pt x="759" y="97"/>
                    <a:pt x="759" y="98"/>
                  </a:cubicBezTo>
                  <a:cubicBezTo>
                    <a:pt x="759" y="98"/>
                    <a:pt x="759" y="98"/>
                    <a:pt x="759" y="98"/>
                  </a:cubicBezTo>
                  <a:cubicBezTo>
                    <a:pt x="759" y="98"/>
                    <a:pt x="759" y="98"/>
                    <a:pt x="760" y="98"/>
                  </a:cubicBezTo>
                  <a:cubicBezTo>
                    <a:pt x="760" y="98"/>
                    <a:pt x="760" y="98"/>
                    <a:pt x="760" y="98"/>
                  </a:cubicBezTo>
                  <a:cubicBezTo>
                    <a:pt x="760" y="98"/>
                    <a:pt x="760" y="98"/>
                    <a:pt x="761" y="99"/>
                  </a:cubicBezTo>
                  <a:cubicBezTo>
                    <a:pt x="761" y="99"/>
                    <a:pt x="761" y="99"/>
                    <a:pt x="761" y="99"/>
                  </a:cubicBezTo>
                  <a:cubicBezTo>
                    <a:pt x="761" y="99"/>
                    <a:pt x="761" y="99"/>
                    <a:pt x="761" y="99"/>
                  </a:cubicBezTo>
                  <a:cubicBezTo>
                    <a:pt x="761" y="99"/>
                    <a:pt x="761" y="99"/>
                    <a:pt x="761" y="99"/>
                  </a:cubicBezTo>
                  <a:cubicBezTo>
                    <a:pt x="761" y="99"/>
                    <a:pt x="761" y="99"/>
                    <a:pt x="762" y="99"/>
                  </a:cubicBezTo>
                  <a:cubicBezTo>
                    <a:pt x="762" y="99"/>
                    <a:pt x="762" y="99"/>
                    <a:pt x="762" y="99"/>
                  </a:cubicBezTo>
                  <a:cubicBezTo>
                    <a:pt x="762" y="100"/>
                    <a:pt x="762" y="100"/>
                    <a:pt x="762" y="100"/>
                  </a:cubicBezTo>
                  <a:cubicBezTo>
                    <a:pt x="762" y="100"/>
                    <a:pt x="762" y="100"/>
                    <a:pt x="762" y="100"/>
                  </a:cubicBezTo>
                  <a:cubicBezTo>
                    <a:pt x="762" y="100"/>
                    <a:pt x="763" y="100"/>
                    <a:pt x="763" y="100"/>
                  </a:cubicBezTo>
                  <a:cubicBezTo>
                    <a:pt x="763" y="100"/>
                    <a:pt x="763" y="100"/>
                    <a:pt x="763" y="100"/>
                  </a:cubicBezTo>
                  <a:cubicBezTo>
                    <a:pt x="763" y="100"/>
                    <a:pt x="764" y="100"/>
                    <a:pt x="764" y="100"/>
                  </a:cubicBezTo>
                  <a:cubicBezTo>
                    <a:pt x="764" y="100"/>
                    <a:pt x="764" y="100"/>
                    <a:pt x="764" y="100"/>
                  </a:cubicBezTo>
                  <a:cubicBezTo>
                    <a:pt x="764" y="101"/>
                    <a:pt x="764" y="101"/>
                    <a:pt x="764" y="101"/>
                  </a:cubicBezTo>
                  <a:cubicBezTo>
                    <a:pt x="764" y="101"/>
                    <a:pt x="764" y="101"/>
                    <a:pt x="764" y="101"/>
                  </a:cubicBezTo>
                  <a:cubicBezTo>
                    <a:pt x="765" y="101"/>
                    <a:pt x="765" y="101"/>
                    <a:pt x="765" y="101"/>
                  </a:cubicBezTo>
                  <a:cubicBezTo>
                    <a:pt x="765" y="101"/>
                    <a:pt x="765" y="101"/>
                    <a:pt x="765" y="101"/>
                  </a:cubicBezTo>
                  <a:cubicBezTo>
                    <a:pt x="766" y="101"/>
                    <a:pt x="766" y="101"/>
                    <a:pt x="766" y="101"/>
                  </a:cubicBezTo>
                  <a:cubicBezTo>
                    <a:pt x="766" y="101"/>
                    <a:pt x="766" y="101"/>
                    <a:pt x="766" y="101"/>
                  </a:cubicBezTo>
                  <a:cubicBezTo>
                    <a:pt x="766" y="102"/>
                    <a:pt x="766" y="102"/>
                    <a:pt x="766" y="102"/>
                  </a:cubicBezTo>
                  <a:cubicBezTo>
                    <a:pt x="767" y="102"/>
                    <a:pt x="767" y="102"/>
                    <a:pt x="767" y="102"/>
                  </a:cubicBezTo>
                  <a:cubicBezTo>
                    <a:pt x="767" y="102"/>
                    <a:pt x="767" y="102"/>
                    <a:pt x="767" y="102"/>
                  </a:cubicBezTo>
                  <a:cubicBezTo>
                    <a:pt x="768" y="102"/>
                    <a:pt x="768" y="102"/>
                    <a:pt x="768" y="102"/>
                  </a:cubicBezTo>
                  <a:cubicBezTo>
                    <a:pt x="768" y="102"/>
                    <a:pt x="768" y="102"/>
                    <a:pt x="769" y="102"/>
                  </a:cubicBezTo>
                  <a:cubicBezTo>
                    <a:pt x="769" y="102"/>
                    <a:pt x="769" y="102"/>
                    <a:pt x="769" y="102"/>
                  </a:cubicBezTo>
                  <a:cubicBezTo>
                    <a:pt x="769" y="102"/>
                    <a:pt x="769" y="102"/>
                    <a:pt x="769" y="102"/>
                  </a:cubicBezTo>
                  <a:cubicBezTo>
                    <a:pt x="769" y="102"/>
                    <a:pt x="770" y="102"/>
                    <a:pt x="770" y="103"/>
                  </a:cubicBezTo>
                  <a:cubicBezTo>
                    <a:pt x="770" y="102"/>
                    <a:pt x="770" y="102"/>
                    <a:pt x="770" y="102"/>
                  </a:cubicBezTo>
                  <a:cubicBezTo>
                    <a:pt x="770" y="103"/>
                    <a:pt x="770" y="103"/>
                    <a:pt x="770" y="103"/>
                  </a:cubicBezTo>
                  <a:cubicBezTo>
                    <a:pt x="771" y="103"/>
                    <a:pt x="772" y="103"/>
                    <a:pt x="772" y="103"/>
                  </a:cubicBezTo>
                  <a:cubicBezTo>
                    <a:pt x="772" y="103"/>
                    <a:pt x="773" y="103"/>
                    <a:pt x="773" y="103"/>
                  </a:cubicBezTo>
                  <a:cubicBezTo>
                    <a:pt x="774" y="103"/>
                    <a:pt x="775" y="103"/>
                    <a:pt x="776" y="103"/>
                  </a:cubicBezTo>
                  <a:cubicBezTo>
                    <a:pt x="777" y="103"/>
                    <a:pt x="778" y="103"/>
                    <a:pt x="779" y="103"/>
                  </a:cubicBezTo>
                  <a:cubicBezTo>
                    <a:pt x="781" y="103"/>
                    <a:pt x="782" y="103"/>
                    <a:pt x="784" y="103"/>
                  </a:cubicBezTo>
                  <a:cubicBezTo>
                    <a:pt x="784" y="103"/>
                    <a:pt x="784" y="103"/>
                    <a:pt x="784" y="103"/>
                  </a:cubicBezTo>
                  <a:cubicBezTo>
                    <a:pt x="785" y="103"/>
                    <a:pt x="786" y="103"/>
                    <a:pt x="786" y="103"/>
                  </a:cubicBezTo>
                  <a:cubicBezTo>
                    <a:pt x="786" y="102"/>
                    <a:pt x="786" y="102"/>
                    <a:pt x="786" y="102"/>
                  </a:cubicBezTo>
                  <a:cubicBezTo>
                    <a:pt x="787" y="103"/>
                    <a:pt x="787" y="103"/>
                    <a:pt x="787" y="103"/>
                  </a:cubicBezTo>
                  <a:cubicBezTo>
                    <a:pt x="787" y="102"/>
                    <a:pt x="788" y="103"/>
                    <a:pt x="788" y="102"/>
                  </a:cubicBezTo>
                  <a:cubicBezTo>
                    <a:pt x="788" y="102"/>
                    <a:pt x="788" y="102"/>
                    <a:pt x="788" y="102"/>
                  </a:cubicBezTo>
                  <a:cubicBezTo>
                    <a:pt x="789" y="102"/>
                    <a:pt x="789" y="102"/>
                    <a:pt x="789" y="102"/>
                  </a:cubicBezTo>
                  <a:cubicBezTo>
                    <a:pt x="789" y="102"/>
                    <a:pt x="789" y="102"/>
                    <a:pt x="790" y="102"/>
                  </a:cubicBezTo>
                  <a:cubicBezTo>
                    <a:pt x="790" y="102"/>
                    <a:pt x="790" y="102"/>
                    <a:pt x="790" y="102"/>
                  </a:cubicBezTo>
                  <a:cubicBezTo>
                    <a:pt x="790" y="102"/>
                    <a:pt x="790" y="102"/>
                    <a:pt x="790" y="102"/>
                  </a:cubicBezTo>
                  <a:cubicBezTo>
                    <a:pt x="790" y="102"/>
                    <a:pt x="791" y="102"/>
                    <a:pt x="791" y="101"/>
                  </a:cubicBezTo>
                  <a:cubicBezTo>
                    <a:pt x="791" y="102"/>
                    <a:pt x="791" y="102"/>
                    <a:pt x="791" y="102"/>
                  </a:cubicBezTo>
                  <a:cubicBezTo>
                    <a:pt x="791" y="101"/>
                    <a:pt x="792" y="101"/>
                    <a:pt x="792" y="101"/>
                  </a:cubicBezTo>
                  <a:cubicBezTo>
                    <a:pt x="792" y="101"/>
                    <a:pt x="792" y="101"/>
                    <a:pt x="792" y="101"/>
                  </a:cubicBezTo>
                  <a:cubicBezTo>
                    <a:pt x="792" y="101"/>
                    <a:pt x="792" y="101"/>
                    <a:pt x="792" y="101"/>
                  </a:cubicBezTo>
                  <a:cubicBezTo>
                    <a:pt x="793" y="101"/>
                    <a:pt x="793" y="101"/>
                    <a:pt x="793" y="101"/>
                  </a:cubicBezTo>
                  <a:cubicBezTo>
                    <a:pt x="793" y="101"/>
                    <a:pt x="793" y="101"/>
                    <a:pt x="793" y="101"/>
                  </a:cubicBezTo>
                  <a:cubicBezTo>
                    <a:pt x="794" y="100"/>
                    <a:pt x="794" y="101"/>
                    <a:pt x="794" y="100"/>
                  </a:cubicBezTo>
                  <a:cubicBezTo>
                    <a:pt x="794" y="100"/>
                    <a:pt x="794" y="100"/>
                    <a:pt x="794" y="100"/>
                  </a:cubicBezTo>
                  <a:cubicBezTo>
                    <a:pt x="794" y="100"/>
                    <a:pt x="795" y="100"/>
                    <a:pt x="795" y="100"/>
                  </a:cubicBezTo>
                  <a:cubicBezTo>
                    <a:pt x="795" y="100"/>
                    <a:pt x="795" y="100"/>
                    <a:pt x="795" y="100"/>
                  </a:cubicBezTo>
                  <a:cubicBezTo>
                    <a:pt x="795" y="100"/>
                    <a:pt x="795" y="100"/>
                    <a:pt x="795" y="100"/>
                  </a:cubicBezTo>
                  <a:cubicBezTo>
                    <a:pt x="795" y="100"/>
                    <a:pt x="796" y="100"/>
                    <a:pt x="796" y="100"/>
                  </a:cubicBezTo>
                  <a:cubicBezTo>
                    <a:pt x="796" y="100"/>
                    <a:pt x="796" y="100"/>
                    <a:pt x="796" y="100"/>
                  </a:cubicBezTo>
                  <a:cubicBezTo>
                    <a:pt x="796" y="100"/>
                    <a:pt x="797" y="100"/>
                    <a:pt x="797" y="99"/>
                  </a:cubicBezTo>
                  <a:cubicBezTo>
                    <a:pt x="797" y="99"/>
                    <a:pt x="797" y="99"/>
                    <a:pt x="797" y="99"/>
                  </a:cubicBezTo>
                  <a:cubicBezTo>
                    <a:pt x="797" y="99"/>
                    <a:pt x="797" y="99"/>
                    <a:pt x="797" y="99"/>
                  </a:cubicBezTo>
                  <a:cubicBezTo>
                    <a:pt x="797" y="99"/>
                    <a:pt x="797" y="99"/>
                    <a:pt x="797" y="99"/>
                  </a:cubicBezTo>
                  <a:cubicBezTo>
                    <a:pt x="798" y="99"/>
                    <a:pt x="798" y="99"/>
                    <a:pt x="798" y="99"/>
                  </a:cubicBezTo>
                  <a:cubicBezTo>
                    <a:pt x="798" y="99"/>
                    <a:pt x="798" y="99"/>
                    <a:pt x="798" y="99"/>
                  </a:cubicBezTo>
                  <a:cubicBezTo>
                    <a:pt x="798" y="99"/>
                    <a:pt x="798" y="98"/>
                    <a:pt x="798" y="98"/>
                  </a:cubicBezTo>
                  <a:cubicBezTo>
                    <a:pt x="799" y="98"/>
                    <a:pt x="799" y="98"/>
                    <a:pt x="799" y="98"/>
                  </a:cubicBezTo>
                  <a:cubicBezTo>
                    <a:pt x="799" y="98"/>
                    <a:pt x="799" y="98"/>
                    <a:pt x="799" y="98"/>
                  </a:cubicBezTo>
                  <a:cubicBezTo>
                    <a:pt x="799" y="98"/>
                    <a:pt x="799" y="98"/>
                    <a:pt x="799" y="98"/>
                  </a:cubicBezTo>
                  <a:cubicBezTo>
                    <a:pt x="799" y="98"/>
                    <a:pt x="800" y="98"/>
                    <a:pt x="800" y="98"/>
                  </a:cubicBezTo>
                  <a:cubicBezTo>
                    <a:pt x="800" y="98"/>
                    <a:pt x="800" y="98"/>
                    <a:pt x="800" y="98"/>
                  </a:cubicBezTo>
                  <a:cubicBezTo>
                    <a:pt x="800" y="98"/>
                    <a:pt x="800" y="97"/>
                    <a:pt x="800" y="97"/>
                  </a:cubicBezTo>
                  <a:cubicBezTo>
                    <a:pt x="800" y="97"/>
                    <a:pt x="800" y="97"/>
                    <a:pt x="800" y="97"/>
                  </a:cubicBezTo>
                  <a:cubicBezTo>
                    <a:pt x="801" y="97"/>
                    <a:pt x="801" y="96"/>
                    <a:pt x="801" y="96"/>
                  </a:cubicBezTo>
                  <a:cubicBezTo>
                    <a:pt x="801" y="93"/>
                    <a:pt x="801" y="90"/>
                    <a:pt x="801" y="87"/>
                  </a:cubicBezTo>
                  <a:cubicBezTo>
                    <a:pt x="801" y="87"/>
                    <a:pt x="801" y="87"/>
                    <a:pt x="801" y="87"/>
                  </a:cubicBezTo>
                  <a:cubicBezTo>
                    <a:pt x="801" y="87"/>
                    <a:pt x="801" y="87"/>
                    <a:pt x="801" y="87"/>
                  </a:cubicBezTo>
                  <a:cubicBezTo>
                    <a:pt x="800" y="87"/>
                    <a:pt x="800" y="87"/>
                    <a:pt x="800" y="87"/>
                  </a:cubicBezTo>
                  <a:cubicBezTo>
                    <a:pt x="800" y="87"/>
                    <a:pt x="800" y="87"/>
                    <a:pt x="800" y="87"/>
                  </a:cubicBezTo>
                  <a:cubicBezTo>
                    <a:pt x="800" y="87"/>
                    <a:pt x="800" y="87"/>
                    <a:pt x="800" y="87"/>
                  </a:cubicBezTo>
                  <a:cubicBezTo>
                    <a:pt x="800" y="87"/>
                    <a:pt x="800" y="87"/>
                    <a:pt x="800" y="87"/>
                  </a:cubicBezTo>
                  <a:cubicBezTo>
                    <a:pt x="800" y="87"/>
                    <a:pt x="799" y="87"/>
                    <a:pt x="799" y="88"/>
                  </a:cubicBezTo>
                  <a:cubicBezTo>
                    <a:pt x="799" y="88"/>
                    <a:pt x="799" y="88"/>
                    <a:pt x="799" y="88"/>
                  </a:cubicBezTo>
                  <a:cubicBezTo>
                    <a:pt x="799" y="88"/>
                    <a:pt x="799" y="88"/>
                    <a:pt x="799" y="88"/>
                  </a:cubicBezTo>
                  <a:cubicBezTo>
                    <a:pt x="799" y="88"/>
                    <a:pt x="799" y="88"/>
                    <a:pt x="799" y="88"/>
                  </a:cubicBezTo>
                  <a:cubicBezTo>
                    <a:pt x="799" y="88"/>
                    <a:pt x="798" y="88"/>
                    <a:pt x="798" y="88"/>
                  </a:cubicBezTo>
                  <a:cubicBezTo>
                    <a:pt x="798" y="88"/>
                    <a:pt x="798" y="88"/>
                    <a:pt x="798" y="88"/>
                  </a:cubicBezTo>
                  <a:cubicBezTo>
                    <a:pt x="798" y="88"/>
                    <a:pt x="798" y="89"/>
                    <a:pt x="798" y="89"/>
                  </a:cubicBezTo>
                  <a:cubicBezTo>
                    <a:pt x="798" y="89"/>
                    <a:pt x="798" y="89"/>
                    <a:pt x="798" y="89"/>
                  </a:cubicBezTo>
                  <a:cubicBezTo>
                    <a:pt x="798" y="89"/>
                    <a:pt x="797" y="89"/>
                    <a:pt x="797" y="89"/>
                  </a:cubicBezTo>
                  <a:cubicBezTo>
                    <a:pt x="797" y="89"/>
                    <a:pt x="797" y="89"/>
                    <a:pt x="797" y="89"/>
                  </a:cubicBezTo>
                  <a:cubicBezTo>
                    <a:pt x="797" y="89"/>
                    <a:pt x="797" y="89"/>
                    <a:pt x="797" y="89"/>
                  </a:cubicBezTo>
                  <a:cubicBezTo>
                    <a:pt x="797" y="89"/>
                    <a:pt x="797" y="89"/>
                    <a:pt x="797" y="89"/>
                  </a:cubicBezTo>
                  <a:cubicBezTo>
                    <a:pt x="797" y="90"/>
                    <a:pt x="796" y="89"/>
                    <a:pt x="796" y="90"/>
                  </a:cubicBezTo>
                  <a:cubicBezTo>
                    <a:pt x="796" y="90"/>
                    <a:pt x="796" y="90"/>
                    <a:pt x="796" y="90"/>
                  </a:cubicBezTo>
                  <a:cubicBezTo>
                    <a:pt x="796" y="90"/>
                    <a:pt x="796" y="90"/>
                    <a:pt x="795" y="90"/>
                  </a:cubicBezTo>
                  <a:cubicBezTo>
                    <a:pt x="795" y="90"/>
                    <a:pt x="795" y="90"/>
                    <a:pt x="795" y="90"/>
                  </a:cubicBezTo>
                  <a:cubicBezTo>
                    <a:pt x="795" y="90"/>
                    <a:pt x="795" y="90"/>
                    <a:pt x="795" y="90"/>
                  </a:cubicBezTo>
                  <a:cubicBezTo>
                    <a:pt x="795" y="90"/>
                    <a:pt x="795" y="90"/>
                    <a:pt x="795" y="90"/>
                  </a:cubicBezTo>
                  <a:cubicBezTo>
                    <a:pt x="794" y="91"/>
                    <a:pt x="794" y="91"/>
                    <a:pt x="794" y="91"/>
                  </a:cubicBezTo>
                  <a:cubicBezTo>
                    <a:pt x="794" y="91"/>
                    <a:pt x="794" y="91"/>
                    <a:pt x="794" y="91"/>
                  </a:cubicBezTo>
                  <a:cubicBezTo>
                    <a:pt x="794" y="91"/>
                    <a:pt x="793" y="91"/>
                    <a:pt x="793" y="91"/>
                  </a:cubicBezTo>
                  <a:cubicBezTo>
                    <a:pt x="793" y="91"/>
                    <a:pt x="793" y="91"/>
                    <a:pt x="793" y="91"/>
                  </a:cubicBezTo>
                  <a:cubicBezTo>
                    <a:pt x="793" y="91"/>
                    <a:pt x="793" y="91"/>
                    <a:pt x="793" y="91"/>
                  </a:cubicBezTo>
                  <a:cubicBezTo>
                    <a:pt x="793" y="91"/>
                    <a:pt x="792" y="92"/>
                    <a:pt x="792" y="91"/>
                  </a:cubicBezTo>
                  <a:cubicBezTo>
                    <a:pt x="792" y="92"/>
                    <a:pt x="792" y="92"/>
                    <a:pt x="792" y="92"/>
                  </a:cubicBezTo>
                  <a:cubicBezTo>
                    <a:pt x="792" y="92"/>
                    <a:pt x="792" y="92"/>
                    <a:pt x="792" y="92"/>
                  </a:cubicBezTo>
                  <a:cubicBezTo>
                    <a:pt x="791" y="92"/>
                    <a:pt x="791" y="92"/>
                    <a:pt x="791" y="92"/>
                  </a:cubicBezTo>
                  <a:cubicBezTo>
                    <a:pt x="791" y="92"/>
                    <a:pt x="791" y="92"/>
                    <a:pt x="791" y="92"/>
                  </a:cubicBezTo>
                  <a:cubicBezTo>
                    <a:pt x="790" y="92"/>
                    <a:pt x="790" y="92"/>
                    <a:pt x="789" y="92"/>
                  </a:cubicBezTo>
                  <a:cubicBezTo>
                    <a:pt x="789" y="92"/>
                    <a:pt x="789" y="92"/>
                    <a:pt x="789" y="92"/>
                  </a:cubicBezTo>
                  <a:cubicBezTo>
                    <a:pt x="789" y="93"/>
                    <a:pt x="789" y="93"/>
                    <a:pt x="788" y="93"/>
                  </a:cubicBezTo>
                  <a:cubicBezTo>
                    <a:pt x="788" y="93"/>
                    <a:pt x="788" y="93"/>
                    <a:pt x="788" y="93"/>
                  </a:cubicBezTo>
                  <a:cubicBezTo>
                    <a:pt x="788" y="93"/>
                    <a:pt x="787" y="93"/>
                    <a:pt x="787" y="93"/>
                  </a:cubicBezTo>
                  <a:cubicBezTo>
                    <a:pt x="787" y="93"/>
                    <a:pt x="787" y="93"/>
                    <a:pt x="787" y="93"/>
                  </a:cubicBezTo>
                  <a:cubicBezTo>
                    <a:pt x="786" y="93"/>
                    <a:pt x="786" y="93"/>
                    <a:pt x="786" y="93"/>
                  </a:cubicBezTo>
                  <a:cubicBezTo>
                    <a:pt x="786" y="93"/>
                    <a:pt x="785" y="93"/>
                    <a:pt x="785" y="93"/>
                  </a:cubicBezTo>
                  <a:cubicBezTo>
                    <a:pt x="785" y="94"/>
                    <a:pt x="784" y="94"/>
                    <a:pt x="784" y="94"/>
                  </a:cubicBezTo>
                  <a:cubicBezTo>
                    <a:pt x="782" y="94"/>
                    <a:pt x="779" y="94"/>
                    <a:pt x="776" y="94"/>
                  </a:cubicBezTo>
                  <a:cubicBezTo>
                    <a:pt x="776" y="94"/>
                    <a:pt x="776" y="94"/>
                    <a:pt x="776" y="93"/>
                  </a:cubicBezTo>
                  <a:cubicBezTo>
                    <a:pt x="775" y="93"/>
                    <a:pt x="775" y="93"/>
                    <a:pt x="774" y="93"/>
                  </a:cubicBezTo>
                  <a:cubicBezTo>
                    <a:pt x="774" y="93"/>
                    <a:pt x="774" y="93"/>
                    <a:pt x="774" y="93"/>
                  </a:cubicBezTo>
                  <a:cubicBezTo>
                    <a:pt x="774" y="93"/>
                    <a:pt x="774" y="93"/>
                    <a:pt x="774" y="93"/>
                  </a:cubicBezTo>
                  <a:cubicBezTo>
                    <a:pt x="774" y="93"/>
                    <a:pt x="773" y="93"/>
                    <a:pt x="773" y="93"/>
                  </a:cubicBezTo>
                  <a:cubicBezTo>
                    <a:pt x="773" y="93"/>
                    <a:pt x="773" y="93"/>
                    <a:pt x="773" y="93"/>
                  </a:cubicBezTo>
                  <a:cubicBezTo>
                    <a:pt x="773" y="93"/>
                    <a:pt x="773" y="93"/>
                    <a:pt x="773" y="93"/>
                  </a:cubicBezTo>
                  <a:cubicBezTo>
                    <a:pt x="772" y="93"/>
                    <a:pt x="772" y="93"/>
                    <a:pt x="772" y="92"/>
                  </a:cubicBezTo>
                  <a:cubicBezTo>
                    <a:pt x="772" y="92"/>
                    <a:pt x="772" y="92"/>
                    <a:pt x="772" y="92"/>
                  </a:cubicBezTo>
                  <a:cubicBezTo>
                    <a:pt x="771" y="92"/>
                    <a:pt x="771" y="92"/>
                    <a:pt x="771" y="92"/>
                  </a:cubicBezTo>
                  <a:cubicBezTo>
                    <a:pt x="771" y="92"/>
                    <a:pt x="771" y="92"/>
                    <a:pt x="771" y="92"/>
                  </a:cubicBezTo>
                  <a:cubicBezTo>
                    <a:pt x="771" y="92"/>
                    <a:pt x="771" y="92"/>
                    <a:pt x="771" y="92"/>
                  </a:cubicBezTo>
                  <a:cubicBezTo>
                    <a:pt x="770" y="92"/>
                    <a:pt x="770" y="92"/>
                    <a:pt x="770" y="92"/>
                  </a:cubicBezTo>
                  <a:cubicBezTo>
                    <a:pt x="770" y="92"/>
                    <a:pt x="770" y="92"/>
                    <a:pt x="770" y="92"/>
                  </a:cubicBezTo>
                  <a:cubicBezTo>
                    <a:pt x="770" y="92"/>
                    <a:pt x="769" y="92"/>
                    <a:pt x="769" y="91"/>
                  </a:cubicBezTo>
                  <a:cubicBezTo>
                    <a:pt x="769" y="91"/>
                    <a:pt x="769" y="91"/>
                    <a:pt x="769" y="91"/>
                  </a:cubicBezTo>
                  <a:cubicBezTo>
                    <a:pt x="769" y="91"/>
                    <a:pt x="769" y="91"/>
                    <a:pt x="769" y="91"/>
                  </a:cubicBezTo>
                  <a:cubicBezTo>
                    <a:pt x="769" y="91"/>
                    <a:pt x="769" y="91"/>
                    <a:pt x="769" y="91"/>
                  </a:cubicBezTo>
                  <a:cubicBezTo>
                    <a:pt x="768" y="91"/>
                    <a:pt x="768" y="91"/>
                    <a:pt x="768" y="91"/>
                  </a:cubicBezTo>
                  <a:cubicBezTo>
                    <a:pt x="768" y="91"/>
                    <a:pt x="768" y="91"/>
                    <a:pt x="768" y="91"/>
                  </a:cubicBezTo>
                  <a:cubicBezTo>
                    <a:pt x="768" y="90"/>
                    <a:pt x="768" y="91"/>
                    <a:pt x="767" y="90"/>
                  </a:cubicBezTo>
                  <a:cubicBezTo>
                    <a:pt x="767" y="90"/>
                    <a:pt x="767" y="90"/>
                    <a:pt x="767" y="90"/>
                  </a:cubicBezTo>
                  <a:cubicBezTo>
                    <a:pt x="767" y="90"/>
                    <a:pt x="767" y="90"/>
                    <a:pt x="766" y="90"/>
                  </a:cubicBezTo>
                  <a:cubicBezTo>
                    <a:pt x="766" y="90"/>
                    <a:pt x="766" y="90"/>
                    <a:pt x="766" y="90"/>
                  </a:cubicBezTo>
                  <a:cubicBezTo>
                    <a:pt x="766" y="90"/>
                    <a:pt x="766" y="89"/>
                    <a:pt x="766" y="89"/>
                  </a:cubicBezTo>
                  <a:cubicBezTo>
                    <a:pt x="766" y="89"/>
                    <a:pt x="766" y="89"/>
                    <a:pt x="766" y="89"/>
                  </a:cubicBezTo>
                  <a:cubicBezTo>
                    <a:pt x="766" y="89"/>
                    <a:pt x="766" y="89"/>
                    <a:pt x="766" y="89"/>
                  </a:cubicBezTo>
                  <a:cubicBezTo>
                    <a:pt x="766" y="89"/>
                    <a:pt x="766" y="89"/>
                    <a:pt x="766" y="89"/>
                  </a:cubicBezTo>
                  <a:cubicBezTo>
                    <a:pt x="765" y="88"/>
                    <a:pt x="765" y="88"/>
                    <a:pt x="764" y="87"/>
                  </a:cubicBezTo>
                  <a:cubicBezTo>
                    <a:pt x="764" y="87"/>
                    <a:pt x="764" y="87"/>
                    <a:pt x="764" y="87"/>
                  </a:cubicBezTo>
                  <a:cubicBezTo>
                    <a:pt x="764" y="87"/>
                    <a:pt x="764" y="87"/>
                    <a:pt x="764" y="87"/>
                  </a:cubicBezTo>
                  <a:cubicBezTo>
                    <a:pt x="764" y="87"/>
                    <a:pt x="764" y="87"/>
                    <a:pt x="764" y="87"/>
                  </a:cubicBezTo>
                  <a:cubicBezTo>
                    <a:pt x="764" y="87"/>
                    <a:pt x="763" y="87"/>
                    <a:pt x="763" y="87"/>
                  </a:cubicBezTo>
                  <a:cubicBezTo>
                    <a:pt x="763" y="87"/>
                    <a:pt x="763" y="87"/>
                    <a:pt x="763" y="87"/>
                  </a:cubicBezTo>
                  <a:cubicBezTo>
                    <a:pt x="763" y="86"/>
                    <a:pt x="763" y="86"/>
                    <a:pt x="763" y="86"/>
                  </a:cubicBezTo>
                  <a:cubicBezTo>
                    <a:pt x="763" y="86"/>
                    <a:pt x="763" y="86"/>
                    <a:pt x="763" y="86"/>
                  </a:cubicBezTo>
                  <a:cubicBezTo>
                    <a:pt x="763" y="86"/>
                    <a:pt x="763" y="86"/>
                    <a:pt x="763" y="86"/>
                  </a:cubicBezTo>
                  <a:cubicBezTo>
                    <a:pt x="763" y="86"/>
                    <a:pt x="763" y="86"/>
                    <a:pt x="763" y="86"/>
                  </a:cubicBezTo>
                  <a:cubicBezTo>
                    <a:pt x="763" y="85"/>
                    <a:pt x="762" y="85"/>
                    <a:pt x="762" y="85"/>
                  </a:cubicBezTo>
                  <a:cubicBezTo>
                    <a:pt x="762" y="85"/>
                    <a:pt x="762" y="85"/>
                    <a:pt x="762" y="85"/>
                  </a:cubicBezTo>
                  <a:cubicBezTo>
                    <a:pt x="762" y="85"/>
                    <a:pt x="762" y="85"/>
                    <a:pt x="762" y="84"/>
                  </a:cubicBezTo>
                  <a:cubicBezTo>
                    <a:pt x="762" y="85"/>
                    <a:pt x="762" y="85"/>
                    <a:pt x="762" y="85"/>
                  </a:cubicBezTo>
                  <a:cubicBezTo>
                    <a:pt x="762" y="84"/>
                    <a:pt x="762" y="84"/>
                    <a:pt x="762" y="84"/>
                  </a:cubicBezTo>
                  <a:cubicBezTo>
                    <a:pt x="762" y="84"/>
                    <a:pt x="762" y="84"/>
                    <a:pt x="762" y="84"/>
                  </a:cubicBezTo>
                  <a:cubicBezTo>
                    <a:pt x="762" y="84"/>
                    <a:pt x="762" y="84"/>
                    <a:pt x="762" y="84"/>
                  </a:cubicBezTo>
                  <a:cubicBezTo>
                    <a:pt x="762" y="84"/>
                    <a:pt x="761" y="84"/>
                    <a:pt x="761" y="83"/>
                  </a:cubicBezTo>
                  <a:cubicBezTo>
                    <a:pt x="761" y="83"/>
                    <a:pt x="761" y="83"/>
                    <a:pt x="761" y="83"/>
                  </a:cubicBezTo>
                  <a:cubicBezTo>
                    <a:pt x="761" y="83"/>
                    <a:pt x="761" y="83"/>
                    <a:pt x="761" y="83"/>
                  </a:cubicBezTo>
                  <a:cubicBezTo>
                    <a:pt x="761" y="83"/>
                    <a:pt x="761" y="83"/>
                    <a:pt x="761" y="83"/>
                  </a:cubicBezTo>
                  <a:cubicBezTo>
                    <a:pt x="761" y="83"/>
                    <a:pt x="761" y="83"/>
                    <a:pt x="761" y="83"/>
                  </a:cubicBezTo>
                  <a:cubicBezTo>
                    <a:pt x="761" y="82"/>
                    <a:pt x="761" y="82"/>
                    <a:pt x="760" y="82"/>
                  </a:cubicBezTo>
                  <a:cubicBezTo>
                    <a:pt x="761" y="82"/>
                    <a:pt x="761" y="82"/>
                    <a:pt x="761" y="82"/>
                  </a:cubicBezTo>
                  <a:cubicBezTo>
                    <a:pt x="760" y="81"/>
                    <a:pt x="760" y="81"/>
                    <a:pt x="760" y="81"/>
                  </a:cubicBezTo>
                  <a:cubicBezTo>
                    <a:pt x="760" y="81"/>
                    <a:pt x="760" y="81"/>
                    <a:pt x="760" y="81"/>
                  </a:cubicBezTo>
                  <a:cubicBezTo>
                    <a:pt x="760" y="81"/>
                    <a:pt x="760" y="80"/>
                    <a:pt x="760" y="80"/>
                  </a:cubicBezTo>
                  <a:cubicBezTo>
                    <a:pt x="760" y="80"/>
                    <a:pt x="760" y="80"/>
                    <a:pt x="760" y="80"/>
                  </a:cubicBezTo>
                  <a:cubicBezTo>
                    <a:pt x="760" y="80"/>
                    <a:pt x="760" y="79"/>
                    <a:pt x="760" y="79"/>
                  </a:cubicBezTo>
                  <a:cubicBezTo>
                    <a:pt x="759" y="79"/>
                    <a:pt x="759" y="79"/>
                    <a:pt x="759" y="79"/>
                  </a:cubicBezTo>
                  <a:cubicBezTo>
                    <a:pt x="759" y="78"/>
                    <a:pt x="759" y="78"/>
                    <a:pt x="759" y="77"/>
                  </a:cubicBezTo>
                  <a:cubicBezTo>
                    <a:pt x="759" y="77"/>
                    <a:pt x="759" y="77"/>
                    <a:pt x="759" y="77"/>
                  </a:cubicBezTo>
                  <a:cubicBezTo>
                    <a:pt x="759" y="77"/>
                    <a:pt x="759" y="76"/>
                    <a:pt x="759" y="75"/>
                  </a:cubicBezTo>
                  <a:cubicBezTo>
                    <a:pt x="759" y="75"/>
                    <a:pt x="759" y="75"/>
                    <a:pt x="759" y="75"/>
                  </a:cubicBezTo>
                  <a:cubicBezTo>
                    <a:pt x="758" y="74"/>
                    <a:pt x="759" y="73"/>
                    <a:pt x="758" y="72"/>
                  </a:cubicBezTo>
                  <a:cubicBezTo>
                    <a:pt x="758" y="72"/>
                    <a:pt x="758" y="71"/>
                    <a:pt x="759" y="71"/>
                  </a:cubicBezTo>
                  <a:cubicBezTo>
                    <a:pt x="759" y="71"/>
                    <a:pt x="760" y="71"/>
                    <a:pt x="760" y="71"/>
                  </a:cubicBezTo>
                  <a:cubicBezTo>
                    <a:pt x="775" y="71"/>
                    <a:pt x="789" y="71"/>
                    <a:pt x="804" y="71"/>
                  </a:cubicBezTo>
                  <a:cubicBezTo>
                    <a:pt x="805" y="71"/>
                    <a:pt x="805" y="71"/>
                    <a:pt x="806" y="70"/>
                  </a:cubicBezTo>
                  <a:cubicBezTo>
                    <a:pt x="806" y="68"/>
                    <a:pt x="806" y="65"/>
                    <a:pt x="806" y="62"/>
                  </a:cubicBezTo>
                  <a:cubicBezTo>
                    <a:pt x="805" y="61"/>
                    <a:pt x="806" y="60"/>
                    <a:pt x="805" y="59"/>
                  </a:cubicBezTo>
                  <a:cubicBezTo>
                    <a:pt x="805" y="58"/>
                    <a:pt x="805" y="58"/>
                    <a:pt x="805" y="58"/>
                  </a:cubicBezTo>
                  <a:cubicBezTo>
                    <a:pt x="805" y="58"/>
                    <a:pt x="805" y="57"/>
                    <a:pt x="805" y="56"/>
                  </a:cubicBezTo>
                  <a:cubicBezTo>
                    <a:pt x="805" y="56"/>
                    <a:pt x="805" y="56"/>
                    <a:pt x="805" y="56"/>
                  </a:cubicBezTo>
                  <a:cubicBezTo>
                    <a:pt x="805" y="55"/>
                    <a:pt x="805" y="55"/>
                    <a:pt x="805" y="54"/>
                  </a:cubicBezTo>
                  <a:cubicBezTo>
                    <a:pt x="805" y="54"/>
                    <a:pt x="805" y="54"/>
                    <a:pt x="805" y="54"/>
                  </a:cubicBezTo>
                  <a:cubicBezTo>
                    <a:pt x="805" y="54"/>
                    <a:pt x="805" y="54"/>
                    <a:pt x="805" y="54"/>
                  </a:cubicBezTo>
                  <a:cubicBezTo>
                    <a:pt x="805" y="54"/>
                    <a:pt x="805" y="53"/>
                    <a:pt x="804" y="53"/>
                  </a:cubicBezTo>
                  <a:cubicBezTo>
                    <a:pt x="804" y="53"/>
                    <a:pt x="804" y="53"/>
                    <a:pt x="804" y="53"/>
                  </a:cubicBezTo>
                  <a:cubicBezTo>
                    <a:pt x="804" y="53"/>
                    <a:pt x="804" y="53"/>
                    <a:pt x="804" y="53"/>
                  </a:cubicBezTo>
                  <a:cubicBezTo>
                    <a:pt x="804" y="52"/>
                    <a:pt x="804" y="52"/>
                    <a:pt x="804" y="51"/>
                  </a:cubicBezTo>
                  <a:cubicBezTo>
                    <a:pt x="804" y="51"/>
                    <a:pt x="804" y="51"/>
                    <a:pt x="804" y="51"/>
                  </a:cubicBezTo>
                  <a:cubicBezTo>
                    <a:pt x="804" y="51"/>
                    <a:pt x="804" y="51"/>
                    <a:pt x="804" y="50"/>
                  </a:cubicBezTo>
                  <a:cubicBezTo>
                    <a:pt x="804" y="50"/>
                    <a:pt x="804" y="50"/>
                    <a:pt x="804" y="50"/>
                  </a:cubicBezTo>
                  <a:cubicBezTo>
                    <a:pt x="803" y="50"/>
                    <a:pt x="804" y="50"/>
                    <a:pt x="803" y="49"/>
                  </a:cubicBezTo>
                  <a:cubicBezTo>
                    <a:pt x="803" y="49"/>
                    <a:pt x="803" y="49"/>
                    <a:pt x="803" y="49"/>
                  </a:cubicBezTo>
                  <a:cubicBezTo>
                    <a:pt x="803" y="49"/>
                    <a:pt x="803" y="49"/>
                    <a:pt x="803" y="49"/>
                  </a:cubicBezTo>
                  <a:cubicBezTo>
                    <a:pt x="803" y="49"/>
                    <a:pt x="803" y="49"/>
                    <a:pt x="803" y="49"/>
                  </a:cubicBezTo>
                  <a:cubicBezTo>
                    <a:pt x="803" y="48"/>
                    <a:pt x="803" y="48"/>
                    <a:pt x="803" y="48"/>
                  </a:cubicBezTo>
                  <a:cubicBezTo>
                    <a:pt x="803" y="48"/>
                    <a:pt x="803" y="48"/>
                    <a:pt x="803" y="48"/>
                  </a:cubicBezTo>
                  <a:cubicBezTo>
                    <a:pt x="802" y="47"/>
                    <a:pt x="803" y="47"/>
                    <a:pt x="802" y="47"/>
                  </a:cubicBezTo>
                  <a:cubicBezTo>
                    <a:pt x="802" y="47"/>
                    <a:pt x="802" y="47"/>
                    <a:pt x="802" y="47"/>
                  </a:cubicBezTo>
                  <a:cubicBezTo>
                    <a:pt x="802" y="47"/>
                    <a:pt x="802" y="46"/>
                    <a:pt x="802" y="46"/>
                  </a:cubicBezTo>
                  <a:cubicBezTo>
                    <a:pt x="802" y="46"/>
                    <a:pt x="802" y="46"/>
                    <a:pt x="802" y="46"/>
                  </a:cubicBezTo>
                  <a:cubicBezTo>
                    <a:pt x="802" y="46"/>
                    <a:pt x="802" y="46"/>
                    <a:pt x="802" y="46"/>
                  </a:cubicBezTo>
                  <a:cubicBezTo>
                    <a:pt x="802" y="46"/>
                    <a:pt x="802" y="46"/>
                    <a:pt x="802" y="46"/>
                  </a:cubicBezTo>
                  <a:cubicBezTo>
                    <a:pt x="802" y="45"/>
                    <a:pt x="801" y="45"/>
                    <a:pt x="801" y="45"/>
                  </a:cubicBezTo>
                  <a:cubicBezTo>
                    <a:pt x="801" y="45"/>
                    <a:pt x="801" y="45"/>
                    <a:pt x="801" y="45"/>
                  </a:cubicBezTo>
                  <a:cubicBezTo>
                    <a:pt x="801" y="45"/>
                    <a:pt x="801" y="45"/>
                    <a:pt x="801" y="45"/>
                  </a:cubicBezTo>
                  <a:cubicBezTo>
                    <a:pt x="801" y="45"/>
                    <a:pt x="801" y="45"/>
                    <a:pt x="801" y="44"/>
                  </a:cubicBezTo>
                  <a:cubicBezTo>
                    <a:pt x="801" y="44"/>
                    <a:pt x="801" y="44"/>
                    <a:pt x="801" y="44"/>
                  </a:cubicBezTo>
                  <a:cubicBezTo>
                    <a:pt x="801" y="44"/>
                    <a:pt x="801" y="44"/>
                    <a:pt x="801" y="44"/>
                  </a:cubicBezTo>
                  <a:cubicBezTo>
                    <a:pt x="801" y="44"/>
                    <a:pt x="801" y="44"/>
                    <a:pt x="801" y="44"/>
                  </a:cubicBezTo>
                  <a:cubicBezTo>
                    <a:pt x="800" y="44"/>
                    <a:pt x="800" y="44"/>
                    <a:pt x="800" y="43"/>
                  </a:cubicBezTo>
                  <a:cubicBezTo>
                    <a:pt x="800" y="43"/>
                    <a:pt x="800" y="43"/>
                    <a:pt x="800" y="43"/>
                  </a:cubicBezTo>
                  <a:cubicBezTo>
                    <a:pt x="800" y="43"/>
                    <a:pt x="800" y="43"/>
                    <a:pt x="800" y="43"/>
                  </a:cubicBezTo>
                  <a:cubicBezTo>
                    <a:pt x="800" y="43"/>
                    <a:pt x="800" y="43"/>
                    <a:pt x="800" y="43"/>
                  </a:cubicBezTo>
                  <a:cubicBezTo>
                    <a:pt x="800" y="43"/>
                    <a:pt x="800" y="42"/>
                    <a:pt x="800" y="42"/>
                  </a:cubicBezTo>
                  <a:cubicBezTo>
                    <a:pt x="800" y="42"/>
                    <a:pt x="800" y="42"/>
                    <a:pt x="800" y="42"/>
                  </a:cubicBezTo>
                  <a:cubicBezTo>
                    <a:pt x="799" y="42"/>
                    <a:pt x="799" y="42"/>
                    <a:pt x="799" y="42"/>
                  </a:cubicBezTo>
                  <a:cubicBezTo>
                    <a:pt x="799" y="42"/>
                    <a:pt x="799" y="42"/>
                    <a:pt x="799" y="42"/>
                  </a:cubicBezTo>
                  <a:cubicBezTo>
                    <a:pt x="799" y="42"/>
                    <a:pt x="799" y="41"/>
                    <a:pt x="799" y="41"/>
                  </a:cubicBezTo>
                  <a:cubicBezTo>
                    <a:pt x="799" y="41"/>
                    <a:pt x="799" y="41"/>
                    <a:pt x="799" y="41"/>
                  </a:cubicBezTo>
                  <a:cubicBezTo>
                    <a:pt x="799" y="41"/>
                    <a:pt x="799" y="41"/>
                    <a:pt x="798" y="41"/>
                  </a:cubicBezTo>
                  <a:cubicBezTo>
                    <a:pt x="798" y="41"/>
                    <a:pt x="798" y="41"/>
                    <a:pt x="798" y="41"/>
                  </a:cubicBezTo>
                  <a:cubicBezTo>
                    <a:pt x="798" y="41"/>
                    <a:pt x="798" y="41"/>
                    <a:pt x="798" y="41"/>
                  </a:cubicBezTo>
                  <a:cubicBezTo>
                    <a:pt x="798" y="41"/>
                    <a:pt x="798" y="41"/>
                    <a:pt x="798" y="41"/>
                  </a:cubicBezTo>
                  <a:cubicBezTo>
                    <a:pt x="798" y="40"/>
                    <a:pt x="798" y="40"/>
                    <a:pt x="798" y="40"/>
                  </a:cubicBezTo>
                  <a:cubicBezTo>
                    <a:pt x="798" y="40"/>
                    <a:pt x="798" y="40"/>
                    <a:pt x="798" y="40"/>
                  </a:cubicBezTo>
                  <a:cubicBezTo>
                    <a:pt x="798" y="40"/>
                    <a:pt x="798" y="40"/>
                    <a:pt x="797" y="40"/>
                  </a:cubicBezTo>
                  <a:cubicBezTo>
                    <a:pt x="797" y="40"/>
                    <a:pt x="797" y="40"/>
                    <a:pt x="797" y="40"/>
                  </a:cubicBezTo>
                  <a:cubicBezTo>
                    <a:pt x="797" y="40"/>
                    <a:pt x="797" y="40"/>
                    <a:pt x="797" y="40"/>
                  </a:cubicBezTo>
                  <a:cubicBezTo>
                    <a:pt x="797" y="40"/>
                    <a:pt x="797" y="40"/>
                    <a:pt x="797" y="40"/>
                  </a:cubicBezTo>
                  <a:cubicBezTo>
                    <a:pt x="797" y="39"/>
                    <a:pt x="797" y="39"/>
                    <a:pt x="797" y="39"/>
                  </a:cubicBezTo>
                  <a:cubicBezTo>
                    <a:pt x="797" y="39"/>
                    <a:pt x="797" y="39"/>
                    <a:pt x="797" y="39"/>
                  </a:cubicBezTo>
                  <a:cubicBezTo>
                    <a:pt x="797" y="39"/>
                    <a:pt x="797" y="39"/>
                    <a:pt x="796" y="39"/>
                  </a:cubicBezTo>
                  <a:cubicBezTo>
                    <a:pt x="796" y="39"/>
                    <a:pt x="796" y="39"/>
                    <a:pt x="796" y="39"/>
                  </a:cubicBezTo>
                  <a:cubicBezTo>
                    <a:pt x="796" y="39"/>
                    <a:pt x="796" y="39"/>
                    <a:pt x="796" y="39"/>
                  </a:cubicBezTo>
                  <a:cubicBezTo>
                    <a:pt x="796" y="39"/>
                    <a:pt x="796" y="39"/>
                    <a:pt x="796" y="39"/>
                  </a:cubicBezTo>
                  <a:cubicBezTo>
                    <a:pt x="796" y="38"/>
                    <a:pt x="796" y="38"/>
                    <a:pt x="796" y="38"/>
                  </a:cubicBezTo>
                  <a:cubicBezTo>
                    <a:pt x="796" y="38"/>
                    <a:pt x="796" y="38"/>
                    <a:pt x="796" y="38"/>
                  </a:cubicBezTo>
                  <a:cubicBezTo>
                    <a:pt x="796" y="38"/>
                    <a:pt x="795" y="38"/>
                    <a:pt x="795" y="38"/>
                  </a:cubicBezTo>
                  <a:cubicBezTo>
                    <a:pt x="795" y="38"/>
                    <a:pt x="795" y="38"/>
                    <a:pt x="795" y="38"/>
                  </a:cubicBezTo>
                  <a:cubicBezTo>
                    <a:pt x="795" y="38"/>
                    <a:pt x="795" y="38"/>
                    <a:pt x="795" y="37"/>
                  </a:cubicBezTo>
                  <a:cubicBezTo>
                    <a:pt x="795" y="37"/>
                    <a:pt x="795" y="37"/>
                    <a:pt x="795" y="37"/>
                  </a:cubicBezTo>
                  <a:cubicBezTo>
                    <a:pt x="795" y="37"/>
                    <a:pt x="794" y="37"/>
                    <a:pt x="794" y="37"/>
                  </a:cubicBezTo>
                  <a:cubicBezTo>
                    <a:pt x="794" y="37"/>
                    <a:pt x="794" y="37"/>
                    <a:pt x="794" y="37"/>
                  </a:cubicBezTo>
                  <a:cubicBezTo>
                    <a:pt x="794" y="37"/>
                    <a:pt x="794" y="37"/>
                    <a:pt x="794" y="37"/>
                  </a:cubicBezTo>
                  <a:cubicBezTo>
                    <a:pt x="794" y="37"/>
                    <a:pt x="794" y="37"/>
                    <a:pt x="794" y="37"/>
                  </a:cubicBezTo>
                  <a:cubicBezTo>
                    <a:pt x="793" y="37"/>
                    <a:pt x="793" y="36"/>
                    <a:pt x="793" y="36"/>
                  </a:cubicBezTo>
                  <a:cubicBezTo>
                    <a:pt x="793" y="37"/>
                    <a:pt x="793" y="37"/>
                    <a:pt x="793" y="37"/>
                  </a:cubicBezTo>
                  <a:cubicBezTo>
                    <a:pt x="793" y="36"/>
                    <a:pt x="793" y="36"/>
                    <a:pt x="793" y="36"/>
                  </a:cubicBezTo>
                  <a:cubicBezTo>
                    <a:pt x="793" y="36"/>
                    <a:pt x="793" y="36"/>
                    <a:pt x="793" y="36"/>
                  </a:cubicBezTo>
                  <a:cubicBezTo>
                    <a:pt x="792" y="36"/>
                    <a:pt x="792" y="36"/>
                    <a:pt x="792" y="36"/>
                  </a:cubicBezTo>
                  <a:cubicBezTo>
                    <a:pt x="792" y="36"/>
                    <a:pt x="792" y="36"/>
                    <a:pt x="792" y="36"/>
                  </a:cubicBezTo>
                  <a:cubicBezTo>
                    <a:pt x="792" y="36"/>
                    <a:pt x="791" y="36"/>
                    <a:pt x="791" y="35"/>
                  </a:cubicBezTo>
                  <a:cubicBezTo>
                    <a:pt x="791" y="35"/>
                    <a:pt x="791" y="35"/>
                    <a:pt x="791" y="35"/>
                  </a:cubicBezTo>
                  <a:cubicBezTo>
                    <a:pt x="791" y="35"/>
                    <a:pt x="791" y="35"/>
                    <a:pt x="790" y="35"/>
                  </a:cubicBezTo>
                  <a:cubicBezTo>
                    <a:pt x="790" y="35"/>
                    <a:pt x="790" y="35"/>
                    <a:pt x="790" y="35"/>
                  </a:cubicBezTo>
                  <a:cubicBezTo>
                    <a:pt x="790" y="35"/>
                    <a:pt x="790" y="35"/>
                    <a:pt x="790" y="35"/>
                  </a:cubicBezTo>
                  <a:cubicBezTo>
                    <a:pt x="790" y="35"/>
                    <a:pt x="790" y="35"/>
                    <a:pt x="790" y="35"/>
                  </a:cubicBezTo>
                  <a:cubicBezTo>
                    <a:pt x="790" y="34"/>
                    <a:pt x="789" y="34"/>
                    <a:pt x="789" y="34"/>
                  </a:cubicBezTo>
                  <a:cubicBezTo>
                    <a:pt x="789" y="34"/>
                    <a:pt x="789" y="34"/>
                    <a:pt x="789" y="34"/>
                  </a:cubicBezTo>
                  <a:cubicBezTo>
                    <a:pt x="789" y="34"/>
                    <a:pt x="789" y="34"/>
                    <a:pt x="789" y="34"/>
                  </a:cubicBezTo>
                  <a:cubicBezTo>
                    <a:pt x="789" y="34"/>
                    <a:pt x="788" y="34"/>
                    <a:pt x="788" y="34"/>
                  </a:cubicBezTo>
                  <a:cubicBezTo>
                    <a:pt x="788" y="34"/>
                    <a:pt x="788" y="34"/>
                    <a:pt x="788" y="34"/>
                  </a:cubicBezTo>
                  <a:cubicBezTo>
                    <a:pt x="787" y="34"/>
                    <a:pt x="787" y="34"/>
                    <a:pt x="787" y="34"/>
                  </a:cubicBezTo>
                  <a:cubicBezTo>
                    <a:pt x="787" y="34"/>
                    <a:pt x="787" y="34"/>
                    <a:pt x="787" y="34"/>
                  </a:cubicBezTo>
                  <a:cubicBezTo>
                    <a:pt x="787" y="34"/>
                    <a:pt x="787" y="34"/>
                    <a:pt x="787" y="34"/>
                  </a:cubicBezTo>
                  <a:cubicBezTo>
                    <a:pt x="786" y="33"/>
                    <a:pt x="786" y="34"/>
                    <a:pt x="785" y="33"/>
                  </a:cubicBezTo>
                  <a:cubicBezTo>
                    <a:pt x="785" y="33"/>
                    <a:pt x="785" y="33"/>
                    <a:pt x="785" y="33"/>
                  </a:cubicBezTo>
                  <a:cubicBezTo>
                    <a:pt x="785" y="33"/>
                    <a:pt x="785" y="33"/>
                    <a:pt x="785" y="33"/>
                  </a:cubicBezTo>
                  <a:cubicBezTo>
                    <a:pt x="785" y="33"/>
                    <a:pt x="784" y="33"/>
                    <a:pt x="784" y="33"/>
                  </a:cubicBezTo>
                  <a:cubicBezTo>
                    <a:pt x="784" y="33"/>
                    <a:pt x="783" y="33"/>
                    <a:pt x="783" y="33"/>
                  </a:cubicBezTo>
                  <a:cubicBezTo>
                    <a:pt x="782" y="33"/>
                    <a:pt x="781" y="33"/>
                    <a:pt x="781" y="33"/>
                  </a:cubicBezTo>
                  <a:cubicBezTo>
                    <a:pt x="779" y="33"/>
                    <a:pt x="777" y="33"/>
                    <a:pt x="776" y="33"/>
                  </a:cubicBezTo>
                  <a:cubicBezTo>
                    <a:pt x="775" y="33"/>
                    <a:pt x="774" y="33"/>
                    <a:pt x="773" y="33"/>
                  </a:cubicBezTo>
                  <a:cubicBezTo>
                    <a:pt x="773" y="33"/>
                    <a:pt x="773" y="33"/>
                    <a:pt x="773" y="33"/>
                  </a:cubicBezTo>
                  <a:cubicBezTo>
                    <a:pt x="772" y="33"/>
                    <a:pt x="772" y="33"/>
                    <a:pt x="771" y="33"/>
                  </a:cubicBezTo>
                  <a:cubicBezTo>
                    <a:pt x="771" y="33"/>
                    <a:pt x="771" y="33"/>
                    <a:pt x="771" y="33"/>
                  </a:cubicBezTo>
                  <a:cubicBezTo>
                    <a:pt x="771" y="34"/>
                    <a:pt x="770" y="33"/>
                    <a:pt x="770" y="34"/>
                  </a:cubicBezTo>
                  <a:cubicBezTo>
                    <a:pt x="770" y="34"/>
                    <a:pt x="770" y="34"/>
                    <a:pt x="770" y="34"/>
                  </a:cubicBezTo>
                  <a:cubicBezTo>
                    <a:pt x="770" y="34"/>
                    <a:pt x="770" y="34"/>
                    <a:pt x="770" y="34"/>
                  </a:cubicBezTo>
                  <a:cubicBezTo>
                    <a:pt x="769" y="34"/>
                    <a:pt x="769" y="34"/>
                    <a:pt x="769" y="34"/>
                  </a:cubicBezTo>
                  <a:cubicBezTo>
                    <a:pt x="769" y="34"/>
                    <a:pt x="769" y="34"/>
                    <a:pt x="769" y="34"/>
                  </a:cubicBezTo>
                  <a:cubicBezTo>
                    <a:pt x="768" y="34"/>
                    <a:pt x="768" y="34"/>
                    <a:pt x="768" y="34"/>
                  </a:cubicBezTo>
                  <a:cubicBezTo>
                    <a:pt x="768" y="34"/>
                    <a:pt x="768" y="34"/>
                    <a:pt x="768" y="34"/>
                  </a:cubicBezTo>
                  <a:cubicBezTo>
                    <a:pt x="767" y="34"/>
                    <a:pt x="767" y="34"/>
                    <a:pt x="767" y="35"/>
                  </a:cubicBezTo>
                  <a:cubicBezTo>
                    <a:pt x="767" y="35"/>
                    <a:pt x="767" y="35"/>
                    <a:pt x="767" y="35"/>
                  </a:cubicBezTo>
                  <a:cubicBezTo>
                    <a:pt x="767" y="35"/>
                    <a:pt x="766" y="35"/>
                    <a:pt x="766" y="35"/>
                  </a:cubicBezTo>
                  <a:cubicBezTo>
                    <a:pt x="766" y="35"/>
                    <a:pt x="766" y="35"/>
                    <a:pt x="766" y="35"/>
                  </a:cubicBezTo>
                  <a:cubicBezTo>
                    <a:pt x="766" y="35"/>
                    <a:pt x="766" y="35"/>
                    <a:pt x="766" y="35"/>
                  </a:cubicBezTo>
                  <a:cubicBezTo>
                    <a:pt x="766" y="35"/>
                    <a:pt x="765" y="35"/>
                    <a:pt x="765" y="35"/>
                  </a:cubicBezTo>
                  <a:cubicBezTo>
                    <a:pt x="765" y="35"/>
                    <a:pt x="765" y="35"/>
                    <a:pt x="765" y="35"/>
                  </a:cubicBezTo>
                  <a:cubicBezTo>
                    <a:pt x="765" y="36"/>
                    <a:pt x="765" y="35"/>
                    <a:pt x="764" y="36"/>
                  </a:cubicBezTo>
                  <a:cubicBezTo>
                    <a:pt x="764" y="36"/>
                    <a:pt x="764" y="36"/>
                    <a:pt x="764" y="36"/>
                  </a:cubicBezTo>
                  <a:cubicBezTo>
                    <a:pt x="764" y="36"/>
                    <a:pt x="764" y="36"/>
                    <a:pt x="764" y="36"/>
                  </a:cubicBezTo>
                  <a:cubicBezTo>
                    <a:pt x="764" y="36"/>
                    <a:pt x="764" y="36"/>
                    <a:pt x="764" y="36"/>
                  </a:cubicBezTo>
                  <a:cubicBezTo>
                    <a:pt x="764" y="36"/>
                    <a:pt x="764" y="36"/>
                    <a:pt x="764" y="36"/>
                  </a:cubicBezTo>
                  <a:cubicBezTo>
                    <a:pt x="764" y="36"/>
                    <a:pt x="763" y="36"/>
                    <a:pt x="763" y="36"/>
                  </a:cubicBezTo>
                  <a:cubicBezTo>
                    <a:pt x="763" y="36"/>
                    <a:pt x="763" y="36"/>
                    <a:pt x="763" y="36"/>
                  </a:cubicBezTo>
                  <a:cubicBezTo>
                    <a:pt x="763" y="37"/>
                    <a:pt x="763" y="37"/>
                    <a:pt x="763" y="37"/>
                  </a:cubicBezTo>
                  <a:cubicBezTo>
                    <a:pt x="763" y="37"/>
                    <a:pt x="763" y="37"/>
                    <a:pt x="763" y="37"/>
                  </a:cubicBezTo>
                  <a:cubicBezTo>
                    <a:pt x="762" y="37"/>
                    <a:pt x="762" y="37"/>
                    <a:pt x="762" y="37"/>
                  </a:cubicBezTo>
                  <a:cubicBezTo>
                    <a:pt x="762" y="37"/>
                    <a:pt x="762" y="37"/>
                    <a:pt x="762" y="37"/>
                  </a:cubicBezTo>
                  <a:cubicBezTo>
                    <a:pt x="762" y="37"/>
                    <a:pt x="762" y="37"/>
                    <a:pt x="762" y="37"/>
                  </a:cubicBezTo>
                  <a:cubicBezTo>
                    <a:pt x="762" y="37"/>
                    <a:pt x="762" y="37"/>
                    <a:pt x="762" y="37"/>
                  </a:cubicBezTo>
                  <a:cubicBezTo>
                    <a:pt x="761" y="38"/>
                    <a:pt x="761" y="38"/>
                    <a:pt x="761" y="38"/>
                  </a:cubicBezTo>
                  <a:cubicBezTo>
                    <a:pt x="761" y="38"/>
                    <a:pt x="761" y="38"/>
                    <a:pt x="761" y="38"/>
                  </a:cubicBezTo>
                  <a:cubicBezTo>
                    <a:pt x="760" y="38"/>
                    <a:pt x="760" y="38"/>
                    <a:pt x="760" y="39"/>
                  </a:cubicBezTo>
                  <a:cubicBezTo>
                    <a:pt x="760" y="39"/>
                    <a:pt x="760" y="39"/>
                    <a:pt x="760" y="39"/>
                  </a:cubicBezTo>
                  <a:cubicBezTo>
                    <a:pt x="760" y="39"/>
                    <a:pt x="759" y="39"/>
                    <a:pt x="759" y="39"/>
                  </a:cubicBezTo>
                  <a:cubicBezTo>
                    <a:pt x="759" y="39"/>
                    <a:pt x="759" y="39"/>
                    <a:pt x="759" y="39"/>
                  </a:cubicBezTo>
                  <a:cubicBezTo>
                    <a:pt x="759" y="39"/>
                    <a:pt x="759" y="39"/>
                    <a:pt x="759" y="40"/>
                  </a:cubicBezTo>
                  <a:cubicBezTo>
                    <a:pt x="759" y="40"/>
                    <a:pt x="759" y="40"/>
                    <a:pt x="759" y="40"/>
                  </a:cubicBezTo>
                  <a:cubicBezTo>
                    <a:pt x="759" y="40"/>
                    <a:pt x="759" y="40"/>
                    <a:pt x="758" y="40"/>
                  </a:cubicBezTo>
                  <a:cubicBezTo>
                    <a:pt x="758" y="40"/>
                    <a:pt x="758" y="40"/>
                    <a:pt x="758" y="40"/>
                  </a:cubicBezTo>
                  <a:cubicBezTo>
                    <a:pt x="758" y="40"/>
                    <a:pt x="758" y="40"/>
                    <a:pt x="758" y="40"/>
                  </a:cubicBezTo>
                  <a:cubicBezTo>
                    <a:pt x="758" y="40"/>
                    <a:pt x="758" y="40"/>
                    <a:pt x="758" y="40"/>
                  </a:cubicBezTo>
                  <a:cubicBezTo>
                    <a:pt x="758" y="40"/>
                    <a:pt x="758" y="40"/>
                    <a:pt x="758" y="41"/>
                  </a:cubicBezTo>
                  <a:cubicBezTo>
                    <a:pt x="758" y="41"/>
                    <a:pt x="758" y="41"/>
                    <a:pt x="758" y="41"/>
                  </a:cubicBezTo>
                  <a:cubicBezTo>
                    <a:pt x="758" y="41"/>
                    <a:pt x="758" y="41"/>
                    <a:pt x="757" y="41"/>
                  </a:cubicBezTo>
                  <a:cubicBezTo>
                    <a:pt x="757" y="41"/>
                    <a:pt x="757" y="41"/>
                    <a:pt x="757" y="41"/>
                  </a:cubicBezTo>
                  <a:cubicBezTo>
                    <a:pt x="757" y="41"/>
                    <a:pt x="757" y="41"/>
                    <a:pt x="757" y="41"/>
                  </a:cubicBezTo>
                  <a:cubicBezTo>
                    <a:pt x="757" y="41"/>
                    <a:pt x="757" y="41"/>
                    <a:pt x="757" y="41"/>
                  </a:cubicBezTo>
                  <a:cubicBezTo>
                    <a:pt x="757" y="41"/>
                    <a:pt x="757" y="42"/>
                    <a:pt x="757" y="42"/>
                  </a:cubicBezTo>
                  <a:cubicBezTo>
                    <a:pt x="757" y="42"/>
                    <a:pt x="757" y="42"/>
                    <a:pt x="757" y="42"/>
                  </a:cubicBezTo>
                  <a:cubicBezTo>
                    <a:pt x="757" y="42"/>
                    <a:pt x="756" y="42"/>
                    <a:pt x="756" y="42"/>
                  </a:cubicBezTo>
                  <a:cubicBezTo>
                    <a:pt x="756" y="42"/>
                    <a:pt x="756" y="42"/>
                    <a:pt x="756" y="42"/>
                  </a:cubicBezTo>
                  <a:cubicBezTo>
                    <a:pt x="756" y="42"/>
                    <a:pt x="756" y="42"/>
                    <a:pt x="756" y="42"/>
                  </a:cubicBezTo>
                  <a:cubicBezTo>
                    <a:pt x="756" y="42"/>
                    <a:pt x="756" y="42"/>
                    <a:pt x="756" y="42"/>
                  </a:cubicBezTo>
                  <a:cubicBezTo>
                    <a:pt x="756" y="42"/>
                    <a:pt x="756" y="43"/>
                    <a:pt x="756" y="43"/>
                  </a:cubicBezTo>
                  <a:cubicBezTo>
                    <a:pt x="756" y="43"/>
                    <a:pt x="756" y="43"/>
                    <a:pt x="756" y="43"/>
                  </a:cubicBezTo>
                  <a:cubicBezTo>
                    <a:pt x="756" y="43"/>
                    <a:pt x="755" y="43"/>
                    <a:pt x="755" y="43"/>
                  </a:cubicBezTo>
                  <a:cubicBezTo>
                    <a:pt x="755" y="43"/>
                    <a:pt x="755" y="43"/>
                    <a:pt x="755" y="43"/>
                  </a:cubicBezTo>
                  <a:cubicBezTo>
                    <a:pt x="755" y="43"/>
                    <a:pt x="755" y="44"/>
                    <a:pt x="755" y="44"/>
                  </a:cubicBezTo>
                  <a:cubicBezTo>
                    <a:pt x="755" y="44"/>
                    <a:pt x="755" y="44"/>
                    <a:pt x="755" y="44"/>
                  </a:cubicBezTo>
                  <a:cubicBezTo>
                    <a:pt x="755" y="44"/>
                    <a:pt x="754" y="44"/>
                    <a:pt x="754" y="44"/>
                  </a:cubicBezTo>
                  <a:cubicBezTo>
                    <a:pt x="754" y="44"/>
                    <a:pt x="754" y="44"/>
                    <a:pt x="754" y="44"/>
                  </a:cubicBezTo>
                  <a:cubicBezTo>
                    <a:pt x="754" y="45"/>
                    <a:pt x="754" y="45"/>
                    <a:pt x="754" y="45"/>
                  </a:cubicBezTo>
                  <a:cubicBezTo>
                    <a:pt x="754" y="45"/>
                    <a:pt x="754" y="45"/>
                    <a:pt x="754" y="45"/>
                  </a:cubicBezTo>
                  <a:cubicBezTo>
                    <a:pt x="753" y="46"/>
                    <a:pt x="753" y="46"/>
                    <a:pt x="753" y="46"/>
                  </a:cubicBezTo>
                  <a:cubicBezTo>
                    <a:pt x="753" y="46"/>
                    <a:pt x="753" y="46"/>
                    <a:pt x="753" y="46"/>
                  </a:cubicBezTo>
                  <a:cubicBezTo>
                    <a:pt x="753" y="46"/>
                    <a:pt x="753" y="46"/>
                    <a:pt x="753" y="47"/>
                  </a:cubicBezTo>
                  <a:cubicBezTo>
                    <a:pt x="753" y="47"/>
                    <a:pt x="753" y="47"/>
                    <a:pt x="753" y="47"/>
                  </a:cubicBezTo>
                  <a:cubicBezTo>
                    <a:pt x="753" y="47"/>
                    <a:pt x="753" y="47"/>
                    <a:pt x="753" y="47"/>
                  </a:cubicBezTo>
                  <a:cubicBezTo>
                    <a:pt x="753" y="47"/>
                    <a:pt x="753" y="47"/>
                    <a:pt x="753" y="47"/>
                  </a:cubicBezTo>
                  <a:cubicBezTo>
                    <a:pt x="752" y="47"/>
                    <a:pt x="752" y="47"/>
                    <a:pt x="752" y="48"/>
                  </a:cubicBezTo>
                  <a:cubicBezTo>
                    <a:pt x="752" y="48"/>
                    <a:pt x="752" y="48"/>
                    <a:pt x="752" y="48"/>
                  </a:cubicBezTo>
                  <a:cubicBezTo>
                    <a:pt x="752" y="48"/>
                    <a:pt x="752" y="48"/>
                    <a:pt x="752" y="48"/>
                  </a:cubicBezTo>
                  <a:cubicBezTo>
                    <a:pt x="752" y="48"/>
                    <a:pt x="752" y="48"/>
                    <a:pt x="752" y="48"/>
                  </a:cubicBezTo>
                  <a:cubicBezTo>
                    <a:pt x="752" y="48"/>
                    <a:pt x="752" y="49"/>
                    <a:pt x="752" y="49"/>
                  </a:cubicBezTo>
                  <a:cubicBezTo>
                    <a:pt x="752" y="49"/>
                    <a:pt x="752" y="49"/>
                    <a:pt x="752" y="49"/>
                  </a:cubicBezTo>
                  <a:cubicBezTo>
                    <a:pt x="751" y="49"/>
                    <a:pt x="751" y="49"/>
                    <a:pt x="751" y="50"/>
                  </a:cubicBezTo>
                  <a:cubicBezTo>
                    <a:pt x="751" y="50"/>
                    <a:pt x="751" y="50"/>
                    <a:pt x="751" y="50"/>
                  </a:cubicBezTo>
                  <a:cubicBezTo>
                    <a:pt x="751" y="50"/>
                    <a:pt x="751" y="50"/>
                    <a:pt x="751" y="50"/>
                  </a:cubicBezTo>
                  <a:cubicBezTo>
                    <a:pt x="751" y="50"/>
                    <a:pt x="751" y="50"/>
                    <a:pt x="751" y="50"/>
                  </a:cubicBezTo>
                  <a:cubicBezTo>
                    <a:pt x="751" y="51"/>
                    <a:pt x="751" y="51"/>
                    <a:pt x="750" y="51"/>
                  </a:cubicBezTo>
                  <a:cubicBezTo>
                    <a:pt x="751" y="51"/>
                    <a:pt x="751" y="51"/>
                    <a:pt x="751" y="51"/>
                  </a:cubicBezTo>
                  <a:cubicBezTo>
                    <a:pt x="750" y="51"/>
                    <a:pt x="750" y="52"/>
                    <a:pt x="750" y="52"/>
                  </a:cubicBezTo>
                  <a:cubicBezTo>
                    <a:pt x="750" y="52"/>
                    <a:pt x="750" y="52"/>
                    <a:pt x="750" y="52"/>
                  </a:cubicBezTo>
                  <a:cubicBezTo>
                    <a:pt x="750" y="52"/>
                    <a:pt x="750" y="52"/>
                    <a:pt x="750" y="52"/>
                  </a:cubicBezTo>
                  <a:cubicBezTo>
                    <a:pt x="750" y="52"/>
                    <a:pt x="750" y="53"/>
                    <a:pt x="750" y="53"/>
                  </a:cubicBezTo>
                  <a:cubicBezTo>
                    <a:pt x="750" y="53"/>
                    <a:pt x="750" y="53"/>
                    <a:pt x="750" y="53"/>
                  </a:cubicBezTo>
                  <a:cubicBezTo>
                    <a:pt x="750" y="53"/>
                    <a:pt x="750" y="53"/>
                    <a:pt x="749" y="54"/>
                  </a:cubicBezTo>
                  <a:cubicBezTo>
                    <a:pt x="749" y="54"/>
                    <a:pt x="749" y="54"/>
                    <a:pt x="749" y="54"/>
                  </a:cubicBezTo>
                  <a:cubicBezTo>
                    <a:pt x="749" y="54"/>
                    <a:pt x="749" y="54"/>
                    <a:pt x="749" y="54"/>
                  </a:cubicBezTo>
                  <a:cubicBezTo>
                    <a:pt x="749" y="54"/>
                    <a:pt x="749" y="54"/>
                    <a:pt x="749" y="55"/>
                  </a:cubicBezTo>
                  <a:cubicBezTo>
                    <a:pt x="749" y="55"/>
                    <a:pt x="749" y="55"/>
                    <a:pt x="749" y="55"/>
                  </a:cubicBezTo>
                  <a:cubicBezTo>
                    <a:pt x="749" y="55"/>
                    <a:pt x="749" y="55"/>
                    <a:pt x="749" y="56"/>
                  </a:cubicBezTo>
                  <a:cubicBezTo>
                    <a:pt x="749" y="56"/>
                    <a:pt x="749" y="56"/>
                    <a:pt x="749" y="56"/>
                  </a:cubicBezTo>
                  <a:cubicBezTo>
                    <a:pt x="749" y="56"/>
                    <a:pt x="749" y="56"/>
                    <a:pt x="749" y="56"/>
                  </a:cubicBezTo>
                  <a:cubicBezTo>
                    <a:pt x="748" y="56"/>
                    <a:pt x="749" y="57"/>
                    <a:pt x="748" y="57"/>
                  </a:cubicBezTo>
                  <a:cubicBezTo>
                    <a:pt x="748" y="57"/>
                    <a:pt x="748" y="57"/>
                    <a:pt x="748" y="57"/>
                  </a:cubicBezTo>
                  <a:cubicBezTo>
                    <a:pt x="748" y="58"/>
                    <a:pt x="748" y="58"/>
                    <a:pt x="748" y="58"/>
                  </a:cubicBezTo>
                  <a:cubicBezTo>
                    <a:pt x="748" y="59"/>
                    <a:pt x="748" y="59"/>
                    <a:pt x="748" y="59"/>
                  </a:cubicBezTo>
                  <a:cubicBezTo>
                    <a:pt x="748" y="59"/>
                    <a:pt x="748" y="60"/>
                    <a:pt x="748" y="60"/>
                  </a:cubicBezTo>
                  <a:cubicBezTo>
                    <a:pt x="748" y="60"/>
                    <a:pt x="748" y="60"/>
                    <a:pt x="748" y="60"/>
                  </a:cubicBezTo>
                  <a:cubicBezTo>
                    <a:pt x="747" y="61"/>
                    <a:pt x="748" y="62"/>
                    <a:pt x="747" y="62"/>
                  </a:cubicBezTo>
                  <a:cubicBezTo>
                    <a:pt x="747" y="63"/>
                    <a:pt x="747" y="63"/>
                    <a:pt x="747" y="63"/>
                  </a:cubicBezTo>
                  <a:cubicBezTo>
                    <a:pt x="747" y="64"/>
                    <a:pt x="747" y="66"/>
                    <a:pt x="747" y="67"/>
                  </a:cubicBezTo>
                  <a:cubicBezTo>
                    <a:pt x="747" y="68"/>
                    <a:pt x="747" y="69"/>
                    <a:pt x="747" y="69"/>
                  </a:cubicBezTo>
                  <a:cubicBezTo>
                    <a:pt x="747" y="71"/>
                    <a:pt x="747" y="72"/>
                    <a:pt x="747" y="74"/>
                  </a:cubicBezTo>
                  <a:cubicBezTo>
                    <a:pt x="747" y="74"/>
                    <a:pt x="747" y="75"/>
                    <a:pt x="747" y="75"/>
                  </a:cubicBezTo>
                  <a:cubicBezTo>
                    <a:pt x="748" y="75"/>
                    <a:pt x="747" y="76"/>
                    <a:pt x="748" y="77"/>
                  </a:cubicBezTo>
                  <a:cubicBezTo>
                    <a:pt x="748" y="77"/>
                    <a:pt x="748" y="77"/>
                    <a:pt x="748" y="77"/>
                  </a:cubicBezTo>
                  <a:cubicBezTo>
                    <a:pt x="748" y="78"/>
                    <a:pt x="748" y="78"/>
                    <a:pt x="748" y="79"/>
                  </a:cubicBezTo>
                  <a:cubicBezTo>
                    <a:pt x="748" y="79"/>
                    <a:pt x="748" y="79"/>
                    <a:pt x="748" y="79"/>
                  </a:cubicBezTo>
                  <a:cubicBezTo>
                    <a:pt x="748" y="79"/>
                    <a:pt x="748" y="79"/>
                    <a:pt x="748" y="79"/>
                  </a:cubicBezTo>
                  <a:cubicBezTo>
                    <a:pt x="748" y="79"/>
                    <a:pt x="748" y="80"/>
                    <a:pt x="748" y="80"/>
                  </a:cubicBezTo>
                  <a:cubicBezTo>
                    <a:pt x="748" y="80"/>
                    <a:pt x="748" y="80"/>
                    <a:pt x="748" y="81"/>
                  </a:cubicBezTo>
                  <a:cubicBezTo>
                    <a:pt x="749" y="81"/>
                    <a:pt x="748" y="81"/>
                    <a:pt x="749" y="82"/>
                  </a:cubicBezTo>
                  <a:cubicBezTo>
                    <a:pt x="749" y="82"/>
                    <a:pt x="749" y="82"/>
                    <a:pt x="749" y="82"/>
                  </a:cubicBezTo>
                  <a:cubicBezTo>
                    <a:pt x="749" y="82"/>
                    <a:pt x="749" y="83"/>
                    <a:pt x="749" y="83"/>
                  </a:cubicBezTo>
                  <a:close/>
                  <a:moveTo>
                    <a:pt x="1231" y="92"/>
                  </a:moveTo>
                  <a:cubicBezTo>
                    <a:pt x="1231" y="92"/>
                    <a:pt x="1231" y="92"/>
                    <a:pt x="1231" y="92"/>
                  </a:cubicBezTo>
                  <a:cubicBezTo>
                    <a:pt x="1231" y="92"/>
                    <a:pt x="1230" y="92"/>
                    <a:pt x="1230" y="92"/>
                  </a:cubicBezTo>
                  <a:cubicBezTo>
                    <a:pt x="1230" y="92"/>
                    <a:pt x="1230" y="92"/>
                    <a:pt x="1230" y="92"/>
                  </a:cubicBezTo>
                  <a:cubicBezTo>
                    <a:pt x="1230" y="92"/>
                    <a:pt x="1230" y="92"/>
                    <a:pt x="1230" y="92"/>
                  </a:cubicBezTo>
                  <a:cubicBezTo>
                    <a:pt x="1230" y="92"/>
                    <a:pt x="1229" y="92"/>
                    <a:pt x="1229" y="91"/>
                  </a:cubicBezTo>
                  <a:cubicBezTo>
                    <a:pt x="1229" y="91"/>
                    <a:pt x="1229" y="91"/>
                    <a:pt x="1229" y="91"/>
                  </a:cubicBezTo>
                  <a:cubicBezTo>
                    <a:pt x="1229" y="91"/>
                    <a:pt x="1229" y="91"/>
                    <a:pt x="1229" y="91"/>
                  </a:cubicBezTo>
                  <a:cubicBezTo>
                    <a:pt x="1229" y="91"/>
                    <a:pt x="1229" y="91"/>
                    <a:pt x="1229" y="91"/>
                  </a:cubicBezTo>
                  <a:cubicBezTo>
                    <a:pt x="1229" y="91"/>
                    <a:pt x="1228" y="91"/>
                    <a:pt x="1228" y="91"/>
                  </a:cubicBezTo>
                  <a:cubicBezTo>
                    <a:pt x="1228" y="91"/>
                    <a:pt x="1228" y="91"/>
                    <a:pt x="1228" y="91"/>
                  </a:cubicBezTo>
                  <a:cubicBezTo>
                    <a:pt x="1228" y="91"/>
                    <a:pt x="1228" y="91"/>
                    <a:pt x="1227" y="90"/>
                  </a:cubicBezTo>
                  <a:cubicBezTo>
                    <a:pt x="1227" y="90"/>
                    <a:pt x="1227" y="90"/>
                    <a:pt x="1227" y="90"/>
                  </a:cubicBezTo>
                  <a:cubicBezTo>
                    <a:pt x="1227" y="90"/>
                    <a:pt x="1227" y="90"/>
                    <a:pt x="1227" y="90"/>
                  </a:cubicBezTo>
                  <a:cubicBezTo>
                    <a:pt x="1227" y="90"/>
                    <a:pt x="1227" y="90"/>
                    <a:pt x="1227" y="90"/>
                  </a:cubicBezTo>
                  <a:cubicBezTo>
                    <a:pt x="1227" y="90"/>
                    <a:pt x="1226" y="90"/>
                    <a:pt x="1226" y="89"/>
                  </a:cubicBezTo>
                  <a:cubicBezTo>
                    <a:pt x="1226" y="89"/>
                    <a:pt x="1226" y="89"/>
                    <a:pt x="1226" y="89"/>
                  </a:cubicBezTo>
                  <a:cubicBezTo>
                    <a:pt x="1226" y="89"/>
                    <a:pt x="1226" y="89"/>
                    <a:pt x="1226" y="89"/>
                  </a:cubicBezTo>
                  <a:cubicBezTo>
                    <a:pt x="1226" y="89"/>
                    <a:pt x="1226" y="89"/>
                    <a:pt x="1226" y="89"/>
                  </a:cubicBezTo>
                  <a:cubicBezTo>
                    <a:pt x="1225" y="89"/>
                    <a:pt x="1225" y="89"/>
                    <a:pt x="1225" y="89"/>
                  </a:cubicBezTo>
                  <a:cubicBezTo>
                    <a:pt x="1225" y="89"/>
                    <a:pt x="1225" y="89"/>
                    <a:pt x="1225" y="89"/>
                  </a:cubicBezTo>
                  <a:cubicBezTo>
                    <a:pt x="1225" y="89"/>
                    <a:pt x="1225" y="88"/>
                    <a:pt x="1225" y="88"/>
                  </a:cubicBezTo>
                  <a:cubicBezTo>
                    <a:pt x="1225" y="88"/>
                    <a:pt x="1225" y="88"/>
                    <a:pt x="1225" y="88"/>
                  </a:cubicBezTo>
                  <a:cubicBezTo>
                    <a:pt x="1225" y="88"/>
                    <a:pt x="1225" y="88"/>
                    <a:pt x="1224" y="88"/>
                  </a:cubicBezTo>
                  <a:cubicBezTo>
                    <a:pt x="1225" y="88"/>
                    <a:pt x="1225" y="88"/>
                    <a:pt x="1225" y="88"/>
                  </a:cubicBezTo>
                  <a:cubicBezTo>
                    <a:pt x="1224" y="88"/>
                    <a:pt x="1224" y="88"/>
                    <a:pt x="1224" y="88"/>
                  </a:cubicBezTo>
                  <a:cubicBezTo>
                    <a:pt x="1224" y="88"/>
                    <a:pt x="1224" y="88"/>
                    <a:pt x="1224" y="88"/>
                  </a:cubicBezTo>
                  <a:cubicBezTo>
                    <a:pt x="1224" y="87"/>
                    <a:pt x="1224" y="87"/>
                    <a:pt x="1224" y="87"/>
                  </a:cubicBezTo>
                  <a:cubicBezTo>
                    <a:pt x="1224" y="87"/>
                    <a:pt x="1224" y="87"/>
                    <a:pt x="1224" y="87"/>
                  </a:cubicBezTo>
                  <a:cubicBezTo>
                    <a:pt x="1224" y="87"/>
                    <a:pt x="1224" y="87"/>
                    <a:pt x="1224" y="87"/>
                  </a:cubicBezTo>
                  <a:cubicBezTo>
                    <a:pt x="1224" y="87"/>
                    <a:pt x="1224" y="87"/>
                    <a:pt x="1224" y="87"/>
                  </a:cubicBezTo>
                  <a:cubicBezTo>
                    <a:pt x="1223" y="87"/>
                    <a:pt x="1223" y="86"/>
                    <a:pt x="1223" y="86"/>
                  </a:cubicBezTo>
                  <a:cubicBezTo>
                    <a:pt x="1223" y="86"/>
                    <a:pt x="1223" y="86"/>
                    <a:pt x="1223" y="86"/>
                  </a:cubicBezTo>
                  <a:cubicBezTo>
                    <a:pt x="1223" y="86"/>
                    <a:pt x="1223" y="86"/>
                    <a:pt x="1222" y="86"/>
                  </a:cubicBezTo>
                  <a:cubicBezTo>
                    <a:pt x="1222" y="86"/>
                    <a:pt x="1222" y="86"/>
                    <a:pt x="1222" y="86"/>
                  </a:cubicBezTo>
                  <a:cubicBezTo>
                    <a:pt x="1222" y="85"/>
                    <a:pt x="1222" y="85"/>
                    <a:pt x="1222" y="85"/>
                  </a:cubicBezTo>
                  <a:cubicBezTo>
                    <a:pt x="1222" y="85"/>
                    <a:pt x="1222" y="85"/>
                    <a:pt x="1222" y="85"/>
                  </a:cubicBezTo>
                  <a:cubicBezTo>
                    <a:pt x="1222" y="85"/>
                    <a:pt x="1222" y="85"/>
                    <a:pt x="1222" y="84"/>
                  </a:cubicBezTo>
                  <a:cubicBezTo>
                    <a:pt x="1222" y="84"/>
                    <a:pt x="1222" y="84"/>
                    <a:pt x="1222" y="84"/>
                  </a:cubicBezTo>
                  <a:cubicBezTo>
                    <a:pt x="1222" y="84"/>
                    <a:pt x="1222" y="84"/>
                    <a:pt x="1221" y="84"/>
                  </a:cubicBezTo>
                  <a:cubicBezTo>
                    <a:pt x="1221" y="84"/>
                    <a:pt x="1221" y="84"/>
                    <a:pt x="1221" y="84"/>
                  </a:cubicBezTo>
                  <a:cubicBezTo>
                    <a:pt x="1221" y="84"/>
                    <a:pt x="1221" y="83"/>
                    <a:pt x="1221" y="83"/>
                  </a:cubicBezTo>
                  <a:cubicBezTo>
                    <a:pt x="1221" y="83"/>
                    <a:pt x="1221" y="83"/>
                    <a:pt x="1221" y="83"/>
                  </a:cubicBezTo>
                  <a:cubicBezTo>
                    <a:pt x="1221" y="83"/>
                    <a:pt x="1221" y="83"/>
                    <a:pt x="1221" y="82"/>
                  </a:cubicBezTo>
                  <a:cubicBezTo>
                    <a:pt x="1221" y="82"/>
                    <a:pt x="1221" y="82"/>
                    <a:pt x="1221" y="82"/>
                  </a:cubicBezTo>
                  <a:cubicBezTo>
                    <a:pt x="1221" y="82"/>
                    <a:pt x="1221" y="82"/>
                    <a:pt x="1220" y="82"/>
                  </a:cubicBezTo>
                  <a:cubicBezTo>
                    <a:pt x="1220" y="82"/>
                    <a:pt x="1220" y="82"/>
                    <a:pt x="1220" y="81"/>
                  </a:cubicBezTo>
                  <a:cubicBezTo>
                    <a:pt x="1220" y="81"/>
                    <a:pt x="1220" y="81"/>
                    <a:pt x="1220" y="81"/>
                  </a:cubicBezTo>
                  <a:cubicBezTo>
                    <a:pt x="1220" y="81"/>
                    <a:pt x="1220" y="81"/>
                    <a:pt x="1220" y="81"/>
                  </a:cubicBezTo>
                  <a:cubicBezTo>
                    <a:pt x="1220" y="80"/>
                    <a:pt x="1220" y="80"/>
                    <a:pt x="1220" y="80"/>
                  </a:cubicBezTo>
                  <a:cubicBezTo>
                    <a:pt x="1220" y="80"/>
                    <a:pt x="1220" y="80"/>
                    <a:pt x="1220" y="80"/>
                  </a:cubicBezTo>
                  <a:cubicBezTo>
                    <a:pt x="1220" y="80"/>
                    <a:pt x="1220" y="80"/>
                    <a:pt x="1220" y="80"/>
                  </a:cubicBezTo>
                  <a:cubicBezTo>
                    <a:pt x="1220" y="79"/>
                    <a:pt x="1220" y="79"/>
                    <a:pt x="1220" y="79"/>
                  </a:cubicBezTo>
                  <a:cubicBezTo>
                    <a:pt x="1219" y="79"/>
                    <a:pt x="1220" y="79"/>
                    <a:pt x="1219" y="78"/>
                  </a:cubicBezTo>
                  <a:cubicBezTo>
                    <a:pt x="1219" y="78"/>
                    <a:pt x="1219" y="78"/>
                    <a:pt x="1219" y="78"/>
                  </a:cubicBezTo>
                  <a:cubicBezTo>
                    <a:pt x="1219" y="78"/>
                    <a:pt x="1219" y="77"/>
                    <a:pt x="1219" y="77"/>
                  </a:cubicBezTo>
                  <a:cubicBezTo>
                    <a:pt x="1219" y="77"/>
                    <a:pt x="1219" y="77"/>
                    <a:pt x="1219" y="77"/>
                  </a:cubicBezTo>
                  <a:cubicBezTo>
                    <a:pt x="1219" y="76"/>
                    <a:pt x="1219" y="75"/>
                    <a:pt x="1219" y="75"/>
                  </a:cubicBezTo>
                  <a:cubicBezTo>
                    <a:pt x="1219" y="74"/>
                    <a:pt x="1218" y="74"/>
                    <a:pt x="1219" y="74"/>
                  </a:cubicBezTo>
                  <a:cubicBezTo>
                    <a:pt x="1218" y="71"/>
                    <a:pt x="1218" y="71"/>
                    <a:pt x="1221" y="71"/>
                  </a:cubicBezTo>
                  <a:cubicBezTo>
                    <a:pt x="1235" y="71"/>
                    <a:pt x="1250" y="71"/>
                    <a:pt x="1264" y="71"/>
                  </a:cubicBezTo>
                  <a:cubicBezTo>
                    <a:pt x="1264" y="71"/>
                    <a:pt x="1264" y="71"/>
                    <a:pt x="1265" y="71"/>
                  </a:cubicBezTo>
                  <a:cubicBezTo>
                    <a:pt x="1266" y="71"/>
                    <a:pt x="1266" y="70"/>
                    <a:pt x="1266" y="70"/>
                  </a:cubicBezTo>
                  <a:cubicBezTo>
                    <a:pt x="1266" y="67"/>
                    <a:pt x="1266" y="64"/>
                    <a:pt x="1266" y="61"/>
                  </a:cubicBezTo>
                  <a:cubicBezTo>
                    <a:pt x="1266" y="61"/>
                    <a:pt x="1265" y="60"/>
                    <a:pt x="1266" y="60"/>
                  </a:cubicBezTo>
                  <a:cubicBezTo>
                    <a:pt x="1265" y="59"/>
                    <a:pt x="1266" y="58"/>
                    <a:pt x="1265" y="58"/>
                  </a:cubicBezTo>
                  <a:cubicBezTo>
                    <a:pt x="1265" y="57"/>
                    <a:pt x="1265" y="57"/>
                    <a:pt x="1265" y="57"/>
                  </a:cubicBezTo>
                  <a:cubicBezTo>
                    <a:pt x="1265" y="57"/>
                    <a:pt x="1265" y="56"/>
                    <a:pt x="1265" y="56"/>
                  </a:cubicBezTo>
                  <a:cubicBezTo>
                    <a:pt x="1265" y="55"/>
                    <a:pt x="1265" y="55"/>
                    <a:pt x="1265" y="55"/>
                  </a:cubicBezTo>
                  <a:cubicBezTo>
                    <a:pt x="1265" y="55"/>
                    <a:pt x="1265" y="54"/>
                    <a:pt x="1265" y="54"/>
                  </a:cubicBezTo>
                  <a:cubicBezTo>
                    <a:pt x="1265" y="54"/>
                    <a:pt x="1264" y="54"/>
                    <a:pt x="1265" y="54"/>
                  </a:cubicBezTo>
                  <a:cubicBezTo>
                    <a:pt x="1264" y="53"/>
                    <a:pt x="1265" y="53"/>
                    <a:pt x="1264" y="52"/>
                  </a:cubicBezTo>
                  <a:cubicBezTo>
                    <a:pt x="1264" y="52"/>
                    <a:pt x="1264" y="52"/>
                    <a:pt x="1264" y="52"/>
                  </a:cubicBezTo>
                  <a:cubicBezTo>
                    <a:pt x="1264" y="52"/>
                    <a:pt x="1264" y="51"/>
                    <a:pt x="1264" y="51"/>
                  </a:cubicBezTo>
                  <a:cubicBezTo>
                    <a:pt x="1264" y="51"/>
                    <a:pt x="1264" y="51"/>
                    <a:pt x="1264" y="51"/>
                  </a:cubicBezTo>
                  <a:cubicBezTo>
                    <a:pt x="1264" y="51"/>
                    <a:pt x="1264" y="50"/>
                    <a:pt x="1264" y="50"/>
                  </a:cubicBezTo>
                  <a:cubicBezTo>
                    <a:pt x="1264" y="50"/>
                    <a:pt x="1264" y="50"/>
                    <a:pt x="1264" y="50"/>
                  </a:cubicBezTo>
                  <a:cubicBezTo>
                    <a:pt x="1263" y="50"/>
                    <a:pt x="1264" y="49"/>
                    <a:pt x="1263" y="49"/>
                  </a:cubicBezTo>
                  <a:cubicBezTo>
                    <a:pt x="1263" y="49"/>
                    <a:pt x="1263" y="49"/>
                    <a:pt x="1263" y="49"/>
                  </a:cubicBezTo>
                  <a:cubicBezTo>
                    <a:pt x="1263" y="49"/>
                    <a:pt x="1263" y="48"/>
                    <a:pt x="1263" y="48"/>
                  </a:cubicBezTo>
                  <a:cubicBezTo>
                    <a:pt x="1263" y="48"/>
                    <a:pt x="1263" y="48"/>
                    <a:pt x="1263" y="48"/>
                  </a:cubicBezTo>
                  <a:cubicBezTo>
                    <a:pt x="1263" y="48"/>
                    <a:pt x="1263" y="48"/>
                    <a:pt x="1263" y="48"/>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6"/>
                    <a:pt x="1262" y="46"/>
                    <a:pt x="1262" y="46"/>
                  </a:cubicBezTo>
                  <a:cubicBezTo>
                    <a:pt x="1262" y="46"/>
                    <a:pt x="1262" y="46"/>
                    <a:pt x="1262" y="46"/>
                  </a:cubicBezTo>
                  <a:cubicBezTo>
                    <a:pt x="1262" y="46"/>
                    <a:pt x="1262" y="46"/>
                    <a:pt x="1262" y="46"/>
                  </a:cubicBezTo>
                  <a:cubicBezTo>
                    <a:pt x="1262" y="46"/>
                    <a:pt x="1262" y="46"/>
                    <a:pt x="1261" y="45"/>
                  </a:cubicBezTo>
                  <a:cubicBezTo>
                    <a:pt x="1261" y="45"/>
                    <a:pt x="1261" y="45"/>
                    <a:pt x="1261" y="45"/>
                  </a:cubicBezTo>
                  <a:cubicBezTo>
                    <a:pt x="1261" y="45"/>
                    <a:pt x="1261" y="45"/>
                    <a:pt x="1261" y="45"/>
                  </a:cubicBezTo>
                  <a:cubicBezTo>
                    <a:pt x="1261" y="45"/>
                    <a:pt x="1261" y="45"/>
                    <a:pt x="1261" y="45"/>
                  </a:cubicBezTo>
                  <a:cubicBezTo>
                    <a:pt x="1261" y="45"/>
                    <a:pt x="1261" y="44"/>
                    <a:pt x="1261" y="44"/>
                  </a:cubicBezTo>
                  <a:cubicBezTo>
                    <a:pt x="1261" y="44"/>
                    <a:pt x="1261" y="44"/>
                    <a:pt x="1261" y="44"/>
                  </a:cubicBezTo>
                  <a:cubicBezTo>
                    <a:pt x="1261" y="44"/>
                    <a:pt x="1261" y="44"/>
                    <a:pt x="1260" y="44"/>
                  </a:cubicBezTo>
                  <a:cubicBezTo>
                    <a:pt x="1260" y="44"/>
                    <a:pt x="1260" y="44"/>
                    <a:pt x="1260" y="44"/>
                  </a:cubicBezTo>
                  <a:cubicBezTo>
                    <a:pt x="1260" y="44"/>
                    <a:pt x="1260" y="43"/>
                    <a:pt x="1260" y="43"/>
                  </a:cubicBezTo>
                  <a:cubicBezTo>
                    <a:pt x="1260" y="43"/>
                    <a:pt x="1260" y="43"/>
                    <a:pt x="1260" y="43"/>
                  </a:cubicBezTo>
                  <a:cubicBezTo>
                    <a:pt x="1260" y="43"/>
                    <a:pt x="1260" y="43"/>
                    <a:pt x="1260" y="43"/>
                  </a:cubicBezTo>
                  <a:cubicBezTo>
                    <a:pt x="1260" y="43"/>
                    <a:pt x="1260" y="43"/>
                    <a:pt x="1260" y="43"/>
                  </a:cubicBezTo>
                  <a:cubicBezTo>
                    <a:pt x="1259" y="42"/>
                    <a:pt x="1259" y="42"/>
                    <a:pt x="1259" y="42"/>
                  </a:cubicBezTo>
                  <a:cubicBezTo>
                    <a:pt x="1259" y="42"/>
                    <a:pt x="1259" y="42"/>
                    <a:pt x="1259" y="42"/>
                  </a:cubicBezTo>
                  <a:cubicBezTo>
                    <a:pt x="1259" y="42"/>
                    <a:pt x="1259" y="41"/>
                    <a:pt x="1259" y="41"/>
                  </a:cubicBezTo>
                  <a:cubicBezTo>
                    <a:pt x="1259" y="41"/>
                    <a:pt x="1259" y="41"/>
                    <a:pt x="1259" y="41"/>
                  </a:cubicBezTo>
                  <a:cubicBezTo>
                    <a:pt x="1259" y="41"/>
                    <a:pt x="1258" y="41"/>
                    <a:pt x="1258" y="41"/>
                  </a:cubicBezTo>
                  <a:cubicBezTo>
                    <a:pt x="1258" y="41"/>
                    <a:pt x="1258" y="41"/>
                    <a:pt x="1258" y="41"/>
                  </a:cubicBezTo>
                  <a:cubicBezTo>
                    <a:pt x="1258" y="41"/>
                    <a:pt x="1258" y="41"/>
                    <a:pt x="1258" y="41"/>
                  </a:cubicBezTo>
                  <a:cubicBezTo>
                    <a:pt x="1258" y="41"/>
                    <a:pt x="1258" y="41"/>
                    <a:pt x="1258" y="41"/>
                  </a:cubicBezTo>
                  <a:cubicBezTo>
                    <a:pt x="1257" y="40"/>
                    <a:pt x="1257" y="39"/>
                    <a:pt x="1256" y="39"/>
                  </a:cubicBezTo>
                  <a:cubicBezTo>
                    <a:pt x="1256" y="39"/>
                    <a:pt x="1256" y="39"/>
                    <a:pt x="1256" y="39"/>
                  </a:cubicBezTo>
                  <a:cubicBezTo>
                    <a:pt x="1256" y="39"/>
                    <a:pt x="1256" y="39"/>
                    <a:pt x="1256" y="39"/>
                  </a:cubicBezTo>
                  <a:cubicBezTo>
                    <a:pt x="1256" y="39"/>
                    <a:pt x="1256" y="39"/>
                    <a:pt x="1256" y="39"/>
                  </a:cubicBezTo>
                  <a:cubicBezTo>
                    <a:pt x="1256" y="38"/>
                    <a:pt x="1256" y="38"/>
                    <a:pt x="1255" y="38"/>
                  </a:cubicBezTo>
                  <a:cubicBezTo>
                    <a:pt x="1256" y="38"/>
                    <a:pt x="1256" y="38"/>
                    <a:pt x="1256" y="38"/>
                  </a:cubicBezTo>
                  <a:cubicBezTo>
                    <a:pt x="1255" y="38"/>
                    <a:pt x="1255" y="38"/>
                    <a:pt x="1255" y="38"/>
                  </a:cubicBezTo>
                  <a:cubicBezTo>
                    <a:pt x="1255" y="38"/>
                    <a:pt x="1255" y="38"/>
                    <a:pt x="1255" y="38"/>
                  </a:cubicBezTo>
                  <a:cubicBezTo>
                    <a:pt x="1255" y="38"/>
                    <a:pt x="1255" y="38"/>
                    <a:pt x="1255" y="37"/>
                  </a:cubicBezTo>
                  <a:cubicBezTo>
                    <a:pt x="1255" y="37"/>
                    <a:pt x="1255" y="37"/>
                    <a:pt x="1255" y="37"/>
                  </a:cubicBezTo>
                  <a:cubicBezTo>
                    <a:pt x="1254" y="37"/>
                    <a:pt x="1254" y="37"/>
                    <a:pt x="1254" y="37"/>
                  </a:cubicBezTo>
                  <a:cubicBezTo>
                    <a:pt x="1254" y="37"/>
                    <a:pt x="1254" y="37"/>
                    <a:pt x="1254" y="37"/>
                  </a:cubicBezTo>
                  <a:cubicBezTo>
                    <a:pt x="1254" y="37"/>
                    <a:pt x="1254" y="37"/>
                    <a:pt x="1254" y="37"/>
                  </a:cubicBezTo>
                  <a:cubicBezTo>
                    <a:pt x="1254" y="37"/>
                    <a:pt x="1254" y="37"/>
                    <a:pt x="1254" y="37"/>
                  </a:cubicBezTo>
                  <a:cubicBezTo>
                    <a:pt x="1254" y="37"/>
                    <a:pt x="1253" y="37"/>
                    <a:pt x="1253" y="36"/>
                  </a:cubicBezTo>
                  <a:cubicBezTo>
                    <a:pt x="1253" y="36"/>
                    <a:pt x="1253" y="36"/>
                    <a:pt x="1253" y="36"/>
                  </a:cubicBezTo>
                  <a:cubicBezTo>
                    <a:pt x="1253" y="36"/>
                    <a:pt x="1253" y="36"/>
                    <a:pt x="1252" y="36"/>
                  </a:cubicBezTo>
                  <a:cubicBezTo>
                    <a:pt x="1252" y="36"/>
                    <a:pt x="1252" y="36"/>
                    <a:pt x="1252" y="36"/>
                  </a:cubicBezTo>
                  <a:cubicBezTo>
                    <a:pt x="1252" y="36"/>
                    <a:pt x="1252" y="36"/>
                    <a:pt x="1252" y="36"/>
                  </a:cubicBezTo>
                  <a:cubicBezTo>
                    <a:pt x="1252" y="36"/>
                    <a:pt x="1252" y="36"/>
                    <a:pt x="1252" y="36"/>
                  </a:cubicBezTo>
                  <a:cubicBezTo>
                    <a:pt x="1252" y="35"/>
                    <a:pt x="1252" y="36"/>
                    <a:pt x="1251" y="35"/>
                  </a:cubicBezTo>
                  <a:cubicBezTo>
                    <a:pt x="1251" y="35"/>
                    <a:pt x="1251" y="35"/>
                    <a:pt x="1251" y="35"/>
                  </a:cubicBezTo>
                  <a:cubicBezTo>
                    <a:pt x="1251" y="35"/>
                    <a:pt x="1251" y="35"/>
                    <a:pt x="1251" y="35"/>
                  </a:cubicBezTo>
                  <a:cubicBezTo>
                    <a:pt x="1250" y="35"/>
                    <a:pt x="1250" y="35"/>
                    <a:pt x="1250" y="35"/>
                  </a:cubicBezTo>
                  <a:cubicBezTo>
                    <a:pt x="1250" y="35"/>
                    <a:pt x="1250" y="35"/>
                    <a:pt x="1250" y="35"/>
                  </a:cubicBezTo>
                  <a:cubicBezTo>
                    <a:pt x="1250" y="35"/>
                    <a:pt x="1250" y="35"/>
                    <a:pt x="1250" y="35"/>
                  </a:cubicBezTo>
                  <a:cubicBezTo>
                    <a:pt x="1249" y="34"/>
                    <a:pt x="1249" y="35"/>
                    <a:pt x="1249" y="34"/>
                  </a:cubicBezTo>
                  <a:cubicBezTo>
                    <a:pt x="1249" y="34"/>
                    <a:pt x="1249" y="34"/>
                    <a:pt x="1249" y="34"/>
                  </a:cubicBezTo>
                  <a:cubicBezTo>
                    <a:pt x="1249" y="34"/>
                    <a:pt x="1248" y="34"/>
                    <a:pt x="1248" y="34"/>
                  </a:cubicBezTo>
                  <a:cubicBezTo>
                    <a:pt x="1248" y="34"/>
                    <a:pt x="1248" y="34"/>
                    <a:pt x="1248" y="34"/>
                  </a:cubicBezTo>
                  <a:cubicBezTo>
                    <a:pt x="1248" y="34"/>
                    <a:pt x="1247" y="34"/>
                    <a:pt x="1247" y="34"/>
                  </a:cubicBezTo>
                  <a:cubicBezTo>
                    <a:pt x="1247" y="34"/>
                    <a:pt x="1247" y="34"/>
                    <a:pt x="1246" y="34"/>
                  </a:cubicBezTo>
                  <a:cubicBezTo>
                    <a:pt x="1246" y="33"/>
                    <a:pt x="1246" y="34"/>
                    <a:pt x="1245" y="33"/>
                  </a:cubicBezTo>
                  <a:cubicBezTo>
                    <a:pt x="1245" y="33"/>
                    <a:pt x="1245" y="33"/>
                    <a:pt x="1245" y="33"/>
                  </a:cubicBezTo>
                  <a:cubicBezTo>
                    <a:pt x="1245" y="33"/>
                    <a:pt x="1244" y="33"/>
                    <a:pt x="1244" y="33"/>
                  </a:cubicBezTo>
                  <a:cubicBezTo>
                    <a:pt x="1243" y="33"/>
                    <a:pt x="1243" y="33"/>
                    <a:pt x="1243" y="33"/>
                  </a:cubicBezTo>
                  <a:cubicBezTo>
                    <a:pt x="1242" y="33"/>
                    <a:pt x="1241" y="33"/>
                    <a:pt x="1241" y="33"/>
                  </a:cubicBezTo>
                  <a:cubicBezTo>
                    <a:pt x="1239" y="33"/>
                    <a:pt x="1237" y="33"/>
                    <a:pt x="1236" y="33"/>
                  </a:cubicBezTo>
                  <a:cubicBezTo>
                    <a:pt x="1235" y="33"/>
                    <a:pt x="1234" y="33"/>
                    <a:pt x="1233" y="33"/>
                  </a:cubicBezTo>
                  <a:cubicBezTo>
                    <a:pt x="1233" y="33"/>
                    <a:pt x="1233" y="33"/>
                    <a:pt x="1233" y="33"/>
                  </a:cubicBezTo>
                  <a:cubicBezTo>
                    <a:pt x="1232" y="33"/>
                    <a:pt x="1232" y="33"/>
                    <a:pt x="1231" y="33"/>
                  </a:cubicBezTo>
                  <a:cubicBezTo>
                    <a:pt x="1231" y="33"/>
                    <a:pt x="1231" y="33"/>
                    <a:pt x="1231" y="33"/>
                  </a:cubicBezTo>
                  <a:cubicBezTo>
                    <a:pt x="1231" y="33"/>
                    <a:pt x="1231" y="33"/>
                    <a:pt x="1231" y="33"/>
                  </a:cubicBezTo>
                  <a:cubicBezTo>
                    <a:pt x="1231" y="34"/>
                    <a:pt x="1230" y="33"/>
                    <a:pt x="1230" y="34"/>
                  </a:cubicBezTo>
                  <a:cubicBezTo>
                    <a:pt x="1230" y="34"/>
                    <a:pt x="1230" y="34"/>
                    <a:pt x="1230" y="34"/>
                  </a:cubicBezTo>
                  <a:cubicBezTo>
                    <a:pt x="1230" y="34"/>
                    <a:pt x="1229" y="34"/>
                    <a:pt x="1229" y="34"/>
                  </a:cubicBezTo>
                  <a:cubicBezTo>
                    <a:pt x="1229" y="34"/>
                    <a:pt x="1229" y="34"/>
                    <a:pt x="1229" y="34"/>
                  </a:cubicBezTo>
                  <a:cubicBezTo>
                    <a:pt x="1229" y="34"/>
                    <a:pt x="1229" y="34"/>
                    <a:pt x="1229" y="34"/>
                  </a:cubicBezTo>
                  <a:cubicBezTo>
                    <a:pt x="1228" y="34"/>
                    <a:pt x="1228" y="34"/>
                    <a:pt x="1228" y="34"/>
                  </a:cubicBezTo>
                  <a:cubicBezTo>
                    <a:pt x="1228" y="34"/>
                    <a:pt x="1228" y="34"/>
                    <a:pt x="1228" y="34"/>
                  </a:cubicBezTo>
                  <a:cubicBezTo>
                    <a:pt x="1227" y="35"/>
                    <a:pt x="1227" y="34"/>
                    <a:pt x="1227" y="35"/>
                  </a:cubicBezTo>
                  <a:cubicBezTo>
                    <a:pt x="1227" y="35"/>
                    <a:pt x="1227" y="35"/>
                    <a:pt x="1227" y="35"/>
                  </a:cubicBezTo>
                  <a:cubicBezTo>
                    <a:pt x="1226" y="35"/>
                    <a:pt x="1226" y="35"/>
                    <a:pt x="1226" y="35"/>
                  </a:cubicBezTo>
                  <a:cubicBezTo>
                    <a:pt x="1226" y="35"/>
                    <a:pt x="1226" y="35"/>
                    <a:pt x="1226" y="35"/>
                  </a:cubicBezTo>
                  <a:cubicBezTo>
                    <a:pt x="1226" y="35"/>
                    <a:pt x="1225" y="35"/>
                    <a:pt x="1225" y="35"/>
                  </a:cubicBezTo>
                  <a:cubicBezTo>
                    <a:pt x="1225" y="35"/>
                    <a:pt x="1225" y="35"/>
                    <a:pt x="1225" y="35"/>
                  </a:cubicBezTo>
                  <a:cubicBezTo>
                    <a:pt x="1225" y="36"/>
                    <a:pt x="1225" y="36"/>
                    <a:pt x="1225" y="36"/>
                  </a:cubicBezTo>
                  <a:cubicBezTo>
                    <a:pt x="1225" y="36"/>
                    <a:pt x="1225" y="36"/>
                    <a:pt x="1225" y="36"/>
                  </a:cubicBezTo>
                  <a:cubicBezTo>
                    <a:pt x="1224" y="36"/>
                    <a:pt x="1224" y="36"/>
                    <a:pt x="1224" y="36"/>
                  </a:cubicBezTo>
                  <a:cubicBezTo>
                    <a:pt x="1224" y="36"/>
                    <a:pt x="1224" y="36"/>
                    <a:pt x="1224" y="36"/>
                  </a:cubicBezTo>
                  <a:cubicBezTo>
                    <a:pt x="1224" y="36"/>
                    <a:pt x="1223" y="36"/>
                    <a:pt x="1223" y="36"/>
                  </a:cubicBezTo>
                  <a:cubicBezTo>
                    <a:pt x="1223" y="36"/>
                    <a:pt x="1223" y="36"/>
                    <a:pt x="1223" y="36"/>
                  </a:cubicBezTo>
                  <a:cubicBezTo>
                    <a:pt x="1223" y="37"/>
                    <a:pt x="1223" y="37"/>
                    <a:pt x="1223" y="37"/>
                  </a:cubicBezTo>
                  <a:cubicBezTo>
                    <a:pt x="1223" y="37"/>
                    <a:pt x="1223" y="37"/>
                    <a:pt x="1223" y="37"/>
                  </a:cubicBezTo>
                  <a:cubicBezTo>
                    <a:pt x="1222" y="37"/>
                    <a:pt x="1222" y="37"/>
                    <a:pt x="1222" y="37"/>
                  </a:cubicBezTo>
                  <a:cubicBezTo>
                    <a:pt x="1222" y="37"/>
                    <a:pt x="1222" y="37"/>
                    <a:pt x="1222" y="37"/>
                  </a:cubicBezTo>
                  <a:cubicBezTo>
                    <a:pt x="1222" y="37"/>
                    <a:pt x="1222" y="37"/>
                    <a:pt x="1221" y="38"/>
                  </a:cubicBezTo>
                  <a:cubicBezTo>
                    <a:pt x="1222" y="38"/>
                    <a:pt x="1222" y="38"/>
                    <a:pt x="1222" y="38"/>
                  </a:cubicBezTo>
                  <a:cubicBezTo>
                    <a:pt x="1221" y="38"/>
                    <a:pt x="1221" y="38"/>
                    <a:pt x="1221" y="38"/>
                  </a:cubicBezTo>
                  <a:cubicBezTo>
                    <a:pt x="1221" y="38"/>
                    <a:pt x="1221" y="38"/>
                    <a:pt x="1221" y="38"/>
                  </a:cubicBezTo>
                  <a:cubicBezTo>
                    <a:pt x="1221" y="38"/>
                    <a:pt x="1220" y="38"/>
                    <a:pt x="1220" y="39"/>
                  </a:cubicBezTo>
                  <a:cubicBezTo>
                    <a:pt x="1220" y="39"/>
                    <a:pt x="1220" y="39"/>
                    <a:pt x="1220" y="39"/>
                  </a:cubicBezTo>
                  <a:cubicBezTo>
                    <a:pt x="1220" y="39"/>
                    <a:pt x="1220" y="39"/>
                    <a:pt x="1220" y="39"/>
                  </a:cubicBezTo>
                  <a:cubicBezTo>
                    <a:pt x="1220" y="39"/>
                    <a:pt x="1220" y="39"/>
                    <a:pt x="1220" y="39"/>
                  </a:cubicBezTo>
                  <a:cubicBezTo>
                    <a:pt x="1220" y="39"/>
                    <a:pt x="1219" y="39"/>
                    <a:pt x="1219" y="39"/>
                  </a:cubicBezTo>
                  <a:cubicBezTo>
                    <a:pt x="1219" y="39"/>
                    <a:pt x="1219" y="39"/>
                    <a:pt x="1219" y="39"/>
                  </a:cubicBezTo>
                  <a:cubicBezTo>
                    <a:pt x="1219" y="40"/>
                    <a:pt x="1219" y="40"/>
                    <a:pt x="1218" y="40"/>
                  </a:cubicBezTo>
                  <a:cubicBezTo>
                    <a:pt x="1218" y="40"/>
                    <a:pt x="1218" y="40"/>
                    <a:pt x="1218" y="40"/>
                  </a:cubicBezTo>
                  <a:cubicBezTo>
                    <a:pt x="1218" y="40"/>
                    <a:pt x="1218" y="40"/>
                    <a:pt x="1218" y="40"/>
                  </a:cubicBezTo>
                  <a:cubicBezTo>
                    <a:pt x="1218" y="40"/>
                    <a:pt x="1218" y="40"/>
                    <a:pt x="1218" y="40"/>
                  </a:cubicBezTo>
                  <a:cubicBezTo>
                    <a:pt x="1218" y="40"/>
                    <a:pt x="1218" y="40"/>
                    <a:pt x="1218" y="41"/>
                  </a:cubicBezTo>
                  <a:cubicBezTo>
                    <a:pt x="1218" y="41"/>
                    <a:pt x="1218" y="41"/>
                    <a:pt x="1218" y="41"/>
                  </a:cubicBezTo>
                  <a:cubicBezTo>
                    <a:pt x="1217" y="41"/>
                    <a:pt x="1217" y="41"/>
                    <a:pt x="1217" y="41"/>
                  </a:cubicBezTo>
                  <a:cubicBezTo>
                    <a:pt x="1217" y="41"/>
                    <a:pt x="1217" y="41"/>
                    <a:pt x="1217" y="41"/>
                  </a:cubicBezTo>
                  <a:cubicBezTo>
                    <a:pt x="1217" y="41"/>
                    <a:pt x="1217" y="41"/>
                    <a:pt x="1217" y="41"/>
                  </a:cubicBezTo>
                  <a:cubicBezTo>
                    <a:pt x="1217" y="41"/>
                    <a:pt x="1217" y="41"/>
                    <a:pt x="1217" y="41"/>
                  </a:cubicBezTo>
                  <a:cubicBezTo>
                    <a:pt x="1217" y="41"/>
                    <a:pt x="1217" y="42"/>
                    <a:pt x="1217" y="42"/>
                  </a:cubicBezTo>
                  <a:cubicBezTo>
                    <a:pt x="1217" y="42"/>
                    <a:pt x="1217" y="42"/>
                    <a:pt x="1217" y="42"/>
                  </a:cubicBezTo>
                  <a:cubicBezTo>
                    <a:pt x="1216" y="42"/>
                    <a:pt x="1216" y="42"/>
                    <a:pt x="1216" y="42"/>
                  </a:cubicBezTo>
                  <a:cubicBezTo>
                    <a:pt x="1216" y="42"/>
                    <a:pt x="1216" y="42"/>
                    <a:pt x="1216" y="42"/>
                  </a:cubicBezTo>
                  <a:cubicBezTo>
                    <a:pt x="1216" y="42"/>
                    <a:pt x="1216" y="42"/>
                    <a:pt x="1216" y="42"/>
                  </a:cubicBezTo>
                  <a:cubicBezTo>
                    <a:pt x="1216" y="42"/>
                    <a:pt x="1216" y="42"/>
                    <a:pt x="1216" y="42"/>
                  </a:cubicBezTo>
                  <a:cubicBezTo>
                    <a:pt x="1216" y="43"/>
                    <a:pt x="1215" y="43"/>
                    <a:pt x="1215" y="43"/>
                  </a:cubicBezTo>
                  <a:cubicBezTo>
                    <a:pt x="1215" y="43"/>
                    <a:pt x="1215" y="43"/>
                    <a:pt x="1215" y="43"/>
                  </a:cubicBezTo>
                  <a:cubicBezTo>
                    <a:pt x="1215" y="44"/>
                    <a:pt x="1215" y="44"/>
                    <a:pt x="1215" y="44"/>
                  </a:cubicBezTo>
                  <a:cubicBezTo>
                    <a:pt x="1215" y="44"/>
                    <a:pt x="1215" y="44"/>
                    <a:pt x="1215" y="44"/>
                  </a:cubicBezTo>
                  <a:cubicBezTo>
                    <a:pt x="1215" y="44"/>
                    <a:pt x="1215" y="44"/>
                    <a:pt x="1215" y="44"/>
                  </a:cubicBezTo>
                  <a:cubicBezTo>
                    <a:pt x="1215" y="44"/>
                    <a:pt x="1215" y="44"/>
                    <a:pt x="1215" y="44"/>
                  </a:cubicBezTo>
                  <a:cubicBezTo>
                    <a:pt x="1214" y="44"/>
                    <a:pt x="1214" y="45"/>
                    <a:pt x="1214" y="45"/>
                  </a:cubicBezTo>
                  <a:cubicBezTo>
                    <a:pt x="1214" y="45"/>
                    <a:pt x="1214" y="45"/>
                    <a:pt x="1214" y="45"/>
                  </a:cubicBezTo>
                  <a:cubicBezTo>
                    <a:pt x="1214" y="45"/>
                    <a:pt x="1214" y="45"/>
                    <a:pt x="1214" y="45"/>
                  </a:cubicBezTo>
                  <a:cubicBezTo>
                    <a:pt x="1214" y="45"/>
                    <a:pt x="1214" y="45"/>
                    <a:pt x="1214" y="45"/>
                  </a:cubicBezTo>
                  <a:cubicBezTo>
                    <a:pt x="1213" y="45"/>
                    <a:pt x="1213" y="46"/>
                    <a:pt x="1213" y="46"/>
                  </a:cubicBezTo>
                  <a:cubicBezTo>
                    <a:pt x="1213" y="46"/>
                    <a:pt x="1213" y="46"/>
                    <a:pt x="1213" y="46"/>
                  </a:cubicBezTo>
                  <a:cubicBezTo>
                    <a:pt x="1213" y="46"/>
                    <a:pt x="1213" y="47"/>
                    <a:pt x="1213" y="47"/>
                  </a:cubicBezTo>
                  <a:cubicBezTo>
                    <a:pt x="1213" y="47"/>
                    <a:pt x="1213" y="47"/>
                    <a:pt x="1213" y="47"/>
                  </a:cubicBezTo>
                  <a:cubicBezTo>
                    <a:pt x="1213" y="47"/>
                    <a:pt x="1212" y="47"/>
                    <a:pt x="1212" y="47"/>
                  </a:cubicBezTo>
                  <a:cubicBezTo>
                    <a:pt x="1212" y="47"/>
                    <a:pt x="1212" y="47"/>
                    <a:pt x="1212" y="47"/>
                  </a:cubicBezTo>
                  <a:cubicBezTo>
                    <a:pt x="1212" y="47"/>
                    <a:pt x="1212" y="48"/>
                    <a:pt x="1212" y="48"/>
                  </a:cubicBezTo>
                  <a:cubicBezTo>
                    <a:pt x="1212" y="48"/>
                    <a:pt x="1212" y="48"/>
                    <a:pt x="1212" y="48"/>
                  </a:cubicBezTo>
                  <a:cubicBezTo>
                    <a:pt x="1212" y="48"/>
                    <a:pt x="1212" y="48"/>
                    <a:pt x="1212" y="49"/>
                  </a:cubicBezTo>
                  <a:cubicBezTo>
                    <a:pt x="1212" y="49"/>
                    <a:pt x="1212" y="49"/>
                    <a:pt x="1212" y="49"/>
                  </a:cubicBezTo>
                  <a:cubicBezTo>
                    <a:pt x="1211" y="49"/>
                    <a:pt x="1212" y="49"/>
                    <a:pt x="1211" y="49"/>
                  </a:cubicBezTo>
                  <a:cubicBezTo>
                    <a:pt x="1211" y="49"/>
                    <a:pt x="1211" y="49"/>
                    <a:pt x="1211" y="49"/>
                  </a:cubicBezTo>
                  <a:cubicBezTo>
                    <a:pt x="1211" y="49"/>
                    <a:pt x="1211" y="50"/>
                    <a:pt x="1211" y="50"/>
                  </a:cubicBezTo>
                  <a:cubicBezTo>
                    <a:pt x="1211" y="50"/>
                    <a:pt x="1211" y="50"/>
                    <a:pt x="1211" y="50"/>
                  </a:cubicBezTo>
                  <a:cubicBezTo>
                    <a:pt x="1211" y="50"/>
                    <a:pt x="1211" y="51"/>
                    <a:pt x="1211" y="51"/>
                  </a:cubicBezTo>
                  <a:cubicBezTo>
                    <a:pt x="1211" y="51"/>
                    <a:pt x="1211" y="51"/>
                    <a:pt x="1211" y="51"/>
                  </a:cubicBezTo>
                  <a:cubicBezTo>
                    <a:pt x="1210" y="51"/>
                    <a:pt x="1210" y="51"/>
                    <a:pt x="1210" y="51"/>
                  </a:cubicBezTo>
                  <a:cubicBezTo>
                    <a:pt x="1210" y="51"/>
                    <a:pt x="1210" y="51"/>
                    <a:pt x="1210" y="51"/>
                  </a:cubicBezTo>
                  <a:cubicBezTo>
                    <a:pt x="1210" y="52"/>
                    <a:pt x="1210" y="52"/>
                    <a:pt x="1210" y="52"/>
                  </a:cubicBezTo>
                  <a:cubicBezTo>
                    <a:pt x="1210" y="52"/>
                    <a:pt x="1210" y="52"/>
                    <a:pt x="1210" y="52"/>
                  </a:cubicBezTo>
                  <a:cubicBezTo>
                    <a:pt x="1210" y="53"/>
                    <a:pt x="1210" y="53"/>
                    <a:pt x="1210" y="53"/>
                  </a:cubicBezTo>
                  <a:cubicBezTo>
                    <a:pt x="1210" y="53"/>
                    <a:pt x="1210" y="53"/>
                    <a:pt x="1210" y="53"/>
                  </a:cubicBezTo>
                  <a:cubicBezTo>
                    <a:pt x="1209" y="53"/>
                    <a:pt x="1209" y="54"/>
                    <a:pt x="1209" y="54"/>
                  </a:cubicBezTo>
                  <a:cubicBezTo>
                    <a:pt x="1209" y="54"/>
                    <a:pt x="1209" y="54"/>
                    <a:pt x="1209" y="54"/>
                  </a:cubicBezTo>
                  <a:cubicBezTo>
                    <a:pt x="1209" y="54"/>
                    <a:pt x="1209" y="54"/>
                    <a:pt x="1209" y="54"/>
                  </a:cubicBezTo>
                  <a:cubicBezTo>
                    <a:pt x="1209" y="54"/>
                    <a:pt x="1209" y="55"/>
                    <a:pt x="1209" y="55"/>
                  </a:cubicBezTo>
                  <a:cubicBezTo>
                    <a:pt x="1209" y="55"/>
                    <a:pt x="1209" y="55"/>
                    <a:pt x="1209" y="55"/>
                  </a:cubicBezTo>
                  <a:cubicBezTo>
                    <a:pt x="1209" y="55"/>
                    <a:pt x="1209" y="55"/>
                    <a:pt x="1209" y="55"/>
                  </a:cubicBezTo>
                  <a:cubicBezTo>
                    <a:pt x="1209" y="56"/>
                    <a:pt x="1209" y="56"/>
                    <a:pt x="1209" y="56"/>
                  </a:cubicBezTo>
                  <a:cubicBezTo>
                    <a:pt x="1209" y="56"/>
                    <a:pt x="1209" y="56"/>
                    <a:pt x="1209" y="56"/>
                  </a:cubicBezTo>
                  <a:cubicBezTo>
                    <a:pt x="1208" y="57"/>
                    <a:pt x="1208" y="57"/>
                    <a:pt x="1208" y="57"/>
                  </a:cubicBezTo>
                  <a:cubicBezTo>
                    <a:pt x="1208" y="58"/>
                    <a:pt x="1208" y="58"/>
                    <a:pt x="1208" y="58"/>
                  </a:cubicBezTo>
                  <a:cubicBezTo>
                    <a:pt x="1208" y="58"/>
                    <a:pt x="1208" y="58"/>
                    <a:pt x="1208" y="58"/>
                  </a:cubicBezTo>
                  <a:cubicBezTo>
                    <a:pt x="1208" y="58"/>
                    <a:pt x="1208" y="59"/>
                    <a:pt x="1208" y="59"/>
                  </a:cubicBezTo>
                  <a:cubicBezTo>
                    <a:pt x="1208" y="59"/>
                    <a:pt x="1208" y="59"/>
                    <a:pt x="1208" y="59"/>
                  </a:cubicBezTo>
                  <a:cubicBezTo>
                    <a:pt x="1208" y="60"/>
                    <a:pt x="1208" y="60"/>
                    <a:pt x="1208" y="61"/>
                  </a:cubicBezTo>
                  <a:cubicBezTo>
                    <a:pt x="1208" y="61"/>
                    <a:pt x="1208" y="61"/>
                    <a:pt x="1207" y="61"/>
                  </a:cubicBezTo>
                  <a:cubicBezTo>
                    <a:pt x="1207" y="62"/>
                    <a:pt x="1208" y="63"/>
                    <a:pt x="1207" y="63"/>
                  </a:cubicBezTo>
                  <a:cubicBezTo>
                    <a:pt x="1207" y="64"/>
                    <a:pt x="1207" y="64"/>
                    <a:pt x="1207" y="64"/>
                  </a:cubicBezTo>
                  <a:cubicBezTo>
                    <a:pt x="1207" y="67"/>
                    <a:pt x="1207" y="70"/>
                    <a:pt x="1207" y="73"/>
                  </a:cubicBezTo>
                  <a:cubicBezTo>
                    <a:pt x="1207" y="73"/>
                    <a:pt x="1207" y="73"/>
                    <a:pt x="1207" y="74"/>
                  </a:cubicBezTo>
                  <a:cubicBezTo>
                    <a:pt x="1208" y="74"/>
                    <a:pt x="1207" y="75"/>
                    <a:pt x="1207" y="76"/>
                  </a:cubicBezTo>
                  <a:cubicBezTo>
                    <a:pt x="1208" y="76"/>
                    <a:pt x="1208" y="76"/>
                    <a:pt x="1208" y="76"/>
                  </a:cubicBezTo>
                  <a:cubicBezTo>
                    <a:pt x="1208" y="77"/>
                    <a:pt x="1207" y="78"/>
                    <a:pt x="1208" y="78"/>
                  </a:cubicBezTo>
                  <a:cubicBezTo>
                    <a:pt x="1208" y="78"/>
                    <a:pt x="1208" y="78"/>
                    <a:pt x="1208" y="78"/>
                  </a:cubicBezTo>
                  <a:cubicBezTo>
                    <a:pt x="1208" y="79"/>
                    <a:pt x="1208" y="79"/>
                    <a:pt x="1208" y="80"/>
                  </a:cubicBezTo>
                  <a:cubicBezTo>
                    <a:pt x="1208" y="80"/>
                    <a:pt x="1208" y="80"/>
                    <a:pt x="1208" y="80"/>
                  </a:cubicBezTo>
                  <a:cubicBezTo>
                    <a:pt x="1208" y="80"/>
                    <a:pt x="1208" y="80"/>
                    <a:pt x="1208" y="80"/>
                  </a:cubicBezTo>
                  <a:cubicBezTo>
                    <a:pt x="1208" y="80"/>
                    <a:pt x="1208" y="81"/>
                    <a:pt x="1209" y="81"/>
                  </a:cubicBezTo>
                  <a:cubicBezTo>
                    <a:pt x="1209" y="81"/>
                    <a:pt x="1209" y="81"/>
                    <a:pt x="1209" y="81"/>
                  </a:cubicBezTo>
                  <a:cubicBezTo>
                    <a:pt x="1209" y="82"/>
                    <a:pt x="1209" y="82"/>
                    <a:pt x="1209" y="82"/>
                  </a:cubicBezTo>
                  <a:cubicBezTo>
                    <a:pt x="1209" y="82"/>
                    <a:pt x="1209" y="82"/>
                    <a:pt x="1209" y="82"/>
                  </a:cubicBezTo>
                  <a:cubicBezTo>
                    <a:pt x="1209" y="82"/>
                    <a:pt x="1209" y="83"/>
                    <a:pt x="1209" y="83"/>
                  </a:cubicBezTo>
                  <a:cubicBezTo>
                    <a:pt x="1209" y="83"/>
                    <a:pt x="1209" y="83"/>
                    <a:pt x="1209" y="84"/>
                  </a:cubicBezTo>
                  <a:cubicBezTo>
                    <a:pt x="1209" y="84"/>
                    <a:pt x="1209" y="84"/>
                    <a:pt x="1209" y="84"/>
                  </a:cubicBezTo>
                  <a:cubicBezTo>
                    <a:pt x="1209" y="84"/>
                    <a:pt x="1209" y="84"/>
                    <a:pt x="1210" y="84"/>
                  </a:cubicBezTo>
                  <a:cubicBezTo>
                    <a:pt x="1210" y="85"/>
                    <a:pt x="1210" y="85"/>
                    <a:pt x="1210" y="85"/>
                  </a:cubicBezTo>
                  <a:cubicBezTo>
                    <a:pt x="1210" y="85"/>
                    <a:pt x="1210" y="85"/>
                    <a:pt x="1210" y="85"/>
                  </a:cubicBezTo>
                  <a:cubicBezTo>
                    <a:pt x="1210" y="85"/>
                    <a:pt x="1210" y="85"/>
                    <a:pt x="1210" y="85"/>
                  </a:cubicBezTo>
                  <a:cubicBezTo>
                    <a:pt x="1210" y="86"/>
                    <a:pt x="1210" y="86"/>
                    <a:pt x="1210" y="86"/>
                  </a:cubicBezTo>
                  <a:cubicBezTo>
                    <a:pt x="1210" y="86"/>
                    <a:pt x="1210" y="86"/>
                    <a:pt x="1210" y="86"/>
                  </a:cubicBezTo>
                  <a:cubicBezTo>
                    <a:pt x="1210" y="86"/>
                    <a:pt x="1210" y="86"/>
                    <a:pt x="1210" y="86"/>
                  </a:cubicBezTo>
                  <a:cubicBezTo>
                    <a:pt x="1210" y="87"/>
                    <a:pt x="1210" y="87"/>
                    <a:pt x="1211" y="87"/>
                  </a:cubicBezTo>
                  <a:cubicBezTo>
                    <a:pt x="1211" y="87"/>
                    <a:pt x="1211" y="87"/>
                    <a:pt x="1211" y="87"/>
                  </a:cubicBezTo>
                  <a:cubicBezTo>
                    <a:pt x="1211" y="87"/>
                    <a:pt x="1211" y="88"/>
                    <a:pt x="1211" y="88"/>
                  </a:cubicBezTo>
                  <a:cubicBezTo>
                    <a:pt x="1211" y="88"/>
                    <a:pt x="1211" y="88"/>
                    <a:pt x="1211" y="88"/>
                  </a:cubicBezTo>
                  <a:cubicBezTo>
                    <a:pt x="1211" y="88"/>
                    <a:pt x="1211" y="88"/>
                    <a:pt x="1211" y="89"/>
                  </a:cubicBezTo>
                  <a:cubicBezTo>
                    <a:pt x="1211" y="89"/>
                    <a:pt x="1211" y="89"/>
                    <a:pt x="1211" y="89"/>
                  </a:cubicBezTo>
                  <a:cubicBezTo>
                    <a:pt x="1212" y="89"/>
                    <a:pt x="1211" y="89"/>
                    <a:pt x="1212" y="89"/>
                  </a:cubicBezTo>
                  <a:cubicBezTo>
                    <a:pt x="1212" y="89"/>
                    <a:pt x="1212" y="89"/>
                    <a:pt x="1212" y="89"/>
                  </a:cubicBezTo>
                  <a:cubicBezTo>
                    <a:pt x="1212" y="89"/>
                    <a:pt x="1212" y="90"/>
                    <a:pt x="1212" y="90"/>
                  </a:cubicBezTo>
                  <a:cubicBezTo>
                    <a:pt x="1212" y="90"/>
                    <a:pt x="1212" y="90"/>
                    <a:pt x="1212" y="90"/>
                  </a:cubicBezTo>
                  <a:cubicBezTo>
                    <a:pt x="1212" y="90"/>
                    <a:pt x="1212" y="90"/>
                    <a:pt x="1212" y="90"/>
                  </a:cubicBezTo>
                  <a:cubicBezTo>
                    <a:pt x="1212" y="90"/>
                    <a:pt x="1212" y="90"/>
                    <a:pt x="1212" y="90"/>
                  </a:cubicBezTo>
                  <a:cubicBezTo>
                    <a:pt x="1213" y="91"/>
                    <a:pt x="1213" y="91"/>
                    <a:pt x="1213" y="91"/>
                  </a:cubicBezTo>
                  <a:cubicBezTo>
                    <a:pt x="1213" y="91"/>
                    <a:pt x="1213" y="91"/>
                    <a:pt x="1213" y="91"/>
                  </a:cubicBezTo>
                  <a:cubicBezTo>
                    <a:pt x="1213" y="92"/>
                    <a:pt x="1213" y="92"/>
                    <a:pt x="1213" y="92"/>
                  </a:cubicBezTo>
                  <a:cubicBezTo>
                    <a:pt x="1213" y="92"/>
                    <a:pt x="1213" y="92"/>
                    <a:pt x="1213" y="92"/>
                  </a:cubicBezTo>
                  <a:cubicBezTo>
                    <a:pt x="1214" y="92"/>
                    <a:pt x="1214" y="92"/>
                    <a:pt x="1214" y="92"/>
                  </a:cubicBezTo>
                  <a:cubicBezTo>
                    <a:pt x="1214" y="92"/>
                    <a:pt x="1214" y="92"/>
                    <a:pt x="1214" y="92"/>
                  </a:cubicBezTo>
                  <a:cubicBezTo>
                    <a:pt x="1214" y="93"/>
                    <a:pt x="1214" y="93"/>
                    <a:pt x="1214" y="93"/>
                  </a:cubicBezTo>
                  <a:cubicBezTo>
                    <a:pt x="1214" y="93"/>
                    <a:pt x="1214" y="93"/>
                    <a:pt x="1214" y="93"/>
                  </a:cubicBezTo>
                  <a:cubicBezTo>
                    <a:pt x="1214" y="93"/>
                    <a:pt x="1214" y="93"/>
                    <a:pt x="1214" y="93"/>
                  </a:cubicBezTo>
                  <a:cubicBezTo>
                    <a:pt x="1214" y="93"/>
                    <a:pt x="1214" y="93"/>
                    <a:pt x="1214" y="93"/>
                  </a:cubicBezTo>
                  <a:cubicBezTo>
                    <a:pt x="1215" y="93"/>
                    <a:pt x="1215" y="94"/>
                    <a:pt x="1215" y="94"/>
                  </a:cubicBezTo>
                  <a:cubicBezTo>
                    <a:pt x="1215" y="94"/>
                    <a:pt x="1215" y="94"/>
                    <a:pt x="1215" y="94"/>
                  </a:cubicBezTo>
                  <a:cubicBezTo>
                    <a:pt x="1215" y="94"/>
                    <a:pt x="1215" y="94"/>
                    <a:pt x="1216" y="94"/>
                  </a:cubicBezTo>
                  <a:cubicBezTo>
                    <a:pt x="1216" y="94"/>
                    <a:pt x="1216" y="94"/>
                    <a:pt x="1216" y="94"/>
                  </a:cubicBezTo>
                  <a:cubicBezTo>
                    <a:pt x="1216" y="95"/>
                    <a:pt x="1216" y="95"/>
                    <a:pt x="1216" y="95"/>
                  </a:cubicBezTo>
                  <a:cubicBezTo>
                    <a:pt x="1216" y="95"/>
                    <a:pt x="1216" y="95"/>
                    <a:pt x="1216" y="95"/>
                  </a:cubicBezTo>
                  <a:cubicBezTo>
                    <a:pt x="1216" y="95"/>
                    <a:pt x="1216" y="95"/>
                    <a:pt x="1216" y="95"/>
                  </a:cubicBezTo>
                  <a:cubicBezTo>
                    <a:pt x="1216" y="95"/>
                    <a:pt x="1216" y="95"/>
                    <a:pt x="1216" y="95"/>
                  </a:cubicBezTo>
                  <a:cubicBezTo>
                    <a:pt x="1216" y="95"/>
                    <a:pt x="1216" y="95"/>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7"/>
                    <a:pt x="1218" y="97"/>
                  </a:cubicBezTo>
                  <a:cubicBezTo>
                    <a:pt x="1218" y="97"/>
                    <a:pt x="1218" y="97"/>
                    <a:pt x="1218" y="97"/>
                  </a:cubicBezTo>
                  <a:cubicBezTo>
                    <a:pt x="1218" y="97"/>
                    <a:pt x="1218" y="97"/>
                    <a:pt x="1219" y="97"/>
                  </a:cubicBezTo>
                  <a:cubicBezTo>
                    <a:pt x="1219" y="97"/>
                    <a:pt x="1219" y="97"/>
                    <a:pt x="1219" y="97"/>
                  </a:cubicBezTo>
                  <a:cubicBezTo>
                    <a:pt x="1219" y="97"/>
                    <a:pt x="1219" y="98"/>
                    <a:pt x="1219" y="98"/>
                  </a:cubicBezTo>
                  <a:cubicBezTo>
                    <a:pt x="1219" y="98"/>
                    <a:pt x="1219" y="98"/>
                    <a:pt x="1219" y="98"/>
                  </a:cubicBezTo>
                  <a:cubicBezTo>
                    <a:pt x="1219" y="98"/>
                    <a:pt x="1219" y="98"/>
                    <a:pt x="1219" y="98"/>
                  </a:cubicBezTo>
                  <a:cubicBezTo>
                    <a:pt x="1219" y="98"/>
                    <a:pt x="1219" y="98"/>
                    <a:pt x="1219" y="98"/>
                  </a:cubicBezTo>
                  <a:cubicBezTo>
                    <a:pt x="1219" y="98"/>
                    <a:pt x="1220" y="98"/>
                    <a:pt x="1220" y="98"/>
                  </a:cubicBezTo>
                  <a:cubicBezTo>
                    <a:pt x="1220" y="98"/>
                    <a:pt x="1220" y="98"/>
                    <a:pt x="1220" y="98"/>
                  </a:cubicBezTo>
                  <a:cubicBezTo>
                    <a:pt x="1220" y="99"/>
                    <a:pt x="1220" y="99"/>
                    <a:pt x="1220" y="99"/>
                  </a:cubicBezTo>
                  <a:cubicBezTo>
                    <a:pt x="1220" y="99"/>
                    <a:pt x="1220" y="99"/>
                    <a:pt x="1220" y="99"/>
                  </a:cubicBezTo>
                  <a:cubicBezTo>
                    <a:pt x="1221" y="99"/>
                    <a:pt x="1221" y="99"/>
                    <a:pt x="1221" y="99"/>
                  </a:cubicBezTo>
                  <a:cubicBezTo>
                    <a:pt x="1221" y="99"/>
                    <a:pt x="1221" y="99"/>
                    <a:pt x="1221" y="99"/>
                  </a:cubicBezTo>
                  <a:cubicBezTo>
                    <a:pt x="1221" y="99"/>
                    <a:pt x="1222" y="99"/>
                    <a:pt x="1222" y="99"/>
                  </a:cubicBezTo>
                  <a:cubicBezTo>
                    <a:pt x="1222" y="99"/>
                    <a:pt x="1222" y="99"/>
                    <a:pt x="1222" y="99"/>
                  </a:cubicBezTo>
                  <a:cubicBezTo>
                    <a:pt x="1222" y="100"/>
                    <a:pt x="1222" y="100"/>
                    <a:pt x="1222" y="100"/>
                  </a:cubicBezTo>
                  <a:cubicBezTo>
                    <a:pt x="1222" y="100"/>
                    <a:pt x="1222" y="100"/>
                    <a:pt x="1222" y="100"/>
                  </a:cubicBezTo>
                  <a:cubicBezTo>
                    <a:pt x="1222" y="100"/>
                    <a:pt x="1222" y="100"/>
                    <a:pt x="1222" y="100"/>
                  </a:cubicBezTo>
                  <a:cubicBezTo>
                    <a:pt x="1223" y="100"/>
                    <a:pt x="1223" y="100"/>
                    <a:pt x="1223" y="100"/>
                  </a:cubicBezTo>
                  <a:cubicBezTo>
                    <a:pt x="1223" y="100"/>
                    <a:pt x="1223" y="100"/>
                    <a:pt x="1223" y="100"/>
                  </a:cubicBezTo>
                  <a:cubicBezTo>
                    <a:pt x="1223" y="100"/>
                    <a:pt x="1223" y="100"/>
                    <a:pt x="1224" y="100"/>
                  </a:cubicBezTo>
                  <a:cubicBezTo>
                    <a:pt x="1224" y="100"/>
                    <a:pt x="1224" y="100"/>
                    <a:pt x="1224" y="100"/>
                  </a:cubicBezTo>
                  <a:cubicBezTo>
                    <a:pt x="1224" y="101"/>
                    <a:pt x="1224" y="101"/>
                    <a:pt x="1224" y="101"/>
                  </a:cubicBezTo>
                  <a:cubicBezTo>
                    <a:pt x="1224" y="101"/>
                    <a:pt x="1224" y="101"/>
                    <a:pt x="1225" y="101"/>
                  </a:cubicBezTo>
                  <a:cubicBezTo>
                    <a:pt x="1225" y="101"/>
                    <a:pt x="1225" y="101"/>
                    <a:pt x="1225" y="101"/>
                  </a:cubicBezTo>
                  <a:cubicBezTo>
                    <a:pt x="1225" y="101"/>
                    <a:pt x="1225" y="101"/>
                    <a:pt x="1225" y="101"/>
                  </a:cubicBezTo>
                  <a:cubicBezTo>
                    <a:pt x="1225" y="101"/>
                    <a:pt x="1225" y="101"/>
                    <a:pt x="1225" y="101"/>
                  </a:cubicBezTo>
                  <a:cubicBezTo>
                    <a:pt x="1226" y="102"/>
                    <a:pt x="1226" y="101"/>
                    <a:pt x="1226" y="101"/>
                  </a:cubicBezTo>
                  <a:cubicBezTo>
                    <a:pt x="1226" y="101"/>
                    <a:pt x="1226" y="101"/>
                    <a:pt x="1226" y="101"/>
                  </a:cubicBezTo>
                  <a:cubicBezTo>
                    <a:pt x="1227" y="102"/>
                    <a:pt x="1227" y="102"/>
                    <a:pt x="1227" y="102"/>
                  </a:cubicBezTo>
                  <a:cubicBezTo>
                    <a:pt x="1227" y="102"/>
                    <a:pt x="1227" y="102"/>
                    <a:pt x="1227" y="102"/>
                  </a:cubicBezTo>
                  <a:cubicBezTo>
                    <a:pt x="1228" y="102"/>
                    <a:pt x="1228" y="102"/>
                    <a:pt x="1229" y="102"/>
                  </a:cubicBezTo>
                  <a:cubicBezTo>
                    <a:pt x="1229" y="102"/>
                    <a:pt x="1229" y="102"/>
                    <a:pt x="1229" y="102"/>
                  </a:cubicBezTo>
                  <a:cubicBezTo>
                    <a:pt x="1229" y="102"/>
                    <a:pt x="1229" y="102"/>
                    <a:pt x="1229" y="102"/>
                  </a:cubicBezTo>
                  <a:cubicBezTo>
                    <a:pt x="1229" y="103"/>
                    <a:pt x="1230" y="102"/>
                    <a:pt x="1230" y="103"/>
                  </a:cubicBezTo>
                  <a:cubicBezTo>
                    <a:pt x="1230" y="102"/>
                    <a:pt x="1230" y="102"/>
                    <a:pt x="1230" y="102"/>
                  </a:cubicBezTo>
                  <a:cubicBezTo>
                    <a:pt x="1230" y="103"/>
                    <a:pt x="1230" y="103"/>
                    <a:pt x="1230" y="103"/>
                  </a:cubicBezTo>
                  <a:cubicBezTo>
                    <a:pt x="1231" y="103"/>
                    <a:pt x="1232" y="103"/>
                    <a:pt x="1232" y="103"/>
                  </a:cubicBezTo>
                  <a:cubicBezTo>
                    <a:pt x="1232" y="103"/>
                    <a:pt x="1232" y="103"/>
                    <a:pt x="1233" y="103"/>
                  </a:cubicBezTo>
                  <a:cubicBezTo>
                    <a:pt x="1234" y="103"/>
                    <a:pt x="1235" y="103"/>
                    <a:pt x="1236" y="103"/>
                  </a:cubicBezTo>
                  <a:cubicBezTo>
                    <a:pt x="1237" y="103"/>
                    <a:pt x="1238" y="103"/>
                    <a:pt x="1239" y="103"/>
                  </a:cubicBezTo>
                  <a:cubicBezTo>
                    <a:pt x="1241" y="103"/>
                    <a:pt x="1242" y="103"/>
                    <a:pt x="1244" y="103"/>
                  </a:cubicBezTo>
                  <a:cubicBezTo>
                    <a:pt x="1244" y="103"/>
                    <a:pt x="1244" y="103"/>
                    <a:pt x="1244" y="103"/>
                  </a:cubicBezTo>
                  <a:cubicBezTo>
                    <a:pt x="1245" y="103"/>
                    <a:pt x="1246" y="103"/>
                    <a:pt x="1246" y="103"/>
                  </a:cubicBezTo>
                  <a:cubicBezTo>
                    <a:pt x="1246" y="103"/>
                    <a:pt x="1247" y="103"/>
                    <a:pt x="1247" y="103"/>
                  </a:cubicBezTo>
                  <a:cubicBezTo>
                    <a:pt x="1247" y="102"/>
                    <a:pt x="1248" y="103"/>
                    <a:pt x="1248" y="102"/>
                  </a:cubicBezTo>
                  <a:cubicBezTo>
                    <a:pt x="1248" y="102"/>
                    <a:pt x="1248" y="102"/>
                    <a:pt x="1248" y="102"/>
                  </a:cubicBezTo>
                  <a:cubicBezTo>
                    <a:pt x="1248" y="102"/>
                    <a:pt x="1248" y="102"/>
                    <a:pt x="1248" y="102"/>
                  </a:cubicBezTo>
                  <a:cubicBezTo>
                    <a:pt x="1249" y="102"/>
                    <a:pt x="1249" y="102"/>
                    <a:pt x="1250" y="102"/>
                  </a:cubicBezTo>
                  <a:cubicBezTo>
                    <a:pt x="1250" y="102"/>
                    <a:pt x="1250" y="102"/>
                    <a:pt x="1250" y="102"/>
                  </a:cubicBezTo>
                  <a:cubicBezTo>
                    <a:pt x="1250" y="102"/>
                    <a:pt x="1250" y="102"/>
                    <a:pt x="1250" y="102"/>
                  </a:cubicBezTo>
                  <a:cubicBezTo>
                    <a:pt x="1250" y="102"/>
                    <a:pt x="1251" y="102"/>
                    <a:pt x="1251" y="102"/>
                  </a:cubicBezTo>
                  <a:cubicBezTo>
                    <a:pt x="1251" y="101"/>
                    <a:pt x="1251" y="101"/>
                    <a:pt x="1251" y="101"/>
                  </a:cubicBezTo>
                  <a:cubicBezTo>
                    <a:pt x="1251" y="101"/>
                    <a:pt x="1251" y="101"/>
                    <a:pt x="1251" y="101"/>
                  </a:cubicBezTo>
                  <a:cubicBezTo>
                    <a:pt x="1252" y="101"/>
                    <a:pt x="1252" y="101"/>
                    <a:pt x="1252" y="101"/>
                  </a:cubicBezTo>
                  <a:cubicBezTo>
                    <a:pt x="1252" y="101"/>
                    <a:pt x="1252" y="101"/>
                    <a:pt x="1252" y="101"/>
                  </a:cubicBezTo>
                  <a:cubicBezTo>
                    <a:pt x="1252" y="101"/>
                    <a:pt x="1252" y="101"/>
                    <a:pt x="1252" y="101"/>
                  </a:cubicBezTo>
                  <a:cubicBezTo>
                    <a:pt x="1253" y="101"/>
                    <a:pt x="1253" y="101"/>
                    <a:pt x="1253" y="101"/>
                  </a:cubicBezTo>
                  <a:cubicBezTo>
                    <a:pt x="1253" y="101"/>
                    <a:pt x="1253" y="101"/>
                    <a:pt x="1253" y="101"/>
                  </a:cubicBezTo>
                  <a:cubicBezTo>
                    <a:pt x="1253" y="101"/>
                    <a:pt x="1253" y="101"/>
                    <a:pt x="1253" y="101"/>
                  </a:cubicBezTo>
                  <a:cubicBezTo>
                    <a:pt x="1254" y="101"/>
                    <a:pt x="1254" y="101"/>
                    <a:pt x="1254" y="100"/>
                  </a:cubicBezTo>
                  <a:cubicBezTo>
                    <a:pt x="1254" y="100"/>
                    <a:pt x="1254" y="100"/>
                    <a:pt x="1254" y="100"/>
                  </a:cubicBezTo>
                  <a:cubicBezTo>
                    <a:pt x="1254" y="100"/>
                    <a:pt x="1255" y="100"/>
                    <a:pt x="1255" y="100"/>
                  </a:cubicBezTo>
                  <a:cubicBezTo>
                    <a:pt x="1255" y="100"/>
                    <a:pt x="1255" y="100"/>
                    <a:pt x="1255" y="100"/>
                  </a:cubicBezTo>
                  <a:cubicBezTo>
                    <a:pt x="1255" y="100"/>
                    <a:pt x="1256" y="100"/>
                    <a:pt x="1256" y="100"/>
                  </a:cubicBezTo>
                  <a:cubicBezTo>
                    <a:pt x="1256" y="100"/>
                    <a:pt x="1256" y="100"/>
                    <a:pt x="1256" y="100"/>
                  </a:cubicBezTo>
                  <a:cubicBezTo>
                    <a:pt x="1256" y="100"/>
                    <a:pt x="1256" y="100"/>
                    <a:pt x="1257" y="99"/>
                  </a:cubicBezTo>
                  <a:cubicBezTo>
                    <a:pt x="1257" y="99"/>
                    <a:pt x="1257" y="99"/>
                    <a:pt x="1257" y="99"/>
                  </a:cubicBezTo>
                  <a:cubicBezTo>
                    <a:pt x="1257" y="99"/>
                    <a:pt x="1257" y="99"/>
                    <a:pt x="1257" y="99"/>
                  </a:cubicBezTo>
                  <a:cubicBezTo>
                    <a:pt x="1257" y="99"/>
                    <a:pt x="1257" y="99"/>
                    <a:pt x="1257" y="99"/>
                  </a:cubicBezTo>
                  <a:cubicBezTo>
                    <a:pt x="1257" y="99"/>
                    <a:pt x="1258" y="99"/>
                    <a:pt x="1258" y="99"/>
                  </a:cubicBezTo>
                  <a:cubicBezTo>
                    <a:pt x="1258" y="99"/>
                    <a:pt x="1258" y="99"/>
                    <a:pt x="1258" y="99"/>
                  </a:cubicBezTo>
                  <a:cubicBezTo>
                    <a:pt x="1258" y="99"/>
                    <a:pt x="1259" y="99"/>
                    <a:pt x="1259" y="98"/>
                  </a:cubicBezTo>
                  <a:cubicBezTo>
                    <a:pt x="1259" y="98"/>
                    <a:pt x="1259" y="98"/>
                    <a:pt x="1259" y="98"/>
                  </a:cubicBezTo>
                  <a:cubicBezTo>
                    <a:pt x="1259" y="98"/>
                    <a:pt x="1259" y="98"/>
                    <a:pt x="1259" y="98"/>
                  </a:cubicBezTo>
                  <a:cubicBezTo>
                    <a:pt x="1259" y="98"/>
                    <a:pt x="1259" y="98"/>
                    <a:pt x="1259" y="98"/>
                  </a:cubicBezTo>
                  <a:cubicBezTo>
                    <a:pt x="1259" y="98"/>
                    <a:pt x="1260" y="98"/>
                    <a:pt x="1260" y="98"/>
                  </a:cubicBezTo>
                  <a:cubicBezTo>
                    <a:pt x="1260" y="98"/>
                    <a:pt x="1260" y="98"/>
                    <a:pt x="1260" y="98"/>
                  </a:cubicBezTo>
                  <a:cubicBezTo>
                    <a:pt x="1260" y="98"/>
                    <a:pt x="1260" y="97"/>
                    <a:pt x="1260" y="97"/>
                  </a:cubicBezTo>
                  <a:cubicBezTo>
                    <a:pt x="1260" y="97"/>
                    <a:pt x="1260" y="97"/>
                    <a:pt x="1260" y="97"/>
                  </a:cubicBezTo>
                  <a:cubicBezTo>
                    <a:pt x="1260" y="97"/>
                    <a:pt x="1261" y="97"/>
                    <a:pt x="1261" y="97"/>
                  </a:cubicBezTo>
                  <a:cubicBezTo>
                    <a:pt x="1261" y="97"/>
                    <a:pt x="1261" y="97"/>
                    <a:pt x="1261" y="97"/>
                  </a:cubicBezTo>
                  <a:cubicBezTo>
                    <a:pt x="1261" y="94"/>
                    <a:pt x="1261" y="91"/>
                    <a:pt x="1261" y="87"/>
                  </a:cubicBezTo>
                  <a:cubicBezTo>
                    <a:pt x="1261" y="86"/>
                    <a:pt x="1260" y="87"/>
                    <a:pt x="1260" y="87"/>
                  </a:cubicBezTo>
                  <a:cubicBezTo>
                    <a:pt x="1260" y="87"/>
                    <a:pt x="1260" y="87"/>
                    <a:pt x="1260" y="87"/>
                  </a:cubicBezTo>
                  <a:cubicBezTo>
                    <a:pt x="1260" y="87"/>
                    <a:pt x="1260" y="87"/>
                    <a:pt x="1259" y="88"/>
                  </a:cubicBezTo>
                  <a:cubicBezTo>
                    <a:pt x="1259" y="88"/>
                    <a:pt x="1259" y="88"/>
                    <a:pt x="1259" y="88"/>
                  </a:cubicBezTo>
                  <a:cubicBezTo>
                    <a:pt x="1259" y="88"/>
                    <a:pt x="1259" y="88"/>
                    <a:pt x="1259" y="88"/>
                  </a:cubicBezTo>
                  <a:cubicBezTo>
                    <a:pt x="1259" y="88"/>
                    <a:pt x="1259" y="88"/>
                    <a:pt x="1259" y="88"/>
                  </a:cubicBezTo>
                  <a:cubicBezTo>
                    <a:pt x="1259" y="88"/>
                    <a:pt x="1258" y="88"/>
                    <a:pt x="1258" y="88"/>
                  </a:cubicBezTo>
                  <a:cubicBezTo>
                    <a:pt x="1258" y="88"/>
                    <a:pt x="1258" y="88"/>
                    <a:pt x="1258" y="88"/>
                  </a:cubicBezTo>
                  <a:cubicBezTo>
                    <a:pt x="1258" y="88"/>
                    <a:pt x="1258" y="88"/>
                    <a:pt x="1258" y="89"/>
                  </a:cubicBezTo>
                  <a:cubicBezTo>
                    <a:pt x="1258" y="89"/>
                    <a:pt x="1258" y="89"/>
                    <a:pt x="1258" y="89"/>
                  </a:cubicBezTo>
                  <a:cubicBezTo>
                    <a:pt x="1258" y="89"/>
                    <a:pt x="1257" y="89"/>
                    <a:pt x="1257" y="89"/>
                  </a:cubicBezTo>
                  <a:cubicBezTo>
                    <a:pt x="1257" y="89"/>
                    <a:pt x="1257" y="89"/>
                    <a:pt x="1257" y="89"/>
                  </a:cubicBezTo>
                  <a:cubicBezTo>
                    <a:pt x="1257" y="89"/>
                    <a:pt x="1257" y="89"/>
                    <a:pt x="1257" y="89"/>
                  </a:cubicBezTo>
                  <a:cubicBezTo>
                    <a:pt x="1257" y="89"/>
                    <a:pt x="1257" y="89"/>
                    <a:pt x="1257" y="89"/>
                  </a:cubicBezTo>
                  <a:cubicBezTo>
                    <a:pt x="1256" y="90"/>
                    <a:pt x="1256" y="89"/>
                    <a:pt x="1256" y="90"/>
                  </a:cubicBezTo>
                  <a:cubicBezTo>
                    <a:pt x="1256" y="90"/>
                    <a:pt x="1256" y="90"/>
                    <a:pt x="1256" y="90"/>
                  </a:cubicBezTo>
                  <a:cubicBezTo>
                    <a:pt x="1256" y="90"/>
                    <a:pt x="1255" y="90"/>
                    <a:pt x="1255" y="90"/>
                  </a:cubicBezTo>
                  <a:cubicBezTo>
                    <a:pt x="1255" y="90"/>
                    <a:pt x="1255" y="90"/>
                    <a:pt x="1255" y="90"/>
                  </a:cubicBezTo>
                  <a:cubicBezTo>
                    <a:pt x="1255" y="90"/>
                    <a:pt x="1255" y="90"/>
                    <a:pt x="1255" y="90"/>
                  </a:cubicBezTo>
                  <a:cubicBezTo>
                    <a:pt x="1255" y="90"/>
                    <a:pt x="1255" y="90"/>
                    <a:pt x="1255" y="90"/>
                  </a:cubicBezTo>
                  <a:cubicBezTo>
                    <a:pt x="1255" y="90"/>
                    <a:pt x="1255" y="90"/>
                    <a:pt x="1255" y="90"/>
                  </a:cubicBezTo>
                  <a:cubicBezTo>
                    <a:pt x="1254" y="91"/>
                    <a:pt x="1254" y="90"/>
                    <a:pt x="1254" y="91"/>
                  </a:cubicBezTo>
                  <a:cubicBezTo>
                    <a:pt x="1254" y="91"/>
                    <a:pt x="1254" y="91"/>
                    <a:pt x="1254" y="91"/>
                  </a:cubicBezTo>
                  <a:cubicBezTo>
                    <a:pt x="1254" y="91"/>
                    <a:pt x="1253" y="91"/>
                    <a:pt x="1253" y="91"/>
                  </a:cubicBezTo>
                  <a:cubicBezTo>
                    <a:pt x="1253" y="91"/>
                    <a:pt x="1253" y="91"/>
                    <a:pt x="1253" y="91"/>
                  </a:cubicBezTo>
                  <a:cubicBezTo>
                    <a:pt x="1253" y="91"/>
                    <a:pt x="1253" y="91"/>
                    <a:pt x="1252" y="91"/>
                  </a:cubicBezTo>
                  <a:cubicBezTo>
                    <a:pt x="1252" y="91"/>
                    <a:pt x="1252" y="91"/>
                    <a:pt x="1252" y="91"/>
                  </a:cubicBezTo>
                  <a:cubicBezTo>
                    <a:pt x="1252" y="92"/>
                    <a:pt x="1252" y="91"/>
                    <a:pt x="1251" y="92"/>
                  </a:cubicBezTo>
                  <a:cubicBezTo>
                    <a:pt x="1251" y="92"/>
                    <a:pt x="1251" y="92"/>
                    <a:pt x="1251" y="92"/>
                  </a:cubicBezTo>
                  <a:cubicBezTo>
                    <a:pt x="1251" y="92"/>
                    <a:pt x="1251" y="92"/>
                    <a:pt x="1251" y="92"/>
                  </a:cubicBezTo>
                  <a:cubicBezTo>
                    <a:pt x="1251" y="92"/>
                    <a:pt x="1251" y="92"/>
                    <a:pt x="1250" y="92"/>
                  </a:cubicBezTo>
                  <a:cubicBezTo>
                    <a:pt x="1250" y="92"/>
                    <a:pt x="1250" y="92"/>
                    <a:pt x="1250" y="92"/>
                  </a:cubicBezTo>
                  <a:cubicBezTo>
                    <a:pt x="1250" y="93"/>
                    <a:pt x="1249" y="93"/>
                    <a:pt x="1249" y="92"/>
                  </a:cubicBezTo>
                  <a:cubicBezTo>
                    <a:pt x="1249" y="93"/>
                    <a:pt x="1249" y="93"/>
                    <a:pt x="1248" y="93"/>
                  </a:cubicBezTo>
                  <a:cubicBezTo>
                    <a:pt x="1248" y="93"/>
                    <a:pt x="1248" y="93"/>
                    <a:pt x="1248" y="93"/>
                  </a:cubicBezTo>
                  <a:cubicBezTo>
                    <a:pt x="1248" y="93"/>
                    <a:pt x="1247" y="93"/>
                    <a:pt x="1247" y="93"/>
                  </a:cubicBezTo>
                  <a:cubicBezTo>
                    <a:pt x="1247" y="93"/>
                    <a:pt x="1247" y="93"/>
                    <a:pt x="1246" y="93"/>
                  </a:cubicBezTo>
                  <a:cubicBezTo>
                    <a:pt x="1246" y="93"/>
                    <a:pt x="1245" y="93"/>
                    <a:pt x="1245" y="93"/>
                  </a:cubicBezTo>
                  <a:cubicBezTo>
                    <a:pt x="1245" y="94"/>
                    <a:pt x="1244" y="94"/>
                    <a:pt x="1244" y="94"/>
                  </a:cubicBezTo>
                  <a:cubicBezTo>
                    <a:pt x="1242" y="94"/>
                    <a:pt x="1239" y="94"/>
                    <a:pt x="1236" y="94"/>
                  </a:cubicBezTo>
                  <a:cubicBezTo>
                    <a:pt x="1236" y="94"/>
                    <a:pt x="1236" y="94"/>
                    <a:pt x="1236" y="93"/>
                  </a:cubicBezTo>
                  <a:cubicBezTo>
                    <a:pt x="1235" y="93"/>
                    <a:pt x="1235" y="93"/>
                    <a:pt x="1234" y="93"/>
                  </a:cubicBezTo>
                  <a:cubicBezTo>
                    <a:pt x="1234" y="93"/>
                    <a:pt x="1234" y="93"/>
                    <a:pt x="1234" y="93"/>
                  </a:cubicBezTo>
                  <a:cubicBezTo>
                    <a:pt x="1234" y="93"/>
                    <a:pt x="1233" y="93"/>
                    <a:pt x="1233" y="93"/>
                  </a:cubicBezTo>
                  <a:cubicBezTo>
                    <a:pt x="1233" y="93"/>
                    <a:pt x="1233" y="93"/>
                    <a:pt x="1233" y="93"/>
                  </a:cubicBezTo>
                  <a:cubicBezTo>
                    <a:pt x="1232" y="93"/>
                    <a:pt x="1232" y="93"/>
                    <a:pt x="1232" y="93"/>
                  </a:cubicBezTo>
                  <a:cubicBezTo>
                    <a:pt x="1232" y="93"/>
                    <a:pt x="1232" y="93"/>
                    <a:pt x="1232" y="93"/>
                  </a:cubicBezTo>
                  <a:cubicBezTo>
                    <a:pt x="1232" y="92"/>
                    <a:pt x="1232" y="92"/>
                    <a:pt x="1232" y="92"/>
                  </a:cubicBezTo>
                  <a:cubicBezTo>
                    <a:pt x="1231" y="92"/>
                    <a:pt x="1231" y="92"/>
                    <a:pt x="1231" y="92"/>
                  </a:cubicBezTo>
                  <a:close/>
                  <a:moveTo>
                    <a:pt x="589" y="84"/>
                  </a:moveTo>
                  <a:cubicBezTo>
                    <a:pt x="589" y="84"/>
                    <a:pt x="589" y="84"/>
                    <a:pt x="589" y="84"/>
                  </a:cubicBezTo>
                  <a:cubicBezTo>
                    <a:pt x="589" y="84"/>
                    <a:pt x="589" y="83"/>
                    <a:pt x="589" y="83"/>
                  </a:cubicBezTo>
                  <a:cubicBezTo>
                    <a:pt x="589" y="83"/>
                    <a:pt x="589" y="83"/>
                    <a:pt x="589" y="82"/>
                  </a:cubicBezTo>
                  <a:cubicBezTo>
                    <a:pt x="589" y="82"/>
                    <a:pt x="589" y="81"/>
                    <a:pt x="589" y="80"/>
                  </a:cubicBezTo>
                  <a:cubicBezTo>
                    <a:pt x="589" y="79"/>
                    <a:pt x="589" y="77"/>
                    <a:pt x="589" y="76"/>
                  </a:cubicBezTo>
                  <a:cubicBezTo>
                    <a:pt x="589" y="75"/>
                    <a:pt x="589" y="74"/>
                    <a:pt x="589" y="73"/>
                  </a:cubicBezTo>
                  <a:cubicBezTo>
                    <a:pt x="589" y="73"/>
                    <a:pt x="589" y="73"/>
                    <a:pt x="589" y="73"/>
                  </a:cubicBezTo>
                  <a:cubicBezTo>
                    <a:pt x="589" y="73"/>
                    <a:pt x="589" y="73"/>
                    <a:pt x="589" y="73"/>
                  </a:cubicBezTo>
                  <a:cubicBezTo>
                    <a:pt x="589" y="73"/>
                    <a:pt x="589" y="72"/>
                    <a:pt x="589" y="72"/>
                  </a:cubicBezTo>
                  <a:cubicBezTo>
                    <a:pt x="589" y="72"/>
                    <a:pt x="588" y="72"/>
                    <a:pt x="589" y="72"/>
                  </a:cubicBezTo>
                  <a:cubicBezTo>
                    <a:pt x="588" y="71"/>
                    <a:pt x="589" y="71"/>
                    <a:pt x="588" y="71"/>
                  </a:cubicBezTo>
                  <a:cubicBezTo>
                    <a:pt x="588" y="71"/>
                    <a:pt x="588" y="71"/>
                    <a:pt x="588" y="71"/>
                  </a:cubicBezTo>
                  <a:cubicBezTo>
                    <a:pt x="588" y="70"/>
                    <a:pt x="588" y="70"/>
                    <a:pt x="588" y="70"/>
                  </a:cubicBezTo>
                  <a:cubicBezTo>
                    <a:pt x="588" y="70"/>
                    <a:pt x="588" y="70"/>
                    <a:pt x="588" y="70"/>
                  </a:cubicBezTo>
                  <a:cubicBezTo>
                    <a:pt x="588" y="69"/>
                    <a:pt x="588" y="69"/>
                    <a:pt x="588" y="69"/>
                  </a:cubicBezTo>
                  <a:cubicBezTo>
                    <a:pt x="588" y="69"/>
                    <a:pt x="588" y="69"/>
                    <a:pt x="588" y="69"/>
                  </a:cubicBezTo>
                  <a:cubicBezTo>
                    <a:pt x="587" y="69"/>
                    <a:pt x="587" y="68"/>
                    <a:pt x="587" y="68"/>
                  </a:cubicBezTo>
                  <a:cubicBezTo>
                    <a:pt x="587" y="68"/>
                    <a:pt x="587" y="68"/>
                    <a:pt x="587" y="68"/>
                  </a:cubicBezTo>
                  <a:cubicBezTo>
                    <a:pt x="587" y="68"/>
                    <a:pt x="587" y="68"/>
                    <a:pt x="587" y="68"/>
                  </a:cubicBezTo>
                  <a:cubicBezTo>
                    <a:pt x="587" y="68"/>
                    <a:pt x="587" y="68"/>
                    <a:pt x="587" y="67"/>
                  </a:cubicBezTo>
                  <a:cubicBezTo>
                    <a:pt x="587" y="67"/>
                    <a:pt x="587" y="67"/>
                    <a:pt x="587" y="67"/>
                  </a:cubicBezTo>
                  <a:cubicBezTo>
                    <a:pt x="587" y="67"/>
                    <a:pt x="587" y="67"/>
                    <a:pt x="587" y="67"/>
                  </a:cubicBezTo>
                  <a:cubicBezTo>
                    <a:pt x="587" y="67"/>
                    <a:pt x="587" y="67"/>
                    <a:pt x="587" y="67"/>
                  </a:cubicBezTo>
                  <a:cubicBezTo>
                    <a:pt x="587" y="67"/>
                    <a:pt x="587" y="67"/>
                    <a:pt x="587" y="67"/>
                  </a:cubicBezTo>
                  <a:cubicBezTo>
                    <a:pt x="586" y="67"/>
                    <a:pt x="586" y="66"/>
                    <a:pt x="586" y="66"/>
                  </a:cubicBezTo>
                  <a:cubicBezTo>
                    <a:pt x="586" y="66"/>
                    <a:pt x="586" y="66"/>
                    <a:pt x="586" y="66"/>
                  </a:cubicBezTo>
                  <a:cubicBezTo>
                    <a:pt x="586" y="66"/>
                    <a:pt x="586" y="65"/>
                    <a:pt x="586" y="65"/>
                  </a:cubicBezTo>
                  <a:cubicBezTo>
                    <a:pt x="586" y="65"/>
                    <a:pt x="586" y="65"/>
                    <a:pt x="586" y="65"/>
                  </a:cubicBezTo>
                  <a:cubicBezTo>
                    <a:pt x="586" y="65"/>
                    <a:pt x="586" y="65"/>
                    <a:pt x="585" y="65"/>
                  </a:cubicBezTo>
                  <a:cubicBezTo>
                    <a:pt x="585" y="65"/>
                    <a:pt x="585" y="65"/>
                    <a:pt x="585" y="65"/>
                  </a:cubicBezTo>
                  <a:cubicBezTo>
                    <a:pt x="585" y="65"/>
                    <a:pt x="585" y="64"/>
                    <a:pt x="585" y="64"/>
                  </a:cubicBezTo>
                  <a:cubicBezTo>
                    <a:pt x="585" y="64"/>
                    <a:pt x="585" y="64"/>
                    <a:pt x="585" y="64"/>
                  </a:cubicBezTo>
                  <a:cubicBezTo>
                    <a:pt x="585" y="64"/>
                    <a:pt x="585" y="64"/>
                    <a:pt x="584" y="64"/>
                  </a:cubicBezTo>
                  <a:cubicBezTo>
                    <a:pt x="584" y="64"/>
                    <a:pt x="584" y="64"/>
                    <a:pt x="584" y="64"/>
                  </a:cubicBezTo>
                  <a:cubicBezTo>
                    <a:pt x="584" y="63"/>
                    <a:pt x="584" y="63"/>
                    <a:pt x="584" y="63"/>
                  </a:cubicBezTo>
                  <a:cubicBezTo>
                    <a:pt x="584" y="63"/>
                    <a:pt x="584" y="63"/>
                    <a:pt x="584" y="63"/>
                  </a:cubicBezTo>
                  <a:cubicBezTo>
                    <a:pt x="584" y="63"/>
                    <a:pt x="584"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0"/>
                    <a:pt x="581" y="60"/>
                    <a:pt x="581" y="60"/>
                  </a:cubicBezTo>
                  <a:cubicBezTo>
                    <a:pt x="581" y="60"/>
                    <a:pt x="581" y="60"/>
                    <a:pt x="581" y="60"/>
                  </a:cubicBezTo>
                  <a:cubicBezTo>
                    <a:pt x="581" y="60"/>
                    <a:pt x="581" y="60"/>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79" y="59"/>
                    <a:pt x="579" y="58"/>
                    <a:pt x="579" y="58"/>
                  </a:cubicBezTo>
                  <a:cubicBezTo>
                    <a:pt x="579" y="58"/>
                    <a:pt x="579" y="58"/>
                    <a:pt x="579" y="58"/>
                  </a:cubicBezTo>
                  <a:cubicBezTo>
                    <a:pt x="579" y="58"/>
                    <a:pt x="578" y="58"/>
                    <a:pt x="578" y="58"/>
                  </a:cubicBezTo>
                  <a:cubicBezTo>
                    <a:pt x="578" y="58"/>
                    <a:pt x="578" y="58"/>
                    <a:pt x="578" y="58"/>
                  </a:cubicBezTo>
                  <a:cubicBezTo>
                    <a:pt x="578" y="58"/>
                    <a:pt x="578" y="57"/>
                    <a:pt x="578" y="57"/>
                  </a:cubicBezTo>
                  <a:cubicBezTo>
                    <a:pt x="578" y="57"/>
                    <a:pt x="578" y="57"/>
                    <a:pt x="578" y="57"/>
                  </a:cubicBezTo>
                  <a:cubicBezTo>
                    <a:pt x="578" y="57"/>
                    <a:pt x="578" y="57"/>
                    <a:pt x="577" y="57"/>
                  </a:cubicBezTo>
                  <a:cubicBezTo>
                    <a:pt x="577" y="57"/>
                    <a:pt x="577" y="57"/>
                    <a:pt x="577" y="57"/>
                  </a:cubicBezTo>
                  <a:cubicBezTo>
                    <a:pt x="577" y="57"/>
                    <a:pt x="577" y="57"/>
                    <a:pt x="577" y="57"/>
                  </a:cubicBezTo>
                  <a:cubicBezTo>
                    <a:pt x="577" y="57"/>
                    <a:pt x="577" y="57"/>
                    <a:pt x="577" y="57"/>
                  </a:cubicBezTo>
                  <a:cubicBezTo>
                    <a:pt x="577" y="56"/>
                    <a:pt x="577" y="56"/>
                    <a:pt x="576" y="56"/>
                  </a:cubicBezTo>
                  <a:cubicBezTo>
                    <a:pt x="576" y="56"/>
                    <a:pt x="576" y="56"/>
                    <a:pt x="576" y="56"/>
                  </a:cubicBezTo>
                  <a:cubicBezTo>
                    <a:pt x="576" y="56"/>
                    <a:pt x="576" y="56"/>
                    <a:pt x="575" y="56"/>
                  </a:cubicBezTo>
                  <a:cubicBezTo>
                    <a:pt x="575" y="56"/>
                    <a:pt x="575" y="56"/>
                    <a:pt x="575" y="56"/>
                  </a:cubicBezTo>
                  <a:cubicBezTo>
                    <a:pt x="575" y="55"/>
                    <a:pt x="575" y="55"/>
                    <a:pt x="575" y="55"/>
                  </a:cubicBezTo>
                  <a:cubicBezTo>
                    <a:pt x="575" y="55"/>
                    <a:pt x="575" y="55"/>
                    <a:pt x="575" y="55"/>
                  </a:cubicBezTo>
                  <a:cubicBezTo>
                    <a:pt x="575" y="55"/>
                    <a:pt x="574" y="55"/>
                    <a:pt x="574" y="55"/>
                  </a:cubicBezTo>
                  <a:cubicBezTo>
                    <a:pt x="574" y="55"/>
                    <a:pt x="574" y="55"/>
                    <a:pt x="574" y="55"/>
                  </a:cubicBezTo>
                  <a:cubicBezTo>
                    <a:pt x="574" y="55"/>
                    <a:pt x="574" y="55"/>
                    <a:pt x="574" y="55"/>
                  </a:cubicBezTo>
                  <a:cubicBezTo>
                    <a:pt x="574" y="55"/>
                    <a:pt x="574" y="55"/>
                    <a:pt x="574" y="55"/>
                  </a:cubicBezTo>
                  <a:cubicBezTo>
                    <a:pt x="574" y="54"/>
                    <a:pt x="573" y="54"/>
                    <a:pt x="573" y="54"/>
                  </a:cubicBezTo>
                  <a:cubicBezTo>
                    <a:pt x="573" y="54"/>
                    <a:pt x="573" y="54"/>
                    <a:pt x="573" y="54"/>
                  </a:cubicBezTo>
                  <a:cubicBezTo>
                    <a:pt x="573" y="54"/>
                    <a:pt x="573" y="54"/>
                    <a:pt x="573" y="54"/>
                  </a:cubicBezTo>
                  <a:cubicBezTo>
                    <a:pt x="573" y="54"/>
                    <a:pt x="573" y="54"/>
                    <a:pt x="573" y="54"/>
                  </a:cubicBezTo>
                  <a:cubicBezTo>
                    <a:pt x="573" y="54"/>
                    <a:pt x="572" y="54"/>
                    <a:pt x="572" y="53"/>
                  </a:cubicBezTo>
                  <a:cubicBezTo>
                    <a:pt x="572" y="54"/>
                    <a:pt x="572" y="54"/>
                    <a:pt x="572" y="54"/>
                  </a:cubicBezTo>
                  <a:cubicBezTo>
                    <a:pt x="572" y="53"/>
                    <a:pt x="572" y="53"/>
                    <a:pt x="572" y="53"/>
                  </a:cubicBezTo>
                  <a:cubicBezTo>
                    <a:pt x="572" y="53"/>
                    <a:pt x="572" y="53"/>
                    <a:pt x="572" y="53"/>
                  </a:cubicBezTo>
                  <a:cubicBezTo>
                    <a:pt x="571" y="53"/>
                    <a:pt x="571" y="53"/>
                    <a:pt x="571" y="53"/>
                  </a:cubicBezTo>
                  <a:cubicBezTo>
                    <a:pt x="571" y="53"/>
                    <a:pt x="571" y="53"/>
                    <a:pt x="571" y="53"/>
                  </a:cubicBezTo>
                  <a:cubicBezTo>
                    <a:pt x="571" y="53"/>
                    <a:pt x="571" y="53"/>
                    <a:pt x="570" y="52"/>
                  </a:cubicBezTo>
                  <a:cubicBezTo>
                    <a:pt x="570" y="52"/>
                    <a:pt x="570" y="52"/>
                    <a:pt x="570" y="52"/>
                  </a:cubicBezTo>
                  <a:cubicBezTo>
                    <a:pt x="570" y="52"/>
                    <a:pt x="570" y="52"/>
                    <a:pt x="570" y="52"/>
                  </a:cubicBezTo>
                  <a:cubicBezTo>
                    <a:pt x="570" y="52"/>
                    <a:pt x="570" y="52"/>
                    <a:pt x="570" y="52"/>
                  </a:cubicBezTo>
                  <a:cubicBezTo>
                    <a:pt x="570" y="52"/>
                    <a:pt x="570" y="52"/>
                    <a:pt x="570" y="52"/>
                  </a:cubicBezTo>
                  <a:cubicBezTo>
                    <a:pt x="570" y="52"/>
                    <a:pt x="570" y="52"/>
                    <a:pt x="569" y="52"/>
                  </a:cubicBezTo>
                  <a:cubicBezTo>
                    <a:pt x="569" y="52"/>
                    <a:pt x="569" y="52"/>
                    <a:pt x="569" y="52"/>
                  </a:cubicBezTo>
                  <a:cubicBezTo>
                    <a:pt x="569" y="52"/>
                    <a:pt x="569" y="52"/>
                    <a:pt x="569" y="51"/>
                  </a:cubicBezTo>
                  <a:cubicBezTo>
                    <a:pt x="569" y="51"/>
                    <a:pt x="569" y="51"/>
                    <a:pt x="569" y="51"/>
                  </a:cubicBezTo>
                  <a:cubicBezTo>
                    <a:pt x="569" y="51"/>
                    <a:pt x="568" y="51"/>
                    <a:pt x="568" y="51"/>
                  </a:cubicBezTo>
                  <a:cubicBezTo>
                    <a:pt x="568" y="51"/>
                    <a:pt x="568" y="51"/>
                    <a:pt x="568" y="51"/>
                  </a:cubicBezTo>
                  <a:cubicBezTo>
                    <a:pt x="568" y="51"/>
                    <a:pt x="568" y="51"/>
                    <a:pt x="568" y="51"/>
                  </a:cubicBezTo>
                  <a:cubicBezTo>
                    <a:pt x="568" y="51"/>
                    <a:pt x="568" y="51"/>
                    <a:pt x="568" y="51"/>
                  </a:cubicBezTo>
                  <a:cubicBezTo>
                    <a:pt x="568" y="50"/>
                    <a:pt x="567" y="51"/>
                    <a:pt x="567" y="50"/>
                  </a:cubicBezTo>
                  <a:cubicBezTo>
                    <a:pt x="567" y="50"/>
                    <a:pt x="567" y="50"/>
                    <a:pt x="567" y="50"/>
                  </a:cubicBezTo>
                  <a:cubicBezTo>
                    <a:pt x="567" y="50"/>
                    <a:pt x="566" y="50"/>
                    <a:pt x="566" y="50"/>
                  </a:cubicBezTo>
                  <a:cubicBezTo>
                    <a:pt x="566" y="50"/>
                    <a:pt x="566" y="50"/>
                    <a:pt x="566" y="50"/>
                  </a:cubicBezTo>
                  <a:cubicBezTo>
                    <a:pt x="566" y="50"/>
                    <a:pt x="566" y="50"/>
                    <a:pt x="566" y="50"/>
                  </a:cubicBezTo>
                  <a:cubicBezTo>
                    <a:pt x="566" y="50"/>
                    <a:pt x="566" y="50"/>
                    <a:pt x="566" y="50"/>
                  </a:cubicBezTo>
                  <a:cubicBezTo>
                    <a:pt x="565" y="50"/>
                    <a:pt x="565" y="49"/>
                    <a:pt x="565" y="49"/>
                  </a:cubicBezTo>
                  <a:cubicBezTo>
                    <a:pt x="565" y="49"/>
                    <a:pt x="565" y="49"/>
                    <a:pt x="565" y="49"/>
                  </a:cubicBezTo>
                  <a:cubicBezTo>
                    <a:pt x="565" y="49"/>
                    <a:pt x="565" y="49"/>
                    <a:pt x="565" y="49"/>
                  </a:cubicBezTo>
                  <a:cubicBezTo>
                    <a:pt x="565" y="49"/>
                    <a:pt x="565" y="49"/>
                    <a:pt x="565" y="49"/>
                  </a:cubicBezTo>
                  <a:cubicBezTo>
                    <a:pt x="565" y="49"/>
                    <a:pt x="565" y="49"/>
                    <a:pt x="565" y="49"/>
                  </a:cubicBezTo>
                  <a:cubicBezTo>
                    <a:pt x="564" y="49"/>
                    <a:pt x="564" y="49"/>
                    <a:pt x="564" y="49"/>
                  </a:cubicBezTo>
                  <a:cubicBezTo>
                    <a:pt x="564" y="49"/>
                    <a:pt x="564" y="49"/>
                    <a:pt x="564" y="49"/>
                  </a:cubicBezTo>
                  <a:cubicBezTo>
                    <a:pt x="564" y="48"/>
                    <a:pt x="563" y="48"/>
                    <a:pt x="563" y="48"/>
                  </a:cubicBezTo>
                  <a:cubicBezTo>
                    <a:pt x="563" y="48"/>
                    <a:pt x="563" y="48"/>
                    <a:pt x="563" y="48"/>
                  </a:cubicBezTo>
                  <a:cubicBezTo>
                    <a:pt x="563" y="48"/>
                    <a:pt x="563" y="48"/>
                    <a:pt x="563" y="48"/>
                  </a:cubicBezTo>
                  <a:cubicBezTo>
                    <a:pt x="563" y="48"/>
                    <a:pt x="563" y="48"/>
                    <a:pt x="563" y="48"/>
                  </a:cubicBezTo>
                  <a:cubicBezTo>
                    <a:pt x="563" y="48"/>
                    <a:pt x="562" y="48"/>
                    <a:pt x="562" y="48"/>
                  </a:cubicBezTo>
                  <a:cubicBezTo>
                    <a:pt x="562" y="48"/>
                    <a:pt x="562" y="48"/>
                    <a:pt x="562" y="48"/>
                  </a:cubicBezTo>
                  <a:cubicBezTo>
                    <a:pt x="562" y="47"/>
                    <a:pt x="562" y="47"/>
                    <a:pt x="561" y="47"/>
                  </a:cubicBezTo>
                  <a:cubicBezTo>
                    <a:pt x="561" y="47"/>
                    <a:pt x="561" y="47"/>
                    <a:pt x="561" y="47"/>
                  </a:cubicBezTo>
                  <a:cubicBezTo>
                    <a:pt x="561" y="47"/>
                    <a:pt x="561" y="47"/>
                    <a:pt x="561" y="47"/>
                  </a:cubicBezTo>
                  <a:cubicBezTo>
                    <a:pt x="561" y="47"/>
                    <a:pt x="561" y="47"/>
                    <a:pt x="561" y="47"/>
                  </a:cubicBezTo>
                  <a:cubicBezTo>
                    <a:pt x="561" y="47"/>
                    <a:pt x="561" y="47"/>
                    <a:pt x="560" y="47"/>
                  </a:cubicBezTo>
                  <a:cubicBezTo>
                    <a:pt x="560" y="47"/>
                    <a:pt x="560" y="47"/>
                    <a:pt x="560" y="47"/>
                  </a:cubicBezTo>
                  <a:cubicBezTo>
                    <a:pt x="560" y="46"/>
                    <a:pt x="560" y="46"/>
                    <a:pt x="560" y="46"/>
                  </a:cubicBezTo>
                  <a:cubicBezTo>
                    <a:pt x="560" y="46"/>
                    <a:pt x="560" y="46"/>
                    <a:pt x="560" y="46"/>
                  </a:cubicBezTo>
                  <a:cubicBezTo>
                    <a:pt x="560" y="46"/>
                    <a:pt x="559" y="46"/>
                    <a:pt x="559" y="46"/>
                  </a:cubicBezTo>
                  <a:cubicBezTo>
                    <a:pt x="559" y="46"/>
                    <a:pt x="559" y="46"/>
                    <a:pt x="559" y="46"/>
                  </a:cubicBezTo>
                  <a:cubicBezTo>
                    <a:pt x="559" y="46"/>
                    <a:pt x="559" y="46"/>
                    <a:pt x="559" y="45"/>
                  </a:cubicBezTo>
                  <a:cubicBezTo>
                    <a:pt x="559" y="45"/>
                    <a:pt x="559" y="45"/>
                    <a:pt x="559" y="45"/>
                  </a:cubicBezTo>
                  <a:cubicBezTo>
                    <a:pt x="559" y="45"/>
                    <a:pt x="558" y="45"/>
                    <a:pt x="558" y="45"/>
                  </a:cubicBezTo>
                  <a:cubicBezTo>
                    <a:pt x="558" y="45"/>
                    <a:pt x="558" y="45"/>
                    <a:pt x="558" y="45"/>
                  </a:cubicBezTo>
                  <a:cubicBezTo>
                    <a:pt x="558" y="45"/>
                    <a:pt x="558" y="45"/>
                    <a:pt x="558" y="45"/>
                  </a:cubicBezTo>
                  <a:cubicBezTo>
                    <a:pt x="558" y="45"/>
                    <a:pt x="558" y="45"/>
                    <a:pt x="558" y="45"/>
                  </a:cubicBezTo>
                  <a:cubicBezTo>
                    <a:pt x="557" y="45"/>
                    <a:pt x="557" y="45"/>
                    <a:pt x="557" y="44"/>
                  </a:cubicBezTo>
                  <a:cubicBezTo>
                    <a:pt x="557" y="45"/>
                    <a:pt x="557" y="45"/>
                    <a:pt x="557" y="45"/>
                  </a:cubicBezTo>
                  <a:cubicBezTo>
                    <a:pt x="557" y="44"/>
                    <a:pt x="557" y="44"/>
                    <a:pt x="557" y="44"/>
                  </a:cubicBezTo>
                  <a:cubicBezTo>
                    <a:pt x="557" y="44"/>
                    <a:pt x="557" y="44"/>
                    <a:pt x="557" y="44"/>
                  </a:cubicBezTo>
                  <a:cubicBezTo>
                    <a:pt x="556" y="44"/>
                    <a:pt x="556" y="44"/>
                    <a:pt x="556" y="44"/>
                  </a:cubicBezTo>
                  <a:cubicBezTo>
                    <a:pt x="556" y="44"/>
                    <a:pt x="556" y="44"/>
                    <a:pt x="556" y="44"/>
                  </a:cubicBezTo>
                  <a:cubicBezTo>
                    <a:pt x="556" y="43"/>
                    <a:pt x="555" y="43"/>
                    <a:pt x="555" y="43"/>
                  </a:cubicBezTo>
                  <a:cubicBezTo>
                    <a:pt x="555" y="43"/>
                    <a:pt x="555" y="43"/>
                    <a:pt x="555" y="43"/>
                  </a:cubicBezTo>
                  <a:cubicBezTo>
                    <a:pt x="555" y="43"/>
                    <a:pt x="555" y="43"/>
                    <a:pt x="555" y="43"/>
                  </a:cubicBezTo>
                  <a:cubicBezTo>
                    <a:pt x="555" y="43"/>
                    <a:pt x="555" y="43"/>
                    <a:pt x="555" y="43"/>
                  </a:cubicBezTo>
                  <a:cubicBezTo>
                    <a:pt x="555" y="43"/>
                    <a:pt x="555" y="42"/>
                    <a:pt x="554" y="42"/>
                  </a:cubicBezTo>
                  <a:cubicBezTo>
                    <a:pt x="554" y="42"/>
                    <a:pt x="554" y="42"/>
                    <a:pt x="554" y="42"/>
                  </a:cubicBezTo>
                  <a:cubicBezTo>
                    <a:pt x="554" y="42"/>
                    <a:pt x="554" y="42"/>
                    <a:pt x="553" y="42"/>
                  </a:cubicBezTo>
                  <a:cubicBezTo>
                    <a:pt x="553" y="42"/>
                    <a:pt x="553" y="42"/>
                    <a:pt x="553" y="42"/>
                  </a:cubicBezTo>
                  <a:cubicBezTo>
                    <a:pt x="553" y="42"/>
                    <a:pt x="553" y="41"/>
                    <a:pt x="553" y="41"/>
                  </a:cubicBezTo>
                  <a:cubicBezTo>
                    <a:pt x="553" y="41"/>
                    <a:pt x="553" y="41"/>
                    <a:pt x="553" y="41"/>
                  </a:cubicBezTo>
                  <a:cubicBezTo>
                    <a:pt x="553" y="41"/>
                    <a:pt x="553" y="41"/>
                    <a:pt x="553" y="41"/>
                  </a:cubicBezTo>
                  <a:cubicBezTo>
                    <a:pt x="553" y="41"/>
                    <a:pt x="553" y="41"/>
                    <a:pt x="553" y="41"/>
                  </a:cubicBezTo>
                  <a:cubicBezTo>
                    <a:pt x="553" y="41"/>
                    <a:pt x="553" y="41"/>
                    <a:pt x="552" y="41"/>
                  </a:cubicBezTo>
                  <a:cubicBezTo>
                    <a:pt x="552" y="41"/>
                    <a:pt x="552" y="41"/>
                    <a:pt x="552" y="41"/>
                  </a:cubicBezTo>
                  <a:cubicBezTo>
                    <a:pt x="552" y="40"/>
                    <a:pt x="552" y="40"/>
                    <a:pt x="551" y="39"/>
                  </a:cubicBezTo>
                  <a:cubicBezTo>
                    <a:pt x="551" y="39"/>
                    <a:pt x="551" y="39"/>
                    <a:pt x="551" y="39"/>
                  </a:cubicBezTo>
                  <a:cubicBezTo>
                    <a:pt x="551" y="39"/>
                    <a:pt x="551" y="39"/>
                    <a:pt x="551" y="39"/>
                  </a:cubicBezTo>
                  <a:cubicBezTo>
                    <a:pt x="551" y="39"/>
                    <a:pt x="551" y="39"/>
                    <a:pt x="551" y="39"/>
                  </a:cubicBezTo>
                  <a:cubicBezTo>
                    <a:pt x="551" y="39"/>
                    <a:pt x="551" y="38"/>
                    <a:pt x="551" y="38"/>
                  </a:cubicBezTo>
                  <a:cubicBezTo>
                    <a:pt x="551" y="38"/>
                    <a:pt x="551" y="38"/>
                    <a:pt x="551" y="38"/>
                  </a:cubicBezTo>
                  <a:cubicBezTo>
                    <a:pt x="551" y="38"/>
                    <a:pt x="550" y="38"/>
                    <a:pt x="550" y="38"/>
                  </a:cubicBezTo>
                  <a:cubicBezTo>
                    <a:pt x="550" y="38"/>
                    <a:pt x="550" y="38"/>
                    <a:pt x="550" y="38"/>
                  </a:cubicBezTo>
                  <a:cubicBezTo>
                    <a:pt x="550" y="38"/>
                    <a:pt x="550" y="37"/>
                    <a:pt x="550" y="37"/>
                  </a:cubicBezTo>
                  <a:cubicBezTo>
                    <a:pt x="550" y="37"/>
                    <a:pt x="550" y="37"/>
                    <a:pt x="550" y="37"/>
                  </a:cubicBezTo>
                  <a:cubicBezTo>
                    <a:pt x="550" y="37"/>
                    <a:pt x="550" y="37"/>
                    <a:pt x="550" y="36"/>
                  </a:cubicBezTo>
                  <a:cubicBezTo>
                    <a:pt x="550" y="36"/>
                    <a:pt x="550" y="36"/>
                    <a:pt x="550" y="36"/>
                  </a:cubicBezTo>
                  <a:cubicBezTo>
                    <a:pt x="550" y="36"/>
                    <a:pt x="550" y="36"/>
                    <a:pt x="550" y="36"/>
                  </a:cubicBezTo>
                  <a:cubicBezTo>
                    <a:pt x="549" y="36"/>
                    <a:pt x="549" y="36"/>
                    <a:pt x="549" y="35"/>
                  </a:cubicBezTo>
                  <a:cubicBezTo>
                    <a:pt x="549" y="35"/>
                    <a:pt x="549" y="35"/>
                    <a:pt x="549" y="35"/>
                  </a:cubicBezTo>
                  <a:cubicBezTo>
                    <a:pt x="549" y="35"/>
                    <a:pt x="549" y="34"/>
                    <a:pt x="549" y="34"/>
                  </a:cubicBezTo>
                  <a:cubicBezTo>
                    <a:pt x="549" y="34"/>
                    <a:pt x="549" y="34"/>
                    <a:pt x="549" y="33"/>
                  </a:cubicBezTo>
                  <a:cubicBezTo>
                    <a:pt x="549" y="31"/>
                    <a:pt x="549" y="29"/>
                    <a:pt x="549" y="27"/>
                  </a:cubicBezTo>
                  <a:cubicBezTo>
                    <a:pt x="549" y="27"/>
                    <a:pt x="549" y="27"/>
                    <a:pt x="549" y="27"/>
                  </a:cubicBezTo>
                  <a:cubicBezTo>
                    <a:pt x="549" y="27"/>
                    <a:pt x="549" y="26"/>
                    <a:pt x="549" y="26"/>
                  </a:cubicBezTo>
                  <a:cubicBezTo>
                    <a:pt x="549" y="26"/>
                    <a:pt x="549" y="26"/>
                    <a:pt x="549" y="26"/>
                  </a:cubicBezTo>
                  <a:cubicBezTo>
                    <a:pt x="549" y="25"/>
                    <a:pt x="549" y="25"/>
                    <a:pt x="550" y="25"/>
                  </a:cubicBezTo>
                  <a:cubicBezTo>
                    <a:pt x="550" y="25"/>
                    <a:pt x="550" y="25"/>
                    <a:pt x="550" y="25"/>
                  </a:cubicBezTo>
                  <a:cubicBezTo>
                    <a:pt x="550" y="25"/>
                    <a:pt x="550" y="24"/>
                    <a:pt x="550" y="24"/>
                  </a:cubicBezTo>
                  <a:cubicBezTo>
                    <a:pt x="550" y="24"/>
                    <a:pt x="550" y="24"/>
                    <a:pt x="550" y="24"/>
                  </a:cubicBezTo>
                  <a:cubicBezTo>
                    <a:pt x="550" y="24"/>
                    <a:pt x="550" y="24"/>
                    <a:pt x="550" y="23"/>
                  </a:cubicBezTo>
                  <a:cubicBezTo>
                    <a:pt x="550" y="24"/>
                    <a:pt x="550" y="24"/>
                    <a:pt x="550" y="24"/>
                  </a:cubicBezTo>
                  <a:cubicBezTo>
                    <a:pt x="551" y="23"/>
                    <a:pt x="550" y="23"/>
                    <a:pt x="551" y="23"/>
                  </a:cubicBezTo>
                  <a:cubicBezTo>
                    <a:pt x="551" y="23"/>
                    <a:pt x="551" y="23"/>
                    <a:pt x="551" y="23"/>
                  </a:cubicBezTo>
                  <a:cubicBezTo>
                    <a:pt x="551" y="23"/>
                    <a:pt x="551" y="23"/>
                    <a:pt x="551" y="22"/>
                  </a:cubicBezTo>
                  <a:cubicBezTo>
                    <a:pt x="551" y="22"/>
                    <a:pt x="551" y="22"/>
                    <a:pt x="551" y="22"/>
                  </a:cubicBezTo>
                  <a:cubicBezTo>
                    <a:pt x="551" y="22"/>
                    <a:pt x="551" y="22"/>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3" y="21"/>
                    <a:pt x="553" y="21"/>
                    <a:pt x="553" y="20"/>
                  </a:cubicBezTo>
                  <a:cubicBezTo>
                    <a:pt x="553" y="20"/>
                    <a:pt x="553" y="20"/>
                    <a:pt x="553" y="20"/>
                  </a:cubicBezTo>
                  <a:cubicBezTo>
                    <a:pt x="553" y="20"/>
                    <a:pt x="554" y="20"/>
                    <a:pt x="554" y="20"/>
                  </a:cubicBezTo>
                  <a:cubicBezTo>
                    <a:pt x="554" y="20"/>
                    <a:pt x="554" y="20"/>
                    <a:pt x="554" y="20"/>
                  </a:cubicBezTo>
                  <a:cubicBezTo>
                    <a:pt x="554" y="20"/>
                    <a:pt x="554" y="19"/>
                    <a:pt x="554" y="19"/>
                  </a:cubicBezTo>
                  <a:cubicBezTo>
                    <a:pt x="554" y="19"/>
                    <a:pt x="554" y="19"/>
                    <a:pt x="554" y="19"/>
                  </a:cubicBezTo>
                  <a:cubicBezTo>
                    <a:pt x="554" y="19"/>
                    <a:pt x="554" y="19"/>
                    <a:pt x="554" y="19"/>
                  </a:cubicBezTo>
                  <a:cubicBezTo>
                    <a:pt x="555" y="19"/>
                    <a:pt x="555" y="19"/>
                    <a:pt x="555" y="19"/>
                  </a:cubicBezTo>
                  <a:cubicBezTo>
                    <a:pt x="555" y="19"/>
                    <a:pt x="555" y="19"/>
                    <a:pt x="555" y="19"/>
                  </a:cubicBezTo>
                  <a:cubicBezTo>
                    <a:pt x="555" y="19"/>
                    <a:pt x="555" y="19"/>
                    <a:pt x="555" y="19"/>
                  </a:cubicBezTo>
                  <a:cubicBezTo>
                    <a:pt x="555" y="18"/>
                    <a:pt x="556" y="19"/>
                    <a:pt x="556" y="18"/>
                  </a:cubicBezTo>
                  <a:cubicBezTo>
                    <a:pt x="556" y="18"/>
                    <a:pt x="556" y="18"/>
                    <a:pt x="556" y="18"/>
                  </a:cubicBezTo>
                  <a:cubicBezTo>
                    <a:pt x="556" y="18"/>
                    <a:pt x="556" y="18"/>
                    <a:pt x="557" y="18"/>
                  </a:cubicBezTo>
                  <a:cubicBezTo>
                    <a:pt x="556" y="18"/>
                    <a:pt x="556" y="18"/>
                    <a:pt x="556" y="18"/>
                  </a:cubicBezTo>
                  <a:cubicBezTo>
                    <a:pt x="557" y="18"/>
                    <a:pt x="557" y="18"/>
                    <a:pt x="557" y="18"/>
                  </a:cubicBezTo>
                  <a:cubicBezTo>
                    <a:pt x="557" y="18"/>
                    <a:pt x="557" y="18"/>
                    <a:pt x="557" y="18"/>
                  </a:cubicBezTo>
                  <a:cubicBezTo>
                    <a:pt x="557" y="17"/>
                    <a:pt x="558" y="17"/>
                    <a:pt x="558" y="17"/>
                  </a:cubicBezTo>
                  <a:cubicBezTo>
                    <a:pt x="558" y="17"/>
                    <a:pt x="558" y="17"/>
                    <a:pt x="558" y="17"/>
                  </a:cubicBezTo>
                  <a:cubicBezTo>
                    <a:pt x="558" y="17"/>
                    <a:pt x="559" y="17"/>
                    <a:pt x="559" y="17"/>
                  </a:cubicBezTo>
                  <a:cubicBezTo>
                    <a:pt x="559" y="17"/>
                    <a:pt x="559" y="17"/>
                    <a:pt x="559" y="17"/>
                  </a:cubicBezTo>
                  <a:cubicBezTo>
                    <a:pt x="559" y="17"/>
                    <a:pt x="560" y="17"/>
                    <a:pt x="560" y="17"/>
                  </a:cubicBezTo>
                  <a:cubicBezTo>
                    <a:pt x="560" y="17"/>
                    <a:pt x="560" y="17"/>
                    <a:pt x="560" y="17"/>
                  </a:cubicBezTo>
                  <a:cubicBezTo>
                    <a:pt x="560" y="17"/>
                    <a:pt x="560" y="17"/>
                    <a:pt x="560" y="17"/>
                  </a:cubicBezTo>
                  <a:cubicBezTo>
                    <a:pt x="561" y="16"/>
                    <a:pt x="561" y="17"/>
                    <a:pt x="562" y="16"/>
                  </a:cubicBezTo>
                  <a:cubicBezTo>
                    <a:pt x="562" y="16"/>
                    <a:pt x="562" y="16"/>
                    <a:pt x="562" y="16"/>
                  </a:cubicBezTo>
                  <a:cubicBezTo>
                    <a:pt x="562" y="16"/>
                    <a:pt x="562" y="16"/>
                    <a:pt x="562" y="16"/>
                  </a:cubicBezTo>
                  <a:cubicBezTo>
                    <a:pt x="563" y="16"/>
                    <a:pt x="564" y="16"/>
                    <a:pt x="565" y="16"/>
                  </a:cubicBezTo>
                  <a:cubicBezTo>
                    <a:pt x="566" y="16"/>
                    <a:pt x="567" y="16"/>
                    <a:pt x="568" y="16"/>
                  </a:cubicBezTo>
                  <a:cubicBezTo>
                    <a:pt x="569" y="16"/>
                    <a:pt x="570" y="16"/>
                    <a:pt x="571" y="16"/>
                  </a:cubicBezTo>
                  <a:cubicBezTo>
                    <a:pt x="571" y="16"/>
                    <a:pt x="572" y="16"/>
                    <a:pt x="572" y="16"/>
                  </a:cubicBezTo>
                  <a:cubicBezTo>
                    <a:pt x="572" y="17"/>
                    <a:pt x="573" y="16"/>
                    <a:pt x="573" y="17"/>
                  </a:cubicBezTo>
                  <a:cubicBezTo>
                    <a:pt x="574" y="16"/>
                    <a:pt x="574" y="16"/>
                    <a:pt x="574" y="16"/>
                  </a:cubicBezTo>
                  <a:cubicBezTo>
                    <a:pt x="574" y="17"/>
                    <a:pt x="574" y="17"/>
                    <a:pt x="574" y="17"/>
                  </a:cubicBezTo>
                  <a:cubicBezTo>
                    <a:pt x="574" y="17"/>
                    <a:pt x="575" y="17"/>
                    <a:pt x="575" y="17"/>
                  </a:cubicBezTo>
                  <a:cubicBezTo>
                    <a:pt x="575" y="17"/>
                    <a:pt x="575" y="17"/>
                    <a:pt x="575" y="17"/>
                  </a:cubicBezTo>
                  <a:cubicBezTo>
                    <a:pt x="575" y="17"/>
                    <a:pt x="575" y="17"/>
                    <a:pt x="575" y="17"/>
                  </a:cubicBezTo>
                  <a:cubicBezTo>
                    <a:pt x="576" y="17"/>
                    <a:pt x="576" y="17"/>
                    <a:pt x="576" y="17"/>
                  </a:cubicBezTo>
                  <a:cubicBezTo>
                    <a:pt x="577" y="17"/>
                    <a:pt x="577" y="17"/>
                    <a:pt x="577" y="17"/>
                  </a:cubicBezTo>
                  <a:cubicBezTo>
                    <a:pt x="577" y="17"/>
                    <a:pt x="577" y="17"/>
                    <a:pt x="577" y="17"/>
                  </a:cubicBezTo>
                  <a:cubicBezTo>
                    <a:pt x="577" y="17"/>
                    <a:pt x="577" y="17"/>
                    <a:pt x="578" y="18"/>
                  </a:cubicBezTo>
                  <a:cubicBezTo>
                    <a:pt x="578" y="18"/>
                    <a:pt x="578" y="18"/>
                    <a:pt x="578" y="18"/>
                  </a:cubicBezTo>
                  <a:cubicBezTo>
                    <a:pt x="578" y="18"/>
                    <a:pt x="578" y="18"/>
                    <a:pt x="578" y="18"/>
                  </a:cubicBezTo>
                  <a:cubicBezTo>
                    <a:pt x="578" y="18"/>
                    <a:pt x="578" y="18"/>
                    <a:pt x="579" y="18"/>
                  </a:cubicBezTo>
                  <a:cubicBezTo>
                    <a:pt x="579" y="18"/>
                    <a:pt x="579" y="18"/>
                    <a:pt x="579" y="18"/>
                  </a:cubicBezTo>
                  <a:cubicBezTo>
                    <a:pt x="579" y="18"/>
                    <a:pt x="579" y="18"/>
                    <a:pt x="580" y="18"/>
                  </a:cubicBezTo>
                  <a:cubicBezTo>
                    <a:pt x="580" y="18"/>
                    <a:pt x="580" y="18"/>
                    <a:pt x="580" y="18"/>
                  </a:cubicBezTo>
                  <a:cubicBezTo>
                    <a:pt x="580" y="19"/>
                    <a:pt x="580" y="18"/>
                    <a:pt x="580" y="19"/>
                  </a:cubicBezTo>
                  <a:cubicBezTo>
                    <a:pt x="580" y="19"/>
                    <a:pt x="580" y="19"/>
                    <a:pt x="580" y="19"/>
                  </a:cubicBezTo>
                  <a:cubicBezTo>
                    <a:pt x="580" y="19"/>
                    <a:pt x="581" y="19"/>
                    <a:pt x="581" y="19"/>
                  </a:cubicBezTo>
                  <a:cubicBezTo>
                    <a:pt x="581" y="19"/>
                    <a:pt x="581" y="19"/>
                    <a:pt x="581" y="19"/>
                  </a:cubicBezTo>
                  <a:cubicBezTo>
                    <a:pt x="581" y="19"/>
                    <a:pt x="581" y="19"/>
                    <a:pt x="582" y="19"/>
                  </a:cubicBezTo>
                  <a:cubicBezTo>
                    <a:pt x="582" y="19"/>
                    <a:pt x="582" y="19"/>
                    <a:pt x="582" y="19"/>
                  </a:cubicBezTo>
                  <a:cubicBezTo>
                    <a:pt x="582" y="20"/>
                    <a:pt x="582" y="19"/>
                    <a:pt x="582" y="20"/>
                  </a:cubicBezTo>
                  <a:cubicBezTo>
                    <a:pt x="582" y="20"/>
                    <a:pt x="582" y="20"/>
                    <a:pt x="582" y="20"/>
                  </a:cubicBezTo>
                  <a:cubicBezTo>
                    <a:pt x="582" y="20"/>
                    <a:pt x="583" y="20"/>
                    <a:pt x="583" y="20"/>
                  </a:cubicBezTo>
                  <a:cubicBezTo>
                    <a:pt x="583" y="20"/>
                    <a:pt x="583" y="20"/>
                    <a:pt x="583" y="20"/>
                  </a:cubicBezTo>
                  <a:cubicBezTo>
                    <a:pt x="583" y="20"/>
                    <a:pt x="583" y="20"/>
                    <a:pt x="583" y="20"/>
                  </a:cubicBezTo>
                  <a:cubicBezTo>
                    <a:pt x="583" y="20"/>
                    <a:pt x="583" y="20"/>
                    <a:pt x="583" y="20"/>
                  </a:cubicBezTo>
                  <a:cubicBezTo>
                    <a:pt x="584" y="21"/>
                    <a:pt x="584" y="21"/>
                    <a:pt x="584" y="21"/>
                  </a:cubicBezTo>
                  <a:cubicBezTo>
                    <a:pt x="584" y="21"/>
                    <a:pt x="584" y="21"/>
                    <a:pt x="584" y="21"/>
                  </a:cubicBezTo>
                  <a:cubicBezTo>
                    <a:pt x="584" y="21"/>
                    <a:pt x="584" y="21"/>
                    <a:pt x="584" y="21"/>
                  </a:cubicBezTo>
                  <a:cubicBezTo>
                    <a:pt x="584" y="21"/>
                    <a:pt x="584" y="21"/>
                    <a:pt x="584" y="21"/>
                  </a:cubicBezTo>
                  <a:cubicBezTo>
                    <a:pt x="585" y="21"/>
                    <a:pt x="585" y="21"/>
                    <a:pt x="585" y="21"/>
                  </a:cubicBezTo>
                  <a:cubicBezTo>
                    <a:pt x="585" y="21"/>
                    <a:pt x="585" y="21"/>
                    <a:pt x="585" y="21"/>
                  </a:cubicBezTo>
                  <a:cubicBezTo>
                    <a:pt x="586" y="21"/>
                    <a:pt x="585" y="21"/>
                    <a:pt x="585" y="20"/>
                  </a:cubicBezTo>
                  <a:cubicBezTo>
                    <a:pt x="585" y="18"/>
                    <a:pt x="585" y="15"/>
                    <a:pt x="585" y="13"/>
                  </a:cubicBezTo>
                  <a:cubicBezTo>
                    <a:pt x="585" y="11"/>
                    <a:pt x="586" y="10"/>
                    <a:pt x="585" y="9"/>
                  </a:cubicBezTo>
                  <a:cubicBezTo>
                    <a:pt x="585" y="9"/>
                    <a:pt x="585" y="9"/>
                    <a:pt x="585" y="9"/>
                  </a:cubicBezTo>
                  <a:cubicBezTo>
                    <a:pt x="585" y="9"/>
                    <a:pt x="585" y="9"/>
                    <a:pt x="584" y="9"/>
                  </a:cubicBezTo>
                  <a:cubicBezTo>
                    <a:pt x="584" y="9"/>
                    <a:pt x="584" y="9"/>
                    <a:pt x="584" y="9"/>
                  </a:cubicBezTo>
                  <a:cubicBezTo>
                    <a:pt x="584" y="8"/>
                    <a:pt x="584" y="8"/>
                    <a:pt x="584" y="8"/>
                  </a:cubicBezTo>
                  <a:cubicBezTo>
                    <a:pt x="584" y="8"/>
                    <a:pt x="584" y="8"/>
                    <a:pt x="584" y="8"/>
                  </a:cubicBezTo>
                  <a:cubicBezTo>
                    <a:pt x="583" y="8"/>
                    <a:pt x="583" y="8"/>
                    <a:pt x="583" y="8"/>
                  </a:cubicBezTo>
                  <a:cubicBezTo>
                    <a:pt x="583" y="8"/>
                    <a:pt x="583" y="8"/>
                    <a:pt x="583" y="8"/>
                  </a:cubicBezTo>
                  <a:cubicBezTo>
                    <a:pt x="583" y="8"/>
                    <a:pt x="583" y="8"/>
                    <a:pt x="583" y="8"/>
                  </a:cubicBezTo>
                  <a:cubicBezTo>
                    <a:pt x="582" y="8"/>
                    <a:pt x="582" y="8"/>
                    <a:pt x="582" y="8"/>
                  </a:cubicBezTo>
                  <a:cubicBezTo>
                    <a:pt x="582" y="8"/>
                    <a:pt x="582" y="8"/>
                    <a:pt x="582" y="8"/>
                  </a:cubicBezTo>
                  <a:cubicBezTo>
                    <a:pt x="582" y="8"/>
                    <a:pt x="582" y="8"/>
                    <a:pt x="582" y="8"/>
                  </a:cubicBezTo>
                  <a:cubicBezTo>
                    <a:pt x="581" y="7"/>
                    <a:pt x="581" y="7"/>
                    <a:pt x="581" y="7"/>
                  </a:cubicBezTo>
                  <a:cubicBezTo>
                    <a:pt x="581" y="7"/>
                    <a:pt x="581" y="7"/>
                    <a:pt x="581" y="7"/>
                  </a:cubicBezTo>
                  <a:cubicBezTo>
                    <a:pt x="580" y="7"/>
                    <a:pt x="580" y="7"/>
                    <a:pt x="579" y="7"/>
                  </a:cubicBezTo>
                  <a:cubicBezTo>
                    <a:pt x="579" y="7"/>
                    <a:pt x="579" y="7"/>
                    <a:pt x="579" y="7"/>
                  </a:cubicBezTo>
                  <a:cubicBezTo>
                    <a:pt x="578" y="7"/>
                    <a:pt x="578" y="7"/>
                    <a:pt x="577" y="7"/>
                  </a:cubicBezTo>
                  <a:cubicBezTo>
                    <a:pt x="577" y="7"/>
                    <a:pt x="577" y="7"/>
                    <a:pt x="577" y="6"/>
                  </a:cubicBezTo>
                  <a:cubicBezTo>
                    <a:pt x="577" y="6"/>
                    <a:pt x="576" y="6"/>
                    <a:pt x="575" y="6"/>
                  </a:cubicBezTo>
                  <a:cubicBezTo>
                    <a:pt x="575" y="6"/>
                    <a:pt x="575" y="6"/>
                    <a:pt x="575" y="6"/>
                  </a:cubicBezTo>
                  <a:cubicBezTo>
                    <a:pt x="573" y="6"/>
                    <a:pt x="572" y="6"/>
                    <a:pt x="571" y="6"/>
                  </a:cubicBezTo>
                  <a:cubicBezTo>
                    <a:pt x="570" y="6"/>
                    <a:pt x="569" y="6"/>
                    <a:pt x="568" y="6"/>
                  </a:cubicBezTo>
                  <a:cubicBezTo>
                    <a:pt x="567" y="6"/>
                    <a:pt x="567" y="6"/>
                    <a:pt x="566" y="6"/>
                  </a:cubicBezTo>
                  <a:cubicBezTo>
                    <a:pt x="565" y="6"/>
                    <a:pt x="564" y="6"/>
                    <a:pt x="564" y="6"/>
                  </a:cubicBezTo>
                  <a:cubicBezTo>
                    <a:pt x="563" y="6"/>
                    <a:pt x="562" y="6"/>
                    <a:pt x="561" y="6"/>
                  </a:cubicBezTo>
                  <a:cubicBezTo>
                    <a:pt x="561" y="6"/>
                    <a:pt x="561" y="6"/>
                    <a:pt x="560" y="6"/>
                  </a:cubicBezTo>
                  <a:cubicBezTo>
                    <a:pt x="560" y="7"/>
                    <a:pt x="559" y="6"/>
                    <a:pt x="559" y="6"/>
                  </a:cubicBezTo>
                  <a:cubicBezTo>
                    <a:pt x="559" y="7"/>
                    <a:pt x="559" y="7"/>
                    <a:pt x="558" y="7"/>
                  </a:cubicBezTo>
                  <a:cubicBezTo>
                    <a:pt x="558" y="7"/>
                    <a:pt x="557" y="6"/>
                    <a:pt x="557" y="7"/>
                  </a:cubicBezTo>
                  <a:cubicBezTo>
                    <a:pt x="557" y="7"/>
                    <a:pt x="557" y="7"/>
                    <a:pt x="557" y="7"/>
                  </a:cubicBezTo>
                  <a:cubicBezTo>
                    <a:pt x="557" y="7"/>
                    <a:pt x="556" y="7"/>
                    <a:pt x="556" y="7"/>
                  </a:cubicBezTo>
                  <a:cubicBezTo>
                    <a:pt x="556" y="7"/>
                    <a:pt x="556" y="7"/>
                    <a:pt x="556" y="7"/>
                  </a:cubicBezTo>
                  <a:cubicBezTo>
                    <a:pt x="555" y="7"/>
                    <a:pt x="555" y="7"/>
                    <a:pt x="555" y="8"/>
                  </a:cubicBezTo>
                  <a:cubicBezTo>
                    <a:pt x="555" y="8"/>
                    <a:pt x="555" y="8"/>
                    <a:pt x="555" y="8"/>
                  </a:cubicBezTo>
                  <a:cubicBezTo>
                    <a:pt x="554" y="8"/>
                    <a:pt x="554" y="8"/>
                    <a:pt x="553" y="8"/>
                  </a:cubicBezTo>
                  <a:cubicBezTo>
                    <a:pt x="553" y="8"/>
                    <a:pt x="553" y="8"/>
                    <a:pt x="553" y="8"/>
                  </a:cubicBezTo>
                  <a:cubicBezTo>
                    <a:pt x="553" y="8"/>
                    <a:pt x="553" y="8"/>
                    <a:pt x="553" y="8"/>
                  </a:cubicBezTo>
                  <a:cubicBezTo>
                    <a:pt x="553" y="8"/>
                    <a:pt x="553" y="8"/>
                    <a:pt x="553" y="8"/>
                  </a:cubicBezTo>
                  <a:cubicBezTo>
                    <a:pt x="552" y="9"/>
                    <a:pt x="552" y="8"/>
                    <a:pt x="552" y="9"/>
                  </a:cubicBezTo>
                  <a:cubicBezTo>
                    <a:pt x="552" y="9"/>
                    <a:pt x="552" y="9"/>
                    <a:pt x="552" y="9"/>
                  </a:cubicBezTo>
                  <a:cubicBezTo>
                    <a:pt x="552" y="9"/>
                    <a:pt x="551" y="9"/>
                    <a:pt x="551" y="9"/>
                  </a:cubicBezTo>
                  <a:cubicBezTo>
                    <a:pt x="551" y="9"/>
                    <a:pt x="551" y="9"/>
                    <a:pt x="551" y="9"/>
                  </a:cubicBezTo>
                  <a:cubicBezTo>
                    <a:pt x="551" y="9"/>
                    <a:pt x="550" y="9"/>
                    <a:pt x="550" y="9"/>
                  </a:cubicBezTo>
                  <a:cubicBezTo>
                    <a:pt x="550" y="9"/>
                    <a:pt x="550" y="9"/>
                    <a:pt x="550" y="9"/>
                  </a:cubicBezTo>
                  <a:cubicBezTo>
                    <a:pt x="550" y="9"/>
                    <a:pt x="550" y="9"/>
                    <a:pt x="550" y="10"/>
                  </a:cubicBezTo>
                  <a:cubicBezTo>
                    <a:pt x="550" y="10"/>
                    <a:pt x="550" y="10"/>
                    <a:pt x="550" y="10"/>
                  </a:cubicBezTo>
                  <a:cubicBezTo>
                    <a:pt x="550" y="10"/>
                    <a:pt x="549" y="10"/>
                    <a:pt x="549" y="10"/>
                  </a:cubicBezTo>
                  <a:cubicBezTo>
                    <a:pt x="549" y="10"/>
                    <a:pt x="549" y="10"/>
                    <a:pt x="549" y="10"/>
                  </a:cubicBezTo>
                  <a:cubicBezTo>
                    <a:pt x="549" y="10"/>
                    <a:pt x="549" y="10"/>
                    <a:pt x="549" y="10"/>
                  </a:cubicBezTo>
                  <a:cubicBezTo>
                    <a:pt x="549" y="10"/>
                    <a:pt x="549" y="10"/>
                    <a:pt x="549" y="10"/>
                  </a:cubicBezTo>
                  <a:cubicBezTo>
                    <a:pt x="549" y="10"/>
                    <a:pt x="549" y="10"/>
                    <a:pt x="549" y="10"/>
                  </a:cubicBezTo>
                  <a:cubicBezTo>
                    <a:pt x="548" y="11"/>
                    <a:pt x="548" y="10"/>
                    <a:pt x="548" y="11"/>
                  </a:cubicBezTo>
                  <a:cubicBezTo>
                    <a:pt x="548" y="11"/>
                    <a:pt x="548" y="11"/>
                    <a:pt x="548" y="11"/>
                  </a:cubicBezTo>
                  <a:cubicBezTo>
                    <a:pt x="548" y="11"/>
                    <a:pt x="548" y="11"/>
                    <a:pt x="548" y="11"/>
                  </a:cubicBezTo>
                  <a:cubicBezTo>
                    <a:pt x="548" y="11"/>
                    <a:pt x="548" y="11"/>
                    <a:pt x="548" y="11"/>
                  </a:cubicBezTo>
                  <a:cubicBezTo>
                    <a:pt x="547" y="11"/>
                    <a:pt x="547" y="11"/>
                    <a:pt x="547" y="11"/>
                  </a:cubicBezTo>
                  <a:cubicBezTo>
                    <a:pt x="547" y="11"/>
                    <a:pt x="547" y="11"/>
                    <a:pt x="547" y="11"/>
                  </a:cubicBezTo>
                  <a:cubicBezTo>
                    <a:pt x="547" y="11"/>
                    <a:pt x="547" y="12"/>
                    <a:pt x="546" y="12"/>
                  </a:cubicBezTo>
                  <a:cubicBezTo>
                    <a:pt x="546" y="12"/>
                    <a:pt x="546" y="12"/>
                    <a:pt x="546" y="12"/>
                  </a:cubicBezTo>
                  <a:cubicBezTo>
                    <a:pt x="546" y="12"/>
                    <a:pt x="546" y="12"/>
                    <a:pt x="545" y="12"/>
                  </a:cubicBezTo>
                  <a:cubicBezTo>
                    <a:pt x="546" y="12"/>
                    <a:pt x="546" y="12"/>
                    <a:pt x="546" y="12"/>
                  </a:cubicBezTo>
                  <a:cubicBezTo>
                    <a:pt x="545" y="12"/>
                    <a:pt x="545" y="13"/>
                    <a:pt x="545" y="13"/>
                  </a:cubicBezTo>
                  <a:cubicBezTo>
                    <a:pt x="545" y="13"/>
                    <a:pt x="545" y="13"/>
                    <a:pt x="545" y="13"/>
                  </a:cubicBezTo>
                  <a:cubicBezTo>
                    <a:pt x="545" y="13"/>
                    <a:pt x="545" y="13"/>
                    <a:pt x="545" y="13"/>
                  </a:cubicBezTo>
                  <a:cubicBezTo>
                    <a:pt x="545" y="13"/>
                    <a:pt x="545" y="13"/>
                    <a:pt x="545" y="13"/>
                  </a:cubicBezTo>
                  <a:cubicBezTo>
                    <a:pt x="545" y="13"/>
                    <a:pt x="545" y="13"/>
                    <a:pt x="544" y="13"/>
                  </a:cubicBezTo>
                  <a:cubicBezTo>
                    <a:pt x="544" y="13"/>
                    <a:pt x="544" y="13"/>
                    <a:pt x="544" y="13"/>
                  </a:cubicBezTo>
                  <a:cubicBezTo>
                    <a:pt x="544" y="14"/>
                    <a:pt x="544" y="14"/>
                    <a:pt x="544" y="14"/>
                  </a:cubicBezTo>
                  <a:cubicBezTo>
                    <a:pt x="544" y="14"/>
                    <a:pt x="544" y="14"/>
                    <a:pt x="544" y="14"/>
                  </a:cubicBezTo>
                  <a:cubicBezTo>
                    <a:pt x="544" y="14"/>
                    <a:pt x="544" y="14"/>
                    <a:pt x="544" y="14"/>
                  </a:cubicBezTo>
                  <a:cubicBezTo>
                    <a:pt x="544" y="14"/>
                    <a:pt x="544" y="14"/>
                    <a:pt x="544" y="14"/>
                  </a:cubicBezTo>
                  <a:cubicBezTo>
                    <a:pt x="544" y="14"/>
                    <a:pt x="543" y="14"/>
                    <a:pt x="543" y="14"/>
                  </a:cubicBezTo>
                  <a:cubicBezTo>
                    <a:pt x="543" y="14"/>
                    <a:pt x="543" y="14"/>
                    <a:pt x="543" y="14"/>
                  </a:cubicBezTo>
                  <a:cubicBezTo>
                    <a:pt x="543" y="15"/>
                    <a:pt x="543" y="15"/>
                    <a:pt x="543" y="15"/>
                  </a:cubicBezTo>
                  <a:cubicBezTo>
                    <a:pt x="543" y="15"/>
                    <a:pt x="543" y="15"/>
                    <a:pt x="543" y="15"/>
                  </a:cubicBezTo>
                  <a:cubicBezTo>
                    <a:pt x="543" y="15"/>
                    <a:pt x="543" y="15"/>
                    <a:pt x="543" y="15"/>
                  </a:cubicBezTo>
                  <a:cubicBezTo>
                    <a:pt x="543" y="15"/>
                    <a:pt x="543" y="15"/>
                    <a:pt x="543" y="15"/>
                  </a:cubicBezTo>
                  <a:cubicBezTo>
                    <a:pt x="543" y="15"/>
                    <a:pt x="542" y="15"/>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1" y="16"/>
                    <a:pt x="541" y="17"/>
                    <a:pt x="541" y="17"/>
                  </a:cubicBezTo>
                  <a:cubicBezTo>
                    <a:pt x="541" y="17"/>
                    <a:pt x="541" y="17"/>
                    <a:pt x="541" y="17"/>
                  </a:cubicBezTo>
                  <a:cubicBezTo>
                    <a:pt x="541" y="17"/>
                    <a:pt x="541" y="17"/>
                    <a:pt x="541" y="17"/>
                  </a:cubicBezTo>
                  <a:cubicBezTo>
                    <a:pt x="541" y="17"/>
                    <a:pt x="541" y="17"/>
                    <a:pt x="541" y="17"/>
                  </a:cubicBezTo>
                  <a:cubicBezTo>
                    <a:pt x="541" y="17"/>
                    <a:pt x="541" y="18"/>
                    <a:pt x="541" y="18"/>
                  </a:cubicBezTo>
                  <a:cubicBezTo>
                    <a:pt x="541" y="18"/>
                    <a:pt x="541" y="18"/>
                    <a:pt x="541" y="18"/>
                  </a:cubicBezTo>
                  <a:cubicBezTo>
                    <a:pt x="540" y="18"/>
                    <a:pt x="540" y="18"/>
                    <a:pt x="540" y="18"/>
                  </a:cubicBezTo>
                  <a:cubicBezTo>
                    <a:pt x="540" y="18"/>
                    <a:pt x="540" y="18"/>
                    <a:pt x="540" y="18"/>
                  </a:cubicBezTo>
                  <a:cubicBezTo>
                    <a:pt x="540" y="18"/>
                    <a:pt x="540" y="19"/>
                    <a:pt x="540" y="19"/>
                  </a:cubicBezTo>
                  <a:cubicBezTo>
                    <a:pt x="540" y="19"/>
                    <a:pt x="540" y="19"/>
                    <a:pt x="540" y="19"/>
                  </a:cubicBezTo>
                  <a:cubicBezTo>
                    <a:pt x="540" y="19"/>
                    <a:pt x="540" y="19"/>
                    <a:pt x="540" y="19"/>
                  </a:cubicBezTo>
                  <a:cubicBezTo>
                    <a:pt x="540" y="19"/>
                    <a:pt x="540" y="19"/>
                    <a:pt x="540" y="19"/>
                  </a:cubicBezTo>
                  <a:cubicBezTo>
                    <a:pt x="539" y="20"/>
                    <a:pt x="539" y="20"/>
                    <a:pt x="539" y="20"/>
                  </a:cubicBezTo>
                  <a:cubicBezTo>
                    <a:pt x="539" y="20"/>
                    <a:pt x="539" y="20"/>
                    <a:pt x="539" y="20"/>
                  </a:cubicBezTo>
                  <a:cubicBezTo>
                    <a:pt x="539" y="20"/>
                    <a:pt x="539" y="21"/>
                    <a:pt x="539" y="21"/>
                  </a:cubicBezTo>
                  <a:cubicBezTo>
                    <a:pt x="539" y="21"/>
                    <a:pt x="539" y="21"/>
                    <a:pt x="539" y="21"/>
                  </a:cubicBezTo>
                  <a:cubicBezTo>
                    <a:pt x="539" y="21"/>
                    <a:pt x="539" y="21"/>
                    <a:pt x="539" y="21"/>
                  </a:cubicBezTo>
                  <a:cubicBezTo>
                    <a:pt x="539" y="21"/>
                    <a:pt x="539" y="22"/>
                    <a:pt x="538" y="22"/>
                  </a:cubicBezTo>
                  <a:cubicBezTo>
                    <a:pt x="538" y="22"/>
                    <a:pt x="538" y="22"/>
                    <a:pt x="538" y="22"/>
                  </a:cubicBezTo>
                  <a:cubicBezTo>
                    <a:pt x="538" y="22"/>
                    <a:pt x="538" y="22"/>
                    <a:pt x="538" y="23"/>
                  </a:cubicBezTo>
                  <a:cubicBezTo>
                    <a:pt x="538" y="23"/>
                    <a:pt x="538" y="23"/>
                    <a:pt x="538" y="23"/>
                  </a:cubicBezTo>
                  <a:cubicBezTo>
                    <a:pt x="538" y="23"/>
                    <a:pt x="538" y="23"/>
                    <a:pt x="538" y="23"/>
                  </a:cubicBezTo>
                  <a:cubicBezTo>
                    <a:pt x="538" y="23"/>
                    <a:pt x="538" y="23"/>
                    <a:pt x="538" y="24"/>
                  </a:cubicBezTo>
                  <a:cubicBezTo>
                    <a:pt x="538" y="24"/>
                    <a:pt x="538" y="24"/>
                    <a:pt x="538" y="24"/>
                  </a:cubicBezTo>
                  <a:cubicBezTo>
                    <a:pt x="538" y="24"/>
                    <a:pt x="538" y="24"/>
                    <a:pt x="538" y="24"/>
                  </a:cubicBezTo>
                  <a:cubicBezTo>
                    <a:pt x="537" y="24"/>
                    <a:pt x="538" y="25"/>
                    <a:pt x="537" y="25"/>
                  </a:cubicBezTo>
                  <a:cubicBezTo>
                    <a:pt x="538" y="25"/>
                    <a:pt x="538" y="25"/>
                    <a:pt x="537" y="25"/>
                  </a:cubicBezTo>
                  <a:cubicBezTo>
                    <a:pt x="537" y="26"/>
                    <a:pt x="537" y="26"/>
                    <a:pt x="537" y="27"/>
                  </a:cubicBezTo>
                  <a:cubicBezTo>
                    <a:pt x="537" y="28"/>
                    <a:pt x="537" y="29"/>
                    <a:pt x="537" y="30"/>
                  </a:cubicBezTo>
                  <a:cubicBezTo>
                    <a:pt x="537" y="32"/>
                    <a:pt x="537" y="35"/>
                    <a:pt x="538" y="37"/>
                  </a:cubicBezTo>
                  <a:cubicBezTo>
                    <a:pt x="539" y="42"/>
                    <a:pt x="541" y="46"/>
                    <a:pt x="545" y="49"/>
                  </a:cubicBezTo>
                  <a:cubicBezTo>
                    <a:pt x="548" y="52"/>
                    <a:pt x="552" y="55"/>
                    <a:pt x="556" y="57"/>
                  </a:cubicBezTo>
                  <a:cubicBezTo>
                    <a:pt x="559" y="58"/>
                    <a:pt x="561" y="60"/>
                    <a:pt x="563" y="61"/>
                  </a:cubicBezTo>
                  <a:cubicBezTo>
                    <a:pt x="567" y="63"/>
                    <a:pt x="570" y="65"/>
                    <a:pt x="573" y="68"/>
                  </a:cubicBezTo>
                  <a:cubicBezTo>
                    <a:pt x="576" y="71"/>
                    <a:pt x="578" y="75"/>
                    <a:pt x="578" y="79"/>
                  </a:cubicBezTo>
                  <a:cubicBezTo>
                    <a:pt x="578" y="86"/>
                    <a:pt x="574" y="90"/>
                    <a:pt x="568" y="92"/>
                  </a:cubicBezTo>
                  <a:cubicBezTo>
                    <a:pt x="566" y="93"/>
                    <a:pt x="563" y="93"/>
                    <a:pt x="561" y="93"/>
                  </a:cubicBezTo>
                  <a:cubicBezTo>
                    <a:pt x="553" y="93"/>
                    <a:pt x="545" y="91"/>
                    <a:pt x="538" y="86"/>
                  </a:cubicBezTo>
                  <a:cubicBezTo>
                    <a:pt x="538" y="85"/>
                    <a:pt x="537" y="85"/>
                    <a:pt x="537" y="85"/>
                  </a:cubicBezTo>
                  <a:cubicBezTo>
                    <a:pt x="537" y="89"/>
                    <a:pt x="537" y="93"/>
                    <a:pt x="537" y="97"/>
                  </a:cubicBezTo>
                  <a:cubicBezTo>
                    <a:pt x="537" y="98"/>
                    <a:pt x="537" y="98"/>
                    <a:pt x="538" y="98"/>
                  </a:cubicBezTo>
                  <a:cubicBezTo>
                    <a:pt x="539" y="99"/>
                    <a:pt x="541" y="100"/>
                    <a:pt x="543" y="100"/>
                  </a:cubicBezTo>
                  <a:cubicBezTo>
                    <a:pt x="546" y="102"/>
                    <a:pt x="550" y="102"/>
                    <a:pt x="553" y="103"/>
                  </a:cubicBezTo>
                  <a:cubicBezTo>
                    <a:pt x="555" y="103"/>
                    <a:pt x="556" y="103"/>
                    <a:pt x="557" y="103"/>
                  </a:cubicBezTo>
                  <a:cubicBezTo>
                    <a:pt x="558" y="103"/>
                    <a:pt x="559" y="103"/>
                    <a:pt x="560" y="103"/>
                  </a:cubicBezTo>
                  <a:cubicBezTo>
                    <a:pt x="561" y="103"/>
                    <a:pt x="562" y="103"/>
                    <a:pt x="564" y="103"/>
                  </a:cubicBezTo>
                  <a:cubicBezTo>
                    <a:pt x="564" y="103"/>
                    <a:pt x="564" y="103"/>
                    <a:pt x="564" y="103"/>
                  </a:cubicBezTo>
                  <a:cubicBezTo>
                    <a:pt x="565" y="103"/>
                    <a:pt x="566" y="103"/>
                    <a:pt x="566" y="103"/>
                  </a:cubicBezTo>
                  <a:cubicBezTo>
                    <a:pt x="566" y="102"/>
                    <a:pt x="567" y="102"/>
                    <a:pt x="567" y="103"/>
                  </a:cubicBezTo>
                  <a:cubicBezTo>
                    <a:pt x="567" y="102"/>
                    <a:pt x="568" y="103"/>
                    <a:pt x="568" y="102"/>
                  </a:cubicBezTo>
                  <a:cubicBezTo>
                    <a:pt x="568" y="102"/>
                    <a:pt x="568" y="102"/>
                    <a:pt x="568" y="102"/>
                  </a:cubicBezTo>
                  <a:cubicBezTo>
                    <a:pt x="569" y="102"/>
                    <a:pt x="569" y="102"/>
                    <a:pt x="569" y="102"/>
                  </a:cubicBezTo>
                  <a:cubicBezTo>
                    <a:pt x="569" y="102"/>
                    <a:pt x="569" y="102"/>
                    <a:pt x="570" y="102"/>
                  </a:cubicBezTo>
                  <a:cubicBezTo>
                    <a:pt x="570" y="102"/>
                    <a:pt x="570" y="102"/>
                    <a:pt x="570" y="102"/>
                  </a:cubicBezTo>
                  <a:cubicBezTo>
                    <a:pt x="570" y="102"/>
                    <a:pt x="570" y="102"/>
                    <a:pt x="570" y="102"/>
                  </a:cubicBezTo>
                  <a:cubicBezTo>
                    <a:pt x="570" y="102"/>
                    <a:pt x="571" y="102"/>
                    <a:pt x="571" y="101"/>
                  </a:cubicBezTo>
                  <a:cubicBezTo>
                    <a:pt x="571" y="101"/>
                    <a:pt x="571" y="101"/>
                    <a:pt x="571" y="101"/>
                  </a:cubicBezTo>
                  <a:cubicBezTo>
                    <a:pt x="571" y="101"/>
                    <a:pt x="572" y="101"/>
                    <a:pt x="572" y="101"/>
                  </a:cubicBezTo>
                  <a:cubicBezTo>
                    <a:pt x="572" y="101"/>
                    <a:pt x="572" y="101"/>
                    <a:pt x="572" y="101"/>
                  </a:cubicBezTo>
                  <a:cubicBezTo>
                    <a:pt x="572" y="101"/>
                    <a:pt x="573" y="101"/>
                    <a:pt x="573" y="101"/>
                  </a:cubicBezTo>
                  <a:cubicBezTo>
                    <a:pt x="573" y="101"/>
                    <a:pt x="573" y="101"/>
                    <a:pt x="573" y="101"/>
                  </a:cubicBezTo>
                  <a:cubicBezTo>
                    <a:pt x="573" y="101"/>
                    <a:pt x="574" y="101"/>
                    <a:pt x="574" y="100"/>
                  </a:cubicBezTo>
                  <a:cubicBezTo>
                    <a:pt x="574" y="100"/>
                    <a:pt x="574" y="100"/>
                    <a:pt x="574" y="100"/>
                  </a:cubicBezTo>
                  <a:cubicBezTo>
                    <a:pt x="574" y="100"/>
                    <a:pt x="574" y="100"/>
                    <a:pt x="574" y="100"/>
                  </a:cubicBezTo>
                  <a:cubicBezTo>
                    <a:pt x="574" y="100"/>
                    <a:pt x="575" y="100"/>
                    <a:pt x="575" y="100"/>
                  </a:cubicBezTo>
                  <a:cubicBezTo>
                    <a:pt x="575" y="100"/>
                    <a:pt x="575" y="100"/>
                    <a:pt x="575" y="100"/>
                  </a:cubicBezTo>
                  <a:cubicBezTo>
                    <a:pt x="575" y="100"/>
                    <a:pt x="576" y="100"/>
                    <a:pt x="576" y="100"/>
                  </a:cubicBezTo>
                  <a:cubicBezTo>
                    <a:pt x="576" y="100"/>
                    <a:pt x="576" y="100"/>
                    <a:pt x="576" y="100"/>
                  </a:cubicBezTo>
                  <a:cubicBezTo>
                    <a:pt x="576" y="100"/>
                    <a:pt x="576" y="100"/>
                    <a:pt x="576" y="99"/>
                  </a:cubicBezTo>
                  <a:cubicBezTo>
                    <a:pt x="576" y="99"/>
                    <a:pt x="576" y="99"/>
                    <a:pt x="576" y="99"/>
                  </a:cubicBezTo>
                  <a:cubicBezTo>
                    <a:pt x="577" y="99"/>
                    <a:pt x="577" y="99"/>
                    <a:pt x="577" y="99"/>
                  </a:cubicBezTo>
                  <a:cubicBezTo>
                    <a:pt x="577" y="99"/>
                    <a:pt x="577" y="99"/>
                    <a:pt x="577" y="99"/>
                  </a:cubicBezTo>
                  <a:cubicBezTo>
                    <a:pt x="577" y="99"/>
                    <a:pt x="578" y="99"/>
                    <a:pt x="578" y="99"/>
                  </a:cubicBezTo>
                  <a:cubicBezTo>
                    <a:pt x="578" y="99"/>
                    <a:pt x="578" y="99"/>
                    <a:pt x="578" y="99"/>
                  </a:cubicBezTo>
                  <a:cubicBezTo>
                    <a:pt x="578" y="99"/>
                    <a:pt x="578" y="98"/>
                    <a:pt x="578" y="98"/>
                  </a:cubicBezTo>
                  <a:cubicBezTo>
                    <a:pt x="578" y="98"/>
                    <a:pt x="578" y="98"/>
                    <a:pt x="578" y="98"/>
                  </a:cubicBezTo>
                  <a:cubicBezTo>
                    <a:pt x="578" y="98"/>
                    <a:pt x="579" y="98"/>
                    <a:pt x="579" y="98"/>
                  </a:cubicBezTo>
                  <a:cubicBezTo>
                    <a:pt x="579" y="98"/>
                    <a:pt x="579" y="98"/>
                    <a:pt x="579" y="98"/>
                  </a:cubicBezTo>
                  <a:cubicBezTo>
                    <a:pt x="579" y="98"/>
                    <a:pt x="579" y="98"/>
                    <a:pt x="579" y="98"/>
                  </a:cubicBezTo>
                  <a:cubicBezTo>
                    <a:pt x="579" y="98"/>
                    <a:pt x="579" y="98"/>
                    <a:pt x="579" y="98"/>
                  </a:cubicBezTo>
                  <a:cubicBezTo>
                    <a:pt x="579" y="97"/>
                    <a:pt x="580" y="98"/>
                    <a:pt x="580" y="97"/>
                  </a:cubicBezTo>
                  <a:cubicBezTo>
                    <a:pt x="580" y="97"/>
                    <a:pt x="580" y="97"/>
                    <a:pt x="580" y="97"/>
                  </a:cubicBezTo>
                  <a:cubicBezTo>
                    <a:pt x="580" y="97"/>
                    <a:pt x="580" y="97"/>
                    <a:pt x="580" y="97"/>
                  </a:cubicBezTo>
                  <a:cubicBezTo>
                    <a:pt x="580" y="97"/>
                    <a:pt x="580" y="97"/>
                    <a:pt x="580" y="97"/>
                  </a:cubicBezTo>
                  <a:cubicBezTo>
                    <a:pt x="580" y="97"/>
                    <a:pt x="580" y="97"/>
                    <a:pt x="581" y="97"/>
                  </a:cubicBezTo>
                  <a:cubicBezTo>
                    <a:pt x="581" y="97"/>
                    <a:pt x="581" y="97"/>
                    <a:pt x="581" y="97"/>
                  </a:cubicBezTo>
                  <a:cubicBezTo>
                    <a:pt x="581" y="96"/>
                    <a:pt x="581" y="97"/>
                    <a:pt x="581" y="96"/>
                  </a:cubicBezTo>
                  <a:cubicBezTo>
                    <a:pt x="581" y="96"/>
                    <a:pt x="581" y="96"/>
                    <a:pt x="581" y="96"/>
                  </a:cubicBezTo>
                  <a:cubicBezTo>
                    <a:pt x="581" y="96"/>
                    <a:pt x="582" y="96"/>
                    <a:pt x="582" y="96"/>
                  </a:cubicBezTo>
                  <a:cubicBezTo>
                    <a:pt x="582" y="96"/>
                    <a:pt x="582" y="96"/>
                    <a:pt x="582" y="96"/>
                  </a:cubicBezTo>
                  <a:cubicBezTo>
                    <a:pt x="582" y="96"/>
                    <a:pt x="582" y="96"/>
                    <a:pt x="582" y="96"/>
                  </a:cubicBezTo>
                  <a:cubicBezTo>
                    <a:pt x="582" y="96"/>
                    <a:pt x="582" y="96"/>
                    <a:pt x="582" y="96"/>
                  </a:cubicBezTo>
                  <a:cubicBezTo>
                    <a:pt x="582" y="95"/>
                    <a:pt x="582" y="95"/>
                    <a:pt x="582" y="95"/>
                  </a:cubicBezTo>
                  <a:cubicBezTo>
                    <a:pt x="582" y="95"/>
                    <a:pt x="582" y="95"/>
                    <a:pt x="582" y="95"/>
                  </a:cubicBezTo>
                  <a:cubicBezTo>
                    <a:pt x="582" y="95"/>
                    <a:pt x="583" y="95"/>
                    <a:pt x="583" y="95"/>
                  </a:cubicBezTo>
                  <a:cubicBezTo>
                    <a:pt x="583" y="95"/>
                    <a:pt x="583" y="95"/>
                    <a:pt x="583" y="95"/>
                  </a:cubicBezTo>
                  <a:cubicBezTo>
                    <a:pt x="583" y="95"/>
                    <a:pt x="583" y="95"/>
                    <a:pt x="583" y="95"/>
                  </a:cubicBezTo>
                  <a:cubicBezTo>
                    <a:pt x="583" y="95"/>
                    <a:pt x="583" y="95"/>
                    <a:pt x="583" y="95"/>
                  </a:cubicBezTo>
                  <a:cubicBezTo>
                    <a:pt x="583" y="94"/>
                    <a:pt x="583" y="94"/>
                    <a:pt x="583" y="94"/>
                  </a:cubicBezTo>
                  <a:cubicBezTo>
                    <a:pt x="583" y="94"/>
                    <a:pt x="583" y="94"/>
                    <a:pt x="583" y="94"/>
                  </a:cubicBezTo>
                  <a:cubicBezTo>
                    <a:pt x="583" y="94"/>
                    <a:pt x="584" y="94"/>
                    <a:pt x="584" y="94"/>
                  </a:cubicBezTo>
                  <a:cubicBezTo>
                    <a:pt x="584" y="94"/>
                    <a:pt x="584" y="94"/>
                    <a:pt x="584" y="94"/>
                  </a:cubicBezTo>
                  <a:cubicBezTo>
                    <a:pt x="584" y="94"/>
                    <a:pt x="584" y="94"/>
                    <a:pt x="584" y="93"/>
                  </a:cubicBezTo>
                  <a:cubicBezTo>
                    <a:pt x="584" y="93"/>
                    <a:pt x="584" y="93"/>
                    <a:pt x="584" y="93"/>
                  </a:cubicBezTo>
                  <a:cubicBezTo>
                    <a:pt x="584" y="93"/>
                    <a:pt x="584" y="93"/>
                    <a:pt x="584" y="93"/>
                  </a:cubicBezTo>
                  <a:cubicBezTo>
                    <a:pt x="584" y="93"/>
                    <a:pt x="584" y="93"/>
                    <a:pt x="584" y="93"/>
                  </a:cubicBezTo>
                  <a:cubicBezTo>
                    <a:pt x="585" y="93"/>
                    <a:pt x="585" y="93"/>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6" y="92"/>
                    <a:pt x="586" y="91"/>
                    <a:pt x="586" y="91"/>
                  </a:cubicBezTo>
                  <a:cubicBezTo>
                    <a:pt x="586" y="91"/>
                    <a:pt x="586" y="91"/>
                    <a:pt x="586" y="91"/>
                  </a:cubicBezTo>
                  <a:cubicBezTo>
                    <a:pt x="586" y="91"/>
                    <a:pt x="586" y="91"/>
                    <a:pt x="586" y="90"/>
                  </a:cubicBezTo>
                  <a:cubicBezTo>
                    <a:pt x="586" y="90"/>
                    <a:pt x="586" y="90"/>
                    <a:pt x="586" y="90"/>
                  </a:cubicBezTo>
                  <a:cubicBezTo>
                    <a:pt x="586" y="90"/>
                    <a:pt x="586" y="90"/>
                    <a:pt x="586" y="90"/>
                  </a:cubicBezTo>
                  <a:cubicBezTo>
                    <a:pt x="586" y="90"/>
                    <a:pt x="586" y="90"/>
                    <a:pt x="586" y="90"/>
                  </a:cubicBezTo>
                  <a:cubicBezTo>
                    <a:pt x="587" y="90"/>
                    <a:pt x="587" y="89"/>
                    <a:pt x="587" y="89"/>
                  </a:cubicBezTo>
                  <a:cubicBezTo>
                    <a:pt x="587" y="89"/>
                    <a:pt x="587" y="89"/>
                    <a:pt x="587" y="89"/>
                  </a:cubicBezTo>
                  <a:cubicBezTo>
                    <a:pt x="587" y="89"/>
                    <a:pt x="587" y="89"/>
                    <a:pt x="587" y="89"/>
                  </a:cubicBezTo>
                  <a:cubicBezTo>
                    <a:pt x="587" y="89"/>
                    <a:pt x="587" y="89"/>
                    <a:pt x="587" y="89"/>
                  </a:cubicBezTo>
                  <a:cubicBezTo>
                    <a:pt x="588" y="88"/>
                    <a:pt x="587" y="88"/>
                    <a:pt x="588" y="88"/>
                  </a:cubicBezTo>
                  <a:cubicBezTo>
                    <a:pt x="588" y="88"/>
                    <a:pt x="588" y="88"/>
                    <a:pt x="588" y="88"/>
                  </a:cubicBezTo>
                  <a:cubicBezTo>
                    <a:pt x="588" y="87"/>
                    <a:pt x="588" y="87"/>
                    <a:pt x="588" y="87"/>
                  </a:cubicBezTo>
                  <a:cubicBezTo>
                    <a:pt x="588" y="87"/>
                    <a:pt x="588" y="87"/>
                    <a:pt x="588" y="87"/>
                  </a:cubicBezTo>
                  <a:cubicBezTo>
                    <a:pt x="588" y="86"/>
                    <a:pt x="588" y="86"/>
                    <a:pt x="588" y="86"/>
                  </a:cubicBezTo>
                  <a:cubicBezTo>
                    <a:pt x="588" y="86"/>
                    <a:pt x="588" y="86"/>
                    <a:pt x="588" y="85"/>
                  </a:cubicBezTo>
                  <a:cubicBezTo>
                    <a:pt x="589" y="85"/>
                    <a:pt x="588" y="85"/>
                    <a:pt x="589" y="84"/>
                  </a:cubicBezTo>
                  <a:close/>
                  <a:moveTo>
                    <a:pt x="300" y="53"/>
                  </a:moveTo>
                  <a:cubicBezTo>
                    <a:pt x="297" y="43"/>
                    <a:pt x="290" y="37"/>
                    <a:pt x="280" y="34"/>
                  </a:cubicBezTo>
                  <a:cubicBezTo>
                    <a:pt x="274" y="32"/>
                    <a:pt x="268" y="32"/>
                    <a:pt x="262" y="33"/>
                  </a:cubicBezTo>
                  <a:cubicBezTo>
                    <a:pt x="251" y="35"/>
                    <a:pt x="243" y="42"/>
                    <a:pt x="239" y="52"/>
                  </a:cubicBezTo>
                  <a:cubicBezTo>
                    <a:pt x="235" y="62"/>
                    <a:pt x="235" y="72"/>
                    <a:pt x="238" y="82"/>
                  </a:cubicBezTo>
                  <a:cubicBezTo>
                    <a:pt x="241" y="91"/>
                    <a:pt x="248" y="98"/>
                    <a:pt x="257" y="101"/>
                  </a:cubicBezTo>
                  <a:cubicBezTo>
                    <a:pt x="263" y="103"/>
                    <a:pt x="269" y="104"/>
                    <a:pt x="275" y="103"/>
                  </a:cubicBezTo>
                  <a:cubicBezTo>
                    <a:pt x="286" y="101"/>
                    <a:pt x="294" y="95"/>
                    <a:pt x="299" y="86"/>
                  </a:cubicBezTo>
                  <a:cubicBezTo>
                    <a:pt x="301" y="80"/>
                    <a:pt x="302" y="74"/>
                    <a:pt x="302" y="67"/>
                  </a:cubicBezTo>
                  <a:cubicBezTo>
                    <a:pt x="302" y="63"/>
                    <a:pt x="302" y="58"/>
                    <a:pt x="300" y="53"/>
                  </a:cubicBezTo>
                  <a:close/>
                  <a:moveTo>
                    <a:pt x="422" y="54"/>
                  </a:moveTo>
                  <a:cubicBezTo>
                    <a:pt x="419" y="43"/>
                    <a:pt x="412" y="37"/>
                    <a:pt x="401" y="34"/>
                  </a:cubicBezTo>
                  <a:cubicBezTo>
                    <a:pt x="396" y="32"/>
                    <a:pt x="390" y="32"/>
                    <a:pt x="384" y="33"/>
                  </a:cubicBezTo>
                  <a:cubicBezTo>
                    <a:pt x="374" y="35"/>
                    <a:pt x="366" y="41"/>
                    <a:pt x="362" y="50"/>
                  </a:cubicBezTo>
                  <a:cubicBezTo>
                    <a:pt x="357" y="60"/>
                    <a:pt x="356" y="74"/>
                    <a:pt x="361" y="84"/>
                  </a:cubicBezTo>
                  <a:cubicBezTo>
                    <a:pt x="365" y="94"/>
                    <a:pt x="371" y="100"/>
                    <a:pt x="381" y="102"/>
                  </a:cubicBezTo>
                  <a:cubicBezTo>
                    <a:pt x="386" y="103"/>
                    <a:pt x="392" y="103"/>
                    <a:pt x="397" y="103"/>
                  </a:cubicBezTo>
                  <a:cubicBezTo>
                    <a:pt x="408" y="101"/>
                    <a:pt x="415" y="95"/>
                    <a:pt x="420" y="85"/>
                  </a:cubicBezTo>
                  <a:cubicBezTo>
                    <a:pt x="423" y="80"/>
                    <a:pt x="424" y="74"/>
                    <a:pt x="424" y="67"/>
                  </a:cubicBezTo>
                  <a:cubicBezTo>
                    <a:pt x="424" y="63"/>
                    <a:pt x="423" y="58"/>
                    <a:pt x="422" y="54"/>
                  </a:cubicBezTo>
                  <a:close/>
                  <a:moveTo>
                    <a:pt x="1580" y="22"/>
                  </a:moveTo>
                  <a:cubicBezTo>
                    <a:pt x="1580" y="22"/>
                    <a:pt x="1580" y="22"/>
                    <a:pt x="1580" y="22"/>
                  </a:cubicBezTo>
                  <a:cubicBezTo>
                    <a:pt x="1580" y="22"/>
                    <a:pt x="1580" y="21"/>
                    <a:pt x="1580" y="21"/>
                  </a:cubicBezTo>
                  <a:cubicBezTo>
                    <a:pt x="1580" y="21"/>
                    <a:pt x="1580" y="21"/>
                    <a:pt x="1580" y="21"/>
                  </a:cubicBezTo>
                  <a:cubicBezTo>
                    <a:pt x="1580" y="21"/>
                    <a:pt x="1580" y="20"/>
                    <a:pt x="1580" y="20"/>
                  </a:cubicBezTo>
                  <a:cubicBezTo>
                    <a:pt x="1580" y="20"/>
                    <a:pt x="1580" y="20"/>
                    <a:pt x="1580" y="20"/>
                  </a:cubicBezTo>
                  <a:cubicBezTo>
                    <a:pt x="1579" y="20"/>
                    <a:pt x="1579" y="20"/>
                    <a:pt x="1579" y="19"/>
                  </a:cubicBezTo>
                  <a:cubicBezTo>
                    <a:pt x="1579" y="19"/>
                    <a:pt x="1579" y="19"/>
                    <a:pt x="1579" y="19"/>
                  </a:cubicBezTo>
                  <a:cubicBezTo>
                    <a:pt x="1579" y="19"/>
                    <a:pt x="1579" y="19"/>
                    <a:pt x="1579" y="19"/>
                  </a:cubicBezTo>
                  <a:cubicBezTo>
                    <a:pt x="1579" y="19"/>
                    <a:pt x="1579" y="19"/>
                    <a:pt x="1579" y="19"/>
                  </a:cubicBezTo>
                  <a:cubicBezTo>
                    <a:pt x="1579" y="18"/>
                    <a:pt x="1579" y="18"/>
                    <a:pt x="1579" y="18"/>
                  </a:cubicBezTo>
                  <a:cubicBezTo>
                    <a:pt x="1579" y="18"/>
                    <a:pt x="1579" y="18"/>
                    <a:pt x="1579" y="18"/>
                  </a:cubicBezTo>
                  <a:cubicBezTo>
                    <a:pt x="1578" y="18"/>
                    <a:pt x="1578" y="17"/>
                    <a:pt x="1578" y="17"/>
                  </a:cubicBezTo>
                  <a:cubicBezTo>
                    <a:pt x="1578" y="17"/>
                    <a:pt x="1578" y="17"/>
                    <a:pt x="1578" y="17"/>
                  </a:cubicBezTo>
                  <a:cubicBezTo>
                    <a:pt x="1578" y="17"/>
                    <a:pt x="1578" y="17"/>
                    <a:pt x="1578" y="17"/>
                  </a:cubicBezTo>
                  <a:cubicBezTo>
                    <a:pt x="1578" y="17"/>
                    <a:pt x="1578" y="17"/>
                    <a:pt x="1578" y="17"/>
                  </a:cubicBezTo>
                  <a:cubicBezTo>
                    <a:pt x="1578" y="17"/>
                    <a:pt x="1578" y="16"/>
                    <a:pt x="1577" y="16"/>
                  </a:cubicBezTo>
                  <a:cubicBezTo>
                    <a:pt x="1577" y="16"/>
                    <a:pt x="1577" y="16"/>
                    <a:pt x="1577" y="16"/>
                  </a:cubicBezTo>
                  <a:cubicBezTo>
                    <a:pt x="1577" y="16"/>
                    <a:pt x="1577" y="16"/>
                    <a:pt x="1577" y="16"/>
                  </a:cubicBezTo>
                  <a:cubicBezTo>
                    <a:pt x="1577" y="16"/>
                    <a:pt x="1577" y="16"/>
                    <a:pt x="1577" y="16"/>
                  </a:cubicBezTo>
                  <a:cubicBezTo>
                    <a:pt x="1577" y="16"/>
                    <a:pt x="1577" y="15"/>
                    <a:pt x="1576" y="15"/>
                  </a:cubicBezTo>
                  <a:cubicBezTo>
                    <a:pt x="1576" y="15"/>
                    <a:pt x="1576" y="15"/>
                    <a:pt x="1576" y="15"/>
                  </a:cubicBezTo>
                  <a:cubicBezTo>
                    <a:pt x="1576" y="15"/>
                    <a:pt x="1576" y="15"/>
                    <a:pt x="1576" y="15"/>
                  </a:cubicBezTo>
                  <a:cubicBezTo>
                    <a:pt x="1576" y="15"/>
                    <a:pt x="1576" y="15"/>
                    <a:pt x="1576" y="15"/>
                  </a:cubicBezTo>
                  <a:cubicBezTo>
                    <a:pt x="1576" y="14"/>
                    <a:pt x="1576" y="14"/>
                    <a:pt x="1576" y="14"/>
                  </a:cubicBezTo>
                  <a:cubicBezTo>
                    <a:pt x="1576" y="14"/>
                    <a:pt x="1576" y="14"/>
                    <a:pt x="1576" y="14"/>
                  </a:cubicBezTo>
                  <a:cubicBezTo>
                    <a:pt x="1576" y="14"/>
                    <a:pt x="1576" y="14"/>
                    <a:pt x="1575" y="14"/>
                  </a:cubicBezTo>
                  <a:cubicBezTo>
                    <a:pt x="1575" y="14"/>
                    <a:pt x="1575" y="14"/>
                    <a:pt x="1575" y="14"/>
                  </a:cubicBezTo>
                  <a:cubicBezTo>
                    <a:pt x="1575" y="14"/>
                    <a:pt x="1575" y="14"/>
                    <a:pt x="1575" y="13"/>
                  </a:cubicBezTo>
                  <a:cubicBezTo>
                    <a:pt x="1575" y="13"/>
                    <a:pt x="1575" y="13"/>
                    <a:pt x="1575" y="13"/>
                  </a:cubicBezTo>
                  <a:cubicBezTo>
                    <a:pt x="1575" y="13"/>
                    <a:pt x="1575" y="13"/>
                    <a:pt x="1575" y="13"/>
                  </a:cubicBezTo>
                  <a:cubicBezTo>
                    <a:pt x="1575" y="13"/>
                    <a:pt x="1575" y="13"/>
                    <a:pt x="1575" y="13"/>
                  </a:cubicBezTo>
                  <a:cubicBezTo>
                    <a:pt x="1575" y="13"/>
                    <a:pt x="1575" y="13"/>
                    <a:pt x="1574" y="13"/>
                  </a:cubicBezTo>
                  <a:cubicBezTo>
                    <a:pt x="1574" y="13"/>
                    <a:pt x="1574" y="13"/>
                    <a:pt x="1574" y="13"/>
                  </a:cubicBezTo>
                  <a:cubicBezTo>
                    <a:pt x="1574" y="13"/>
                    <a:pt x="1574" y="13"/>
                    <a:pt x="1574" y="12"/>
                  </a:cubicBezTo>
                  <a:cubicBezTo>
                    <a:pt x="1574" y="12"/>
                    <a:pt x="1574" y="12"/>
                    <a:pt x="1574" y="12"/>
                  </a:cubicBezTo>
                  <a:cubicBezTo>
                    <a:pt x="1574" y="12"/>
                    <a:pt x="1574" y="12"/>
                    <a:pt x="1574" y="12"/>
                  </a:cubicBezTo>
                  <a:cubicBezTo>
                    <a:pt x="1574" y="12"/>
                    <a:pt x="1574" y="12"/>
                    <a:pt x="1574" y="12"/>
                  </a:cubicBezTo>
                  <a:cubicBezTo>
                    <a:pt x="1574" y="12"/>
                    <a:pt x="1573" y="12"/>
                    <a:pt x="1573" y="12"/>
                  </a:cubicBezTo>
                  <a:cubicBezTo>
                    <a:pt x="1573" y="12"/>
                    <a:pt x="1573" y="12"/>
                    <a:pt x="1573" y="12"/>
                  </a:cubicBezTo>
                  <a:cubicBezTo>
                    <a:pt x="1573" y="12"/>
                    <a:pt x="1573" y="11"/>
                    <a:pt x="1573" y="11"/>
                  </a:cubicBezTo>
                  <a:cubicBezTo>
                    <a:pt x="1573" y="11"/>
                    <a:pt x="1573" y="11"/>
                    <a:pt x="1573" y="11"/>
                  </a:cubicBezTo>
                  <a:cubicBezTo>
                    <a:pt x="1573" y="11"/>
                    <a:pt x="1572" y="11"/>
                    <a:pt x="1572" y="11"/>
                  </a:cubicBezTo>
                  <a:cubicBezTo>
                    <a:pt x="1572" y="11"/>
                    <a:pt x="1572" y="11"/>
                    <a:pt x="1572" y="11"/>
                  </a:cubicBezTo>
                  <a:cubicBezTo>
                    <a:pt x="1572" y="11"/>
                    <a:pt x="1572" y="11"/>
                    <a:pt x="1572" y="11"/>
                  </a:cubicBezTo>
                  <a:cubicBezTo>
                    <a:pt x="1572" y="11"/>
                    <a:pt x="1572" y="11"/>
                    <a:pt x="1572" y="11"/>
                  </a:cubicBezTo>
                  <a:cubicBezTo>
                    <a:pt x="1572" y="10"/>
                    <a:pt x="1571" y="10"/>
                    <a:pt x="1571" y="10"/>
                  </a:cubicBezTo>
                  <a:cubicBezTo>
                    <a:pt x="1571" y="10"/>
                    <a:pt x="1571" y="10"/>
                    <a:pt x="1571" y="10"/>
                  </a:cubicBezTo>
                  <a:cubicBezTo>
                    <a:pt x="1571" y="10"/>
                    <a:pt x="1570" y="10"/>
                    <a:pt x="1570" y="10"/>
                  </a:cubicBezTo>
                  <a:cubicBezTo>
                    <a:pt x="1570" y="10"/>
                    <a:pt x="1570" y="10"/>
                    <a:pt x="1570" y="10"/>
                  </a:cubicBezTo>
                  <a:cubicBezTo>
                    <a:pt x="1570" y="9"/>
                    <a:pt x="1570" y="9"/>
                    <a:pt x="1570" y="9"/>
                  </a:cubicBezTo>
                  <a:cubicBezTo>
                    <a:pt x="1570" y="9"/>
                    <a:pt x="1570" y="9"/>
                    <a:pt x="1570" y="9"/>
                  </a:cubicBezTo>
                  <a:cubicBezTo>
                    <a:pt x="1570" y="9"/>
                    <a:pt x="1569" y="9"/>
                    <a:pt x="1569" y="9"/>
                  </a:cubicBezTo>
                  <a:cubicBezTo>
                    <a:pt x="1569" y="9"/>
                    <a:pt x="1569" y="9"/>
                    <a:pt x="1569" y="9"/>
                  </a:cubicBezTo>
                  <a:cubicBezTo>
                    <a:pt x="1569" y="9"/>
                    <a:pt x="1569" y="9"/>
                    <a:pt x="1568" y="9"/>
                  </a:cubicBezTo>
                  <a:cubicBezTo>
                    <a:pt x="1568" y="9"/>
                    <a:pt x="1568" y="9"/>
                    <a:pt x="1568" y="9"/>
                  </a:cubicBezTo>
                  <a:cubicBezTo>
                    <a:pt x="1568" y="8"/>
                    <a:pt x="1568" y="8"/>
                    <a:pt x="1568" y="8"/>
                  </a:cubicBezTo>
                  <a:cubicBezTo>
                    <a:pt x="1568" y="8"/>
                    <a:pt x="1568" y="8"/>
                    <a:pt x="1568" y="8"/>
                  </a:cubicBezTo>
                  <a:cubicBezTo>
                    <a:pt x="1568" y="8"/>
                    <a:pt x="1567" y="8"/>
                    <a:pt x="1567" y="8"/>
                  </a:cubicBezTo>
                  <a:cubicBezTo>
                    <a:pt x="1567" y="8"/>
                    <a:pt x="1567" y="8"/>
                    <a:pt x="1567" y="8"/>
                  </a:cubicBezTo>
                  <a:cubicBezTo>
                    <a:pt x="1567" y="8"/>
                    <a:pt x="1566" y="8"/>
                    <a:pt x="1566" y="8"/>
                  </a:cubicBezTo>
                  <a:cubicBezTo>
                    <a:pt x="1566" y="8"/>
                    <a:pt x="1566" y="8"/>
                    <a:pt x="1566" y="7"/>
                  </a:cubicBezTo>
                  <a:cubicBezTo>
                    <a:pt x="1565" y="7"/>
                    <a:pt x="1565" y="7"/>
                    <a:pt x="1565" y="7"/>
                  </a:cubicBezTo>
                  <a:cubicBezTo>
                    <a:pt x="1565" y="7"/>
                    <a:pt x="1565" y="7"/>
                    <a:pt x="1565" y="7"/>
                  </a:cubicBezTo>
                  <a:cubicBezTo>
                    <a:pt x="1564" y="7"/>
                    <a:pt x="1564" y="7"/>
                    <a:pt x="1564" y="7"/>
                  </a:cubicBezTo>
                  <a:cubicBezTo>
                    <a:pt x="1564" y="7"/>
                    <a:pt x="1564" y="7"/>
                    <a:pt x="1564" y="7"/>
                  </a:cubicBezTo>
                  <a:cubicBezTo>
                    <a:pt x="1564" y="7"/>
                    <a:pt x="1564" y="7"/>
                    <a:pt x="1564" y="7"/>
                  </a:cubicBezTo>
                  <a:cubicBezTo>
                    <a:pt x="1563" y="7"/>
                    <a:pt x="1563" y="7"/>
                    <a:pt x="1562" y="7"/>
                  </a:cubicBezTo>
                  <a:cubicBezTo>
                    <a:pt x="1562" y="7"/>
                    <a:pt x="1562" y="7"/>
                    <a:pt x="1562" y="7"/>
                  </a:cubicBezTo>
                  <a:cubicBezTo>
                    <a:pt x="1562" y="6"/>
                    <a:pt x="1562" y="6"/>
                    <a:pt x="1562" y="6"/>
                  </a:cubicBezTo>
                  <a:cubicBezTo>
                    <a:pt x="1562" y="6"/>
                    <a:pt x="1561" y="7"/>
                    <a:pt x="1560" y="6"/>
                  </a:cubicBezTo>
                  <a:cubicBezTo>
                    <a:pt x="1560" y="6"/>
                    <a:pt x="1560" y="6"/>
                    <a:pt x="1560" y="6"/>
                  </a:cubicBezTo>
                  <a:cubicBezTo>
                    <a:pt x="1559" y="6"/>
                    <a:pt x="1558" y="6"/>
                    <a:pt x="1558" y="6"/>
                  </a:cubicBezTo>
                  <a:cubicBezTo>
                    <a:pt x="1557" y="6"/>
                    <a:pt x="1556" y="6"/>
                    <a:pt x="1556" y="6"/>
                  </a:cubicBezTo>
                  <a:cubicBezTo>
                    <a:pt x="1555" y="6"/>
                    <a:pt x="1554" y="6"/>
                    <a:pt x="1554" y="6"/>
                  </a:cubicBezTo>
                  <a:cubicBezTo>
                    <a:pt x="1553" y="6"/>
                    <a:pt x="1552" y="6"/>
                    <a:pt x="1551" y="6"/>
                  </a:cubicBezTo>
                  <a:cubicBezTo>
                    <a:pt x="1550" y="6"/>
                    <a:pt x="1549" y="6"/>
                    <a:pt x="1549" y="6"/>
                  </a:cubicBezTo>
                  <a:cubicBezTo>
                    <a:pt x="1548" y="6"/>
                    <a:pt x="1548" y="6"/>
                    <a:pt x="1548" y="6"/>
                  </a:cubicBezTo>
                  <a:cubicBezTo>
                    <a:pt x="1547" y="7"/>
                    <a:pt x="1547" y="6"/>
                    <a:pt x="1546" y="6"/>
                  </a:cubicBezTo>
                  <a:cubicBezTo>
                    <a:pt x="1546" y="7"/>
                    <a:pt x="1546" y="7"/>
                    <a:pt x="1546" y="7"/>
                  </a:cubicBezTo>
                  <a:cubicBezTo>
                    <a:pt x="1546" y="7"/>
                    <a:pt x="1546" y="7"/>
                    <a:pt x="1546" y="7"/>
                  </a:cubicBezTo>
                  <a:cubicBezTo>
                    <a:pt x="1546" y="7"/>
                    <a:pt x="1545" y="7"/>
                    <a:pt x="1545" y="7"/>
                  </a:cubicBezTo>
                  <a:cubicBezTo>
                    <a:pt x="1545" y="7"/>
                    <a:pt x="1545" y="7"/>
                    <a:pt x="1545" y="7"/>
                  </a:cubicBezTo>
                  <a:cubicBezTo>
                    <a:pt x="1544" y="7"/>
                    <a:pt x="1544" y="7"/>
                    <a:pt x="1543" y="7"/>
                  </a:cubicBezTo>
                  <a:cubicBezTo>
                    <a:pt x="1543" y="7"/>
                    <a:pt x="1543" y="7"/>
                    <a:pt x="1543" y="7"/>
                  </a:cubicBezTo>
                  <a:cubicBezTo>
                    <a:pt x="1543" y="7"/>
                    <a:pt x="1543" y="7"/>
                    <a:pt x="1543" y="7"/>
                  </a:cubicBezTo>
                  <a:cubicBezTo>
                    <a:pt x="1543" y="7"/>
                    <a:pt x="1543" y="7"/>
                    <a:pt x="1542" y="8"/>
                  </a:cubicBezTo>
                  <a:cubicBezTo>
                    <a:pt x="1542" y="8"/>
                    <a:pt x="1542" y="8"/>
                    <a:pt x="1542" y="8"/>
                  </a:cubicBezTo>
                  <a:cubicBezTo>
                    <a:pt x="1542" y="8"/>
                    <a:pt x="1542" y="8"/>
                    <a:pt x="1542" y="8"/>
                  </a:cubicBezTo>
                  <a:cubicBezTo>
                    <a:pt x="1542" y="8"/>
                    <a:pt x="1542" y="8"/>
                    <a:pt x="1541" y="8"/>
                  </a:cubicBezTo>
                  <a:cubicBezTo>
                    <a:pt x="1541" y="8"/>
                    <a:pt x="1541" y="8"/>
                    <a:pt x="1541" y="8"/>
                  </a:cubicBezTo>
                  <a:cubicBezTo>
                    <a:pt x="1541" y="8"/>
                    <a:pt x="1541" y="8"/>
                    <a:pt x="1541" y="8"/>
                  </a:cubicBezTo>
                  <a:cubicBezTo>
                    <a:pt x="1541" y="8"/>
                    <a:pt x="1541" y="8"/>
                    <a:pt x="1541" y="8"/>
                  </a:cubicBezTo>
                  <a:cubicBezTo>
                    <a:pt x="1540" y="8"/>
                    <a:pt x="1540" y="8"/>
                    <a:pt x="1540" y="8"/>
                  </a:cubicBezTo>
                  <a:cubicBezTo>
                    <a:pt x="1540" y="8"/>
                    <a:pt x="1540" y="8"/>
                    <a:pt x="1540" y="9"/>
                  </a:cubicBezTo>
                  <a:cubicBezTo>
                    <a:pt x="1540" y="9"/>
                    <a:pt x="1540" y="9"/>
                    <a:pt x="1540" y="9"/>
                  </a:cubicBezTo>
                  <a:cubicBezTo>
                    <a:pt x="1539" y="9"/>
                    <a:pt x="1539" y="9"/>
                    <a:pt x="1539" y="9"/>
                  </a:cubicBezTo>
                  <a:cubicBezTo>
                    <a:pt x="1539" y="9"/>
                    <a:pt x="1539" y="9"/>
                    <a:pt x="1539" y="9"/>
                  </a:cubicBezTo>
                  <a:cubicBezTo>
                    <a:pt x="1539" y="9"/>
                    <a:pt x="1538" y="9"/>
                    <a:pt x="1538" y="9"/>
                  </a:cubicBezTo>
                  <a:cubicBezTo>
                    <a:pt x="1538" y="9"/>
                    <a:pt x="1538" y="9"/>
                    <a:pt x="1538" y="9"/>
                  </a:cubicBezTo>
                  <a:cubicBezTo>
                    <a:pt x="1538" y="9"/>
                    <a:pt x="1538" y="9"/>
                    <a:pt x="1538" y="10"/>
                  </a:cubicBezTo>
                  <a:cubicBezTo>
                    <a:pt x="1538" y="10"/>
                    <a:pt x="1538" y="10"/>
                    <a:pt x="1538" y="10"/>
                  </a:cubicBezTo>
                  <a:cubicBezTo>
                    <a:pt x="1537" y="10"/>
                    <a:pt x="1537" y="10"/>
                    <a:pt x="1537" y="10"/>
                  </a:cubicBezTo>
                  <a:cubicBezTo>
                    <a:pt x="1537" y="10"/>
                    <a:pt x="1537" y="10"/>
                    <a:pt x="1537" y="10"/>
                  </a:cubicBezTo>
                  <a:cubicBezTo>
                    <a:pt x="1537" y="10"/>
                    <a:pt x="1537" y="10"/>
                    <a:pt x="1536" y="10"/>
                  </a:cubicBezTo>
                  <a:cubicBezTo>
                    <a:pt x="1536" y="10"/>
                    <a:pt x="1536" y="10"/>
                    <a:pt x="1536" y="10"/>
                  </a:cubicBezTo>
                  <a:cubicBezTo>
                    <a:pt x="1536" y="11"/>
                    <a:pt x="1536" y="10"/>
                    <a:pt x="1536" y="11"/>
                  </a:cubicBezTo>
                  <a:cubicBezTo>
                    <a:pt x="1536" y="11"/>
                    <a:pt x="1536" y="11"/>
                    <a:pt x="1536" y="11"/>
                  </a:cubicBezTo>
                  <a:cubicBezTo>
                    <a:pt x="1536" y="11"/>
                    <a:pt x="1536" y="11"/>
                    <a:pt x="1535" y="11"/>
                  </a:cubicBezTo>
                  <a:cubicBezTo>
                    <a:pt x="1535" y="11"/>
                    <a:pt x="1535" y="11"/>
                    <a:pt x="1535" y="11"/>
                  </a:cubicBezTo>
                  <a:cubicBezTo>
                    <a:pt x="1535" y="11"/>
                    <a:pt x="1535" y="11"/>
                    <a:pt x="1535" y="11"/>
                  </a:cubicBezTo>
                  <a:cubicBezTo>
                    <a:pt x="1535" y="11"/>
                    <a:pt x="1535" y="11"/>
                    <a:pt x="1535" y="11"/>
                  </a:cubicBezTo>
                  <a:cubicBezTo>
                    <a:pt x="1535" y="11"/>
                    <a:pt x="1534" y="12"/>
                    <a:pt x="1534" y="12"/>
                  </a:cubicBezTo>
                  <a:cubicBezTo>
                    <a:pt x="1534" y="12"/>
                    <a:pt x="1534" y="12"/>
                    <a:pt x="1534" y="12"/>
                  </a:cubicBezTo>
                  <a:cubicBezTo>
                    <a:pt x="1534" y="12"/>
                    <a:pt x="1534" y="12"/>
                    <a:pt x="1534" y="12"/>
                  </a:cubicBezTo>
                  <a:cubicBezTo>
                    <a:pt x="1534" y="12"/>
                    <a:pt x="1534" y="12"/>
                    <a:pt x="1534" y="12"/>
                  </a:cubicBezTo>
                  <a:cubicBezTo>
                    <a:pt x="1534" y="12"/>
                    <a:pt x="1533" y="12"/>
                    <a:pt x="1533" y="13"/>
                  </a:cubicBezTo>
                  <a:cubicBezTo>
                    <a:pt x="1533" y="12"/>
                    <a:pt x="1533" y="12"/>
                    <a:pt x="1533" y="12"/>
                  </a:cubicBezTo>
                  <a:cubicBezTo>
                    <a:pt x="1533" y="12"/>
                    <a:pt x="1533" y="13"/>
                    <a:pt x="1533" y="13"/>
                  </a:cubicBezTo>
                  <a:cubicBezTo>
                    <a:pt x="1533" y="13"/>
                    <a:pt x="1533" y="13"/>
                    <a:pt x="1533" y="13"/>
                  </a:cubicBezTo>
                  <a:cubicBezTo>
                    <a:pt x="1533" y="13"/>
                    <a:pt x="1533" y="13"/>
                    <a:pt x="1533" y="13"/>
                  </a:cubicBezTo>
                  <a:cubicBezTo>
                    <a:pt x="1533" y="13"/>
                    <a:pt x="1533" y="13"/>
                    <a:pt x="1533" y="13"/>
                  </a:cubicBezTo>
                  <a:cubicBezTo>
                    <a:pt x="1533" y="13"/>
                    <a:pt x="1532" y="13"/>
                    <a:pt x="1532" y="13"/>
                  </a:cubicBezTo>
                  <a:cubicBezTo>
                    <a:pt x="1532" y="13"/>
                    <a:pt x="1532" y="13"/>
                    <a:pt x="1532" y="13"/>
                  </a:cubicBezTo>
                  <a:cubicBezTo>
                    <a:pt x="1532" y="14"/>
                    <a:pt x="1531" y="14"/>
                    <a:pt x="1531" y="15"/>
                  </a:cubicBezTo>
                  <a:cubicBezTo>
                    <a:pt x="1531" y="15"/>
                    <a:pt x="1531" y="15"/>
                    <a:pt x="1531" y="15"/>
                  </a:cubicBezTo>
                  <a:cubicBezTo>
                    <a:pt x="1531" y="15"/>
                    <a:pt x="1531" y="15"/>
                    <a:pt x="1531" y="15"/>
                  </a:cubicBezTo>
                  <a:cubicBezTo>
                    <a:pt x="1531" y="19"/>
                    <a:pt x="1531" y="22"/>
                    <a:pt x="1531" y="26"/>
                  </a:cubicBezTo>
                  <a:cubicBezTo>
                    <a:pt x="1531" y="26"/>
                    <a:pt x="1531" y="26"/>
                    <a:pt x="1531" y="26"/>
                  </a:cubicBezTo>
                  <a:cubicBezTo>
                    <a:pt x="1531" y="26"/>
                    <a:pt x="1531" y="26"/>
                    <a:pt x="1531" y="26"/>
                  </a:cubicBezTo>
                  <a:cubicBezTo>
                    <a:pt x="1531" y="26"/>
                    <a:pt x="1531" y="26"/>
                    <a:pt x="1532" y="26"/>
                  </a:cubicBezTo>
                  <a:cubicBezTo>
                    <a:pt x="1531" y="26"/>
                    <a:pt x="1531" y="26"/>
                    <a:pt x="1531" y="26"/>
                  </a:cubicBezTo>
                  <a:cubicBezTo>
                    <a:pt x="1532" y="26"/>
                    <a:pt x="1532" y="26"/>
                    <a:pt x="1532" y="26"/>
                  </a:cubicBezTo>
                  <a:cubicBezTo>
                    <a:pt x="1532" y="26"/>
                    <a:pt x="1532" y="26"/>
                    <a:pt x="1532" y="26"/>
                  </a:cubicBezTo>
                  <a:cubicBezTo>
                    <a:pt x="1532" y="26"/>
                    <a:pt x="1532" y="25"/>
                    <a:pt x="1532" y="25"/>
                  </a:cubicBezTo>
                  <a:cubicBezTo>
                    <a:pt x="1532" y="25"/>
                    <a:pt x="1532" y="25"/>
                    <a:pt x="1532" y="25"/>
                  </a:cubicBezTo>
                  <a:cubicBezTo>
                    <a:pt x="1532" y="25"/>
                    <a:pt x="1533" y="25"/>
                    <a:pt x="1533" y="25"/>
                  </a:cubicBezTo>
                  <a:cubicBezTo>
                    <a:pt x="1533" y="25"/>
                    <a:pt x="1533" y="25"/>
                    <a:pt x="1533" y="25"/>
                  </a:cubicBezTo>
                  <a:cubicBezTo>
                    <a:pt x="1533" y="25"/>
                    <a:pt x="1533" y="25"/>
                    <a:pt x="1533" y="24"/>
                  </a:cubicBezTo>
                  <a:cubicBezTo>
                    <a:pt x="1533" y="25"/>
                    <a:pt x="1533" y="25"/>
                    <a:pt x="1533" y="25"/>
                  </a:cubicBezTo>
                  <a:cubicBezTo>
                    <a:pt x="1533" y="24"/>
                    <a:pt x="1533" y="24"/>
                    <a:pt x="1533" y="24"/>
                  </a:cubicBezTo>
                  <a:cubicBezTo>
                    <a:pt x="1533" y="24"/>
                    <a:pt x="1533" y="24"/>
                    <a:pt x="1533" y="24"/>
                  </a:cubicBezTo>
                  <a:cubicBezTo>
                    <a:pt x="1533" y="24"/>
                    <a:pt x="1534" y="24"/>
                    <a:pt x="1534" y="24"/>
                  </a:cubicBezTo>
                  <a:cubicBezTo>
                    <a:pt x="1534" y="24"/>
                    <a:pt x="1534" y="24"/>
                    <a:pt x="1534" y="24"/>
                  </a:cubicBezTo>
                  <a:cubicBezTo>
                    <a:pt x="1534" y="24"/>
                    <a:pt x="1534" y="24"/>
                    <a:pt x="1534" y="23"/>
                  </a:cubicBezTo>
                  <a:cubicBezTo>
                    <a:pt x="1534" y="24"/>
                    <a:pt x="1534" y="24"/>
                    <a:pt x="1534" y="24"/>
                  </a:cubicBezTo>
                  <a:cubicBezTo>
                    <a:pt x="1534" y="23"/>
                    <a:pt x="1534" y="23"/>
                    <a:pt x="1534" y="23"/>
                  </a:cubicBezTo>
                  <a:cubicBezTo>
                    <a:pt x="1534" y="23"/>
                    <a:pt x="1534" y="23"/>
                    <a:pt x="1534" y="23"/>
                  </a:cubicBezTo>
                  <a:cubicBezTo>
                    <a:pt x="1534" y="23"/>
                    <a:pt x="1535" y="23"/>
                    <a:pt x="1535" y="23"/>
                  </a:cubicBezTo>
                  <a:cubicBezTo>
                    <a:pt x="1535" y="23"/>
                    <a:pt x="1535" y="23"/>
                    <a:pt x="1535" y="23"/>
                  </a:cubicBezTo>
                  <a:cubicBezTo>
                    <a:pt x="1535" y="23"/>
                    <a:pt x="1535" y="23"/>
                    <a:pt x="1535" y="23"/>
                  </a:cubicBezTo>
                  <a:cubicBezTo>
                    <a:pt x="1535" y="23"/>
                    <a:pt x="1535" y="23"/>
                    <a:pt x="1535" y="23"/>
                  </a:cubicBezTo>
                  <a:cubicBezTo>
                    <a:pt x="1535" y="22"/>
                    <a:pt x="1536" y="22"/>
                    <a:pt x="1536" y="22"/>
                  </a:cubicBezTo>
                  <a:cubicBezTo>
                    <a:pt x="1536" y="22"/>
                    <a:pt x="1536" y="22"/>
                    <a:pt x="1536" y="22"/>
                  </a:cubicBezTo>
                  <a:cubicBezTo>
                    <a:pt x="1536" y="22"/>
                    <a:pt x="1536" y="22"/>
                    <a:pt x="1536" y="22"/>
                  </a:cubicBezTo>
                  <a:cubicBezTo>
                    <a:pt x="1536" y="22"/>
                    <a:pt x="1536" y="22"/>
                    <a:pt x="1536" y="22"/>
                  </a:cubicBezTo>
                  <a:cubicBezTo>
                    <a:pt x="1536" y="22"/>
                    <a:pt x="1536" y="22"/>
                    <a:pt x="1536" y="21"/>
                  </a:cubicBezTo>
                  <a:cubicBezTo>
                    <a:pt x="1536" y="21"/>
                    <a:pt x="1536" y="21"/>
                    <a:pt x="1536" y="21"/>
                  </a:cubicBezTo>
                  <a:cubicBezTo>
                    <a:pt x="1537" y="21"/>
                    <a:pt x="1537" y="21"/>
                    <a:pt x="1537" y="21"/>
                  </a:cubicBezTo>
                  <a:cubicBezTo>
                    <a:pt x="1537" y="21"/>
                    <a:pt x="1537" y="21"/>
                    <a:pt x="1537" y="21"/>
                  </a:cubicBezTo>
                  <a:cubicBezTo>
                    <a:pt x="1538" y="21"/>
                    <a:pt x="1538" y="21"/>
                    <a:pt x="1538" y="20"/>
                  </a:cubicBezTo>
                  <a:cubicBezTo>
                    <a:pt x="1538" y="20"/>
                    <a:pt x="1538" y="20"/>
                    <a:pt x="1538" y="20"/>
                  </a:cubicBezTo>
                  <a:cubicBezTo>
                    <a:pt x="1538" y="20"/>
                    <a:pt x="1538" y="20"/>
                    <a:pt x="1539" y="20"/>
                  </a:cubicBezTo>
                  <a:cubicBezTo>
                    <a:pt x="1538" y="20"/>
                    <a:pt x="1538" y="20"/>
                    <a:pt x="1538" y="20"/>
                  </a:cubicBezTo>
                  <a:cubicBezTo>
                    <a:pt x="1539" y="20"/>
                    <a:pt x="1539" y="20"/>
                    <a:pt x="1539" y="20"/>
                  </a:cubicBezTo>
                  <a:cubicBezTo>
                    <a:pt x="1539" y="20"/>
                    <a:pt x="1539" y="20"/>
                    <a:pt x="1539" y="20"/>
                  </a:cubicBezTo>
                  <a:cubicBezTo>
                    <a:pt x="1539" y="19"/>
                    <a:pt x="1539" y="20"/>
                    <a:pt x="1540" y="19"/>
                  </a:cubicBezTo>
                  <a:cubicBezTo>
                    <a:pt x="1540" y="19"/>
                    <a:pt x="1540" y="19"/>
                    <a:pt x="1540" y="19"/>
                  </a:cubicBezTo>
                  <a:cubicBezTo>
                    <a:pt x="1540" y="19"/>
                    <a:pt x="1540" y="19"/>
                    <a:pt x="1540" y="19"/>
                  </a:cubicBezTo>
                  <a:cubicBezTo>
                    <a:pt x="1540" y="19"/>
                    <a:pt x="1540" y="19"/>
                    <a:pt x="1540" y="19"/>
                  </a:cubicBezTo>
                  <a:cubicBezTo>
                    <a:pt x="1540" y="19"/>
                    <a:pt x="1540" y="19"/>
                    <a:pt x="1541" y="19"/>
                  </a:cubicBezTo>
                  <a:cubicBezTo>
                    <a:pt x="1541" y="19"/>
                    <a:pt x="1541" y="19"/>
                    <a:pt x="1541" y="19"/>
                  </a:cubicBezTo>
                  <a:cubicBezTo>
                    <a:pt x="1541" y="18"/>
                    <a:pt x="1541" y="19"/>
                    <a:pt x="1541" y="18"/>
                  </a:cubicBezTo>
                  <a:cubicBezTo>
                    <a:pt x="1541" y="18"/>
                    <a:pt x="1541" y="18"/>
                    <a:pt x="1541" y="18"/>
                  </a:cubicBezTo>
                  <a:cubicBezTo>
                    <a:pt x="1542" y="18"/>
                    <a:pt x="1542" y="18"/>
                    <a:pt x="1542" y="18"/>
                  </a:cubicBezTo>
                  <a:cubicBezTo>
                    <a:pt x="1542" y="18"/>
                    <a:pt x="1542" y="18"/>
                    <a:pt x="1542" y="18"/>
                  </a:cubicBezTo>
                  <a:cubicBezTo>
                    <a:pt x="1542" y="18"/>
                    <a:pt x="1543" y="18"/>
                    <a:pt x="1543" y="18"/>
                  </a:cubicBezTo>
                  <a:cubicBezTo>
                    <a:pt x="1543" y="18"/>
                    <a:pt x="1543" y="18"/>
                    <a:pt x="1543" y="18"/>
                  </a:cubicBezTo>
                  <a:cubicBezTo>
                    <a:pt x="1543" y="17"/>
                    <a:pt x="1543" y="17"/>
                    <a:pt x="1543" y="17"/>
                  </a:cubicBezTo>
                  <a:cubicBezTo>
                    <a:pt x="1543" y="17"/>
                    <a:pt x="1543" y="17"/>
                    <a:pt x="1543" y="17"/>
                  </a:cubicBezTo>
                  <a:cubicBezTo>
                    <a:pt x="1544" y="17"/>
                    <a:pt x="1544" y="17"/>
                    <a:pt x="1544" y="17"/>
                  </a:cubicBezTo>
                  <a:cubicBezTo>
                    <a:pt x="1544" y="17"/>
                    <a:pt x="1544" y="17"/>
                    <a:pt x="1544" y="17"/>
                  </a:cubicBezTo>
                  <a:cubicBezTo>
                    <a:pt x="1544" y="17"/>
                    <a:pt x="1544" y="17"/>
                    <a:pt x="1544" y="17"/>
                  </a:cubicBezTo>
                  <a:cubicBezTo>
                    <a:pt x="1545" y="17"/>
                    <a:pt x="1545" y="17"/>
                    <a:pt x="1545" y="17"/>
                  </a:cubicBezTo>
                  <a:cubicBezTo>
                    <a:pt x="1545" y="17"/>
                    <a:pt x="1545" y="17"/>
                    <a:pt x="1545" y="17"/>
                  </a:cubicBezTo>
                  <a:cubicBezTo>
                    <a:pt x="1545" y="17"/>
                    <a:pt x="1545" y="17"/>
                    <a:pt x="1545" y="17"/>
                  </a:cubicBezTo>
                  <a:cubicBezTo>
                    <a:pt x="1546" y="16"/>
                    <a:pt x="1546" y="16"/>
                    <a:pt x="1546" y="16"/>
                  </a:cubicBezTo>
                  <a:cubicBezTo>
                    <a:pt x="1546" y="16"/>
                    <a:pt x="1546" y="16"/>
                    <a:pt x="1546" y="16"/>
                  </a:cubicBezTo>
                  <a:cubicBezTo>
                    <a:pt x="1546" y="16"/>
                    <a:pt x="1546" y="16"/>
                    <a:pt x="1546" y="16"/>
                  </a:cubicBezTo>
                  <a:cubicBezTo>
                    <a:pt x="1547" y="16"/>
                    <a:pt x="1547" y="16"/>
                    <a:pt x="1548" y="16"/>
                  </a:cubicBezTo>
                  <a:cubicBezTo>
                    <a:pt x="1548" y="16"/>
                    <a:pt x="1548" y="16"/>
                    <a:pt x="1548" y="16"/>
                  </a:cubicBezTo>
                  <a:cubicBezTo>
                    <a:pt x="1548" y="16"/>
                    <a:pt x="1549" y="16"/>
                    <a:pt x="1549" y="16"/>
                  </a:cubicBezTo>
                  <a:cubicBezTo>
                    <a:pt x="1549" y="15"/>
                    <a:pt x="1549" y="15"/>
                    <a:pt x="1549" y="15"/>
                  </a:cubicBezTo>
                  <a:cubicBezTo>
                    <a:pt x="1549" y="15"/>
                    <a:pt x="1549" y="15"/>
                    <a:pt x="1549" y="15"/>
                  </a:cubicBezTo>
                  <a:cubicBezTo>
                    <a:pt x="1550" y="15"/>
                    <a:pt x="1550" y="16"/>
                    <a:pt x="1551" y="15"/>
                  </a:cubicBezTo>
                  <a:cubicBezTo>
                    <a:pt x="1551" y="15"/>
                    <a:pt x="1552" y="15"/>
                    <a:pt x="1552" y="15"/>
                  </a:cubicBezTo>
                  <a:cubicBezTo>
                    <a:pt x="1553" y="15"/>
                    <a:pt x="1554" y="15"/>
                    <a:pt x="1555" y="15"/>
                  </a:cubicBezTo>
                  <a:cubicBezTo>
                    <a:pt x="1555" y="15"/>
                    <a:pt x="1555" y="15"/>
                    <a:pt x="1556" y="15"/>
                  </a:cubicBezTo>
                  <a:cubicBezTo>
                    <a:pt x="1556" y="16"/>
                    <a:pt x="1557" y="15"/>
                    <a:pt x="1558" y="16"/>
                  </a:cubicBezTo>
                  <a:cubicBezTo>
                    <a:pt x="1558" y="15"/>
                    <a:pt x="1558" y="15"/>
                    <a:pt x="1558" y="15"/>
                  </a:cubicBezTo>
                  <a:cubicBezTo>
                    <a:pt x="1558" y="16"/>
                    <a:pt x="1558" y="16"/>
                    <a:pt x="1558" y="16"/>
                  </a:cubicBezTo>
                  <a:cubicBezTo>
                    <a:pt x="1558" y="16"/>
                    <a:pt x="1559" y="16"/>
                    <a:pt x="1559" y="16"/>
                  </a:cubicBezTo>
                  <a:cubicBezTo>
                    <a:pt x="1559" y="16"/>
                    <a:pt x="1559" y="16"/>
                    <a:pt x="1559" y="16"/>
                  </a:cubicBezTo>
                  <a:cubicBezTo>
                    <a:pt x="1559" y="16"/>
                    <a:pt x="1559" y="16"/>
                    <a:pt x="1559" y="16"/>
                  </a:cubicBezTo>
                  <a:cubicBezTo>
                    <a:pt x="1560" y="16"/>
                    <a:pt x="1560" y="16"/>
                    <a:pt x="1560" y="16"/>
                  </a:cubicBezTo>
                  <a:cubicBezTo>
                    <a:pt x="1560" y="16"/>
                    <a:pt x="1560" y="16"/>
                    <a:pt x="1560" y="16"/>
                  </a:cubicBezTo>
                  <a:cubicBezTo>
                    <a:pt x="1560" y="16"/>
                    <a:pt x="1560" y="16"/>
                    <a:pt x="1560" y="16"/>
                  </a:cubicBezTo>
                  <a:cubicBezTo>
                    <a:pt x="1561" y="16"/>
                    <a:pt x="1561" y="16"/>
                    <a:pt x="1561" y="17"/>
                  </a:cubicBezTo>
                  <a:cubicBezTo>
                    <a:pt x="1561" y="17"/>
                    <a:pt x="1561" y="17"/>
                    <a:pt x="1561" y="17"/>
                  </a:cubicBezTo>
                  <a:cubicBezTo>
                    <a:pt x="1561" y="17"/>
                    <a:pt x="1562" y="17"/>
                    <a:pt x="1562" y="17"/>
                  </a:cubicBezTo>
                  <a:cubicBezTo>
                    <a:pt x="1562" y="17"/>
                    <a:pt x="1562" y="17"/>
                    <a:pt x="1562" y="17"/>
                  </a:cubicBezTo>
                  <a:cubicBezTo>
                    <a:pt x="1562" y="17"/>
                    <a:pt x="1562" y="17"/>
                    <a:pt x="1563" y="17"/>
                  </a:cubicBezTo>
                  <a:cubicBezTo>
                    <a:pt x="1563" y="17"/>
                    <a:pt x="1563" y="17"/>
                    <a:pt x="1563" y="17"/>
                  </a:cubicBezTo>
                  <a:cubicBezTo>
                    <a:pt x="1563" y="17"/>
                    <a:pt x="1563" y="17"/>
                    <a:pt x="1563" y="18"/>
                  </a:cubicBezTo>
                  <a:cubicBezTo>
                    <a:pt x="1563" y="18"/>
                    <a:pt x="1563" y="18"/>
                    <a:pt x="1563" y="18"/>
                  </a:cubicBezTo>
                  <a:cubicBezTo>
                    <a:pt x="1563" y="18"/>
                    <a:pt x="1563" y="18"/>
                    <a:pt x="1564" y="18"/>
                  </a:cubicBezTo>
                  <a:cubicBezTo>
                    <a:pt x="1564" y="18"/>
                    <a:pt x="1564" y="18"/>
                    <a:pt x="1564" y="18"/>
                  </a:cubicBezTo>
                  <a:cubicBezTo>
                    <a:pt x="1564" y="18"/>
                    <a:pt x="1564" y="18"/>
                    <a:pt x="1564" y="18"/>
                  </a:cubicBezTo>
                  <a:cubicBezTo>
                    <a:pt x="1564" y="18"/>
                    <a:pt x="1564" y="18"/>
                    <a:pt x="1564" y="18"/>
                  </a:cubicBezTo>
                  <a:cubicBezTo>
                    <a:pt x="1564" y="18"/>
                    <a:pt x="1565" y="19"/>
                    <a:pt x="1565" y="19"/>
                  </a:cubicBezTo>
                  <a:cubicBezTo>
                    <a:pt x="1565" y="19"/>
                    <a:pt x="1565" y="19"/>
                    <a:pt x="1565" y="19"/>
                  </a:cubicBezTo>
                  <a:cubicBezTo>
                    <a:pt x="1565" y="19"/>
                    <a:pt x="1565" y="19"/>
                    <a:pt x="1565" y="19"/>
                  </a:cubicBezTo>
                  <a:cubicBezTo>
                    <a:pt x="1565" y="19"/>
                    <a:pt x="1565" y="19"/>
                    <a:pt x="1565" y="19"/>
                  </a:cubicBezTo>
                  <a:cubicBezTo>
                    <a:pt x="1566" y="20"/>
                    <a:pt x="1566" y="20"/>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8" y="22"/>
                    <a:pt x="1568" y="22"/>
                    <a:pt x="1568" y="22"/>
                  </a:cubicBezTo>
                  <a:cubicBezTo>
                    <a:pt x="1568" y="22"/>
                    <a:pt x="1568" y="22"/>
                    <a:pt x="1568" y="22"/>
                  </a:cubicBezTo>
                  <a:cubicBezTo>
                    <a:pt x="1568" y="22"/>
                    <a:pt x="1568" y="22"/>
                    <a:pt x="1568" y="23"/>
                  </a:cubicBezTo>
                  <a:cubicBezTo>
                    <a:pt x="1568" y="23"/>
                    <a:pt x="1568" y="23"/>
                    <a:pt x="1568" y="23"/>
                  </a:cubicBezTo>
                  <a:cubicBezTo>
                    <a:pt x="1568" y="23"/>
                    <a:pt x="1568" y="23"/>
                    <a:pt x="1568" y="23"/>
                  </a:cubicBezTo>
                  <a:cubicBezTo>
                    <a:pt x="1568" y="23"/>
                    <a:pt x="1568" y="23"/>
                    <a:pt x="1568" y="23"/>
                  </a:cubicBezTo>
                  <a:cubicBezTo>
                    <a:pt x="1569" y="23"/>
                    <a:pt x="1569" y="24"/>
                    <a:pt x="1569" y="24"/>
                  </a:cubicBezTo>
                  <a:cubicBezTo>
                    <a:pt x="1569" y="24"/>
                    <a:pt x="1569" y="24"/>
                    <a:pt x="1569" y="24"/>
                  </a:cubicBezTo>
                  <a:cubicBezTo>
                    <a:pt x="1569" y="24"/>
                    <a:pt x="1569" y="24"/>
                    <a:pt x="1569" y="25"/>
                  </a:cubicBezTo>
                  <a:cubicBezTo>
                    <a:pt x="1569" y="25"/>
                    <a:pt x="1569" y="25"/>
                    <a:pt x="1569" y="25"/>
                  </a:cubicBezTo>
                  <a:cubicBezTo>
                    <a:pt x="1569" y="25"/>
                    <a:pt x="1569" y="25"/>
                    <a:pt x="1569" y="25"/>
                  </a:cubicBezTo>
                  <a:cubicBezTo>
                    <a:pt x="1569" y="25"/>
                    <a:pt x="1569" y="25"/>
                    <a:pt x="1570" y="26"/>
                  </a:cubicBezTo>
                  <a:cubicBezTo>
                    <a:pt x="1570" y="26"/>
                    <a:pt x="1570" y="26"/>
                    <a:pt x="1570" y="26"/>
                  </a:cubicBezTo>
                  <a:cubicBezTo>
                    <a:pt x="1570" y="26"/>
                    <a:pt x="1570" y="26"/>
                    <a:pt x="1570" y="27"/>
                  </a:cubicBezTo>
                  <a:cubicBezTo>
                    <a:pt x="1570" y="27"/>
                    <a:pt x="1570" y="27"/>
                    <a:pt x="1570" y="27"/>
                  </a:cubicBezTo>
                  <a:cubicBezTo>
                    <a:pt x="1570" y="27"/>
                    <a:pt x="1570" y="28"/>
                    <a:pt x="1570" y="28"/>
                  </a:cubicBezTo>
                  <a:cubicBezTo>
                    <a:pt x="1570" y="28"/>
                    <a:pt x="1570" y="29"/>
                    <a:pt x="1570" y="29"/>
                  </a:cubicBezTo>
                  <a:cubicBezTo>
                    <a:pt x="1570" y="31"/>
                    <a:pt x="1570" y="33"/>
                    <a:pt x="1570" y="36"/>
                  </a:cubicBezTo>
                  <a:cubicBezTo>
                    <a:pt x="1570" y="36"/>
                    <a:pt x="1570" y="36"/>
                    <a:pt x="1570" y="36"/>
                  </a:cubicBezTo>
                  <a:cubicBezTo>
                    <a:pt x="1570" y="37"/>
                    <a:pt x="1570" y="37"/>
                    <a:pt x="1570" y="38"/>
                  </a:cubicBezTo>
                  <a:cubicBezTo>
                    <a:pt x="1570" y="38"/>
                    <a:pt x="1570" y="38"/>
                    <a:pt x="1570" y="38"/>
                  </a:cubicBezTo>
                  <a:cubicBezTo>
                    <a:pt x="1570" y="39"/>
                    <a:pt x="1570" y="39"/>
                    <a:pt x="1570" y="39"/>
                  </a:cubicBezTo>
                  <a:cubicBezTo>
                    <a:pt x="1570" y="39"/>
                    <a:pt x="1570" y="39"/>
                    <a:pt x="1570" y="39"/>
                  </a:cubicBezTo>
                  <a:cubicBezTo>
                    <a:pt x="1570" y="40"/>
                    <a:pt x="1570" y="40"/>
                    <a:pt x="1570" y="40"/>
                  </a:cubicBezTo>
                  <a:cubicBezTo>
                    <a:pt x="1569" y="40"/>
                    <a:pt x="1569" y="40"/>
                    <a:pt x="1569" y="41"/>
                  </a:cubicBezTo>
                  <a:cubicBezTo>
                    <a:pt x="1569" y="41"/>
                    <a:pt x="1569" y="41"/>
                    <a:pt x="1569" y="41"/>
                  </a:cubicBezTo>
                  <a:cubicBezTo>
                    <a:pt x="1569" y="41"/>
                    <a:pt x="1569" y="41"/>
                    <a:pt x="1569" y="42"/>
                  </a:cubicBezTo>
                  <a:cubicBezTo>
                    <a:pt x="1569" y="42"/>
                    <a:pt x="1569" y="42"/>
                    <a:pt x="1569" y="42"/>
                  </a:cubicBezTo>
                  <a:cubicBezTo>
                    <a:pt x="1569" y="42"/>
                    <a:pt x="1569" y="42"/>
                    <a:pt x="1569" y="42"/>
                  </a:cubicBezTo>
                  <a:cubicBezTo>
                    <a:pt x="1569" y="43"/>
                    <a:pt x="1569" y="43"/>
                    <a:pt x="1568" y="43"/>
                  </a:cubicBezTo>
                  <a:cubicBezTo>
                    <a:pt x="1568" y="43"/>
                    <a:pt x="1568" y="43"/>
                    <a:pt x="1568" y="43"/>
                  </a:cubicBezTo>
                  <a:cubicBezTo>
                    <a:pt x="1568" y="43"/>
                    <a:pt x="1568" y="43"/>
                    <a:pt x="1568" y="43"/>
                  </a:cubicBezTo>
                  <a:cubicBezTo>
                    <a:pt x="1568" y="44"/>
                    <a:pt x="1568" y="44"/>
                    <a:pt x="1568" y="44"/>
                  </a:cubicBezTo>
                  <a:cubicBezTo>
                    <a:pt x="1568" y="44"/>
                    <a:pt x="1568" y="44"/>
                    <a:pt x="1568" y="44"/>
                  </a:cubicBezTo>
                  <a:cubicBezTo>
                    <a:pt x="1568" y="44"/>
                    <a:pt x="1568" y="45"/>
                    <a:pt x="1567" y="45"/>
                  </a:cubicBezTo>
                  <a:cubicBezTo>
                    <a:pt x="1567" y="45"/>
                    <a:pt x="1567" y="45"/>
                    <a:pt x="1567" y="45"/>
                  </a:cubicBezTo>
                  <a:cubicBezTo>
                    <a:pt x="1567" y="45"/>
                    <a:pt x="1567" y="45"/>
                    <a:pt x="1567" y="45"/>
                  </a:cubicBezTo>
                  <a:cubicBezTo>
                    <a:pt x="1567" y="45"/>
                    <a:pt x="1567" y="45"/>
                    <a:pt x="1567" y="45"/>
                  </a:cubicBezTo>
                  <a:cubicBezTo>
                    <a:pt x="1567" y="45"/>
                    <a:pt x="1567" y="45"/>
                    <a:pt x="1567" y="45"/>
                  </a:cubicBezTo>
                  <a:cubicBezTo>
                    <a:pt x="1567" y="46"/>
                    <a:pt x="1567" y="46"/>
                    <a:pt x="1567" y="46"/>
                  </a:cubicBezTo>
                  <a:cubicBezTo>
                    <a:pt x="1567" y="46"/>
                    <a:pt x="1567" y="46"/>
                    <a:pt x="1567" y="46"/>
                  </a:cubicBezTo>
                  <a:cubicBezTo>
                    <a:pt x="1567" y="46"/>
                    <a:pt x="1567" y="46"/>
                    <a:pt x="1566" y="47"/>
                  </a:cubicBezTo>
                  <a:cubicBezTo>
                    <a:pt x="1566" y="47"/>
                    <a:pt x="1566" y="47"/>
                    <a:pt x="1566" y="47"/>
                  </a:cubicBezTo>
                  <a:cubicBezTo>
                    <a:pt x="1566" y="47"/>
                    <a:pt x="1566" y="47"/>
                    <a:pt x="1566" y="47"/>
                  </a:cubicBezTo>
                  <a:cubicBezTo>
                    <a:pt x="1566" y="47"/>
                    <a:pt x="1566" y="47"/>
                    <a:pt x="1566" y="47"/>
                  </a:cubicBezTo>
                  <a:cubicBezTo>
                    <a:pt x="1566" y="47"/>
                    <a:pt x="1566" y="47"/>
                    <a:pt x="1566" y="48"/>
                  </a:cubicBezTo>
                  <a:cubicBezTo>
                    <a:pt x="1566" y="48"/>
                    <a:pt x="1566" y="48"/>
                    <a:pt x="1566" y="48"/>
                  </a:cubicBezTo>
                  <a:cubicBezTo>
                    <a:pt x="1566" y="48"/>
                    <a:pt x="1565" y="48"/>
                    <a:pt x="1565" y="48"/>
                  </a:cubicBezTo>
                  <a:cubicBezTo>
                    <a:pt x="1565" y="48"/>
                    <a:pt x="1565" y="48"/>
                    <a:pt x="1565" y="48"/>
                  </a:cubicBezTo>
                  <a:cubicBezTo>
                    <a:pt x="1565" y="48"/>
                    <a:pt x="1565" y="48"/>
                    <a:pt x="1565" y="48"/>
                  </a:cubicBezTo>
                  <a:cubicBezTo>
                    <a:pt x="1565" y="48"/>
                    <a:pt x="1565" y="48"/>
                    <a:pt x="1565" y="48"/>
                  </a:cubicBezTo>
                  <a:cubicBezTo>
                    <a:pt x="1565" y="48"/>
                    <a:pt x="1565" y="49"/>
                    <a:pt x="1565" y="49"/>
                  </a:cubicBezTo>
                  <a:cubicBezTo>
                    <a:pt x="1565" y="49"/>
                    <a:pt x="1565" y="49"/>
                    <a:pt x="1565" y="49"/>
                  </a:cubicBezTo>
                  <a:cubicBezTo>
                    <a:pt x="1565" y="49"/>
                    <a:pt x="1564" y="49"/>
                    <a:pt x="1564" y="49"/>
                  </a:cubicBezTo>
                  <a:cubicBezTo>
                    <a:pt x="1564" y="49"/>
                    <a:pt x="1564" y="49"/>
                    <a:pt x="1564" y="49"/>
                  </a:cubicBezTo>
                  <a:cubicBezTo>
                    <a:pt x="1564" y="49"/>
                    <a:pt x="1564" y="50"/>
                    <a:pt x="1564" y="50"/>
                  </a:cubicBezTo>
                  <a:cubicBezTo>
                    <a:pt x="1564" y="50"/>
                    <a:pt x="1564" y="50"/>
                    <a:pt x="1564" y="50"/>
                  </a:cubicBezTo>
                  <a:cubicBezTo>
                    <a:pt x="1564" y="50"/>
                    <a:pt x="1564" y="50"/>
                    <a:pt x="1564" y="50"/>
                  </a:cubicBezTo>
                  <a:cubicBezTo>
                    <a:pt x="1564" y="50"/>
                    <a:pt x="1564" y="50"/>
                    <a:pt x="1564" y="50"/>
                  </a:cubicBezTo>
                  <a:cubicBezTo>
                    <a:pt x="1563" y="50"/>
                    <a:pt x="1563" y="50"/>
                    <a:pt x="1563" y="50"/>
                  </a:cubicBezTo>
                  <a:cubicBezTo>
                    <a:pt x="1563" y="50"/>
                    <a:pt x="1563" y="50"/>
                    <a:pt x="1563" y="50"/>
                  </a:cubicBezTo>
                  <a:cubicBezTo>
                    <a:pt x="1562" y="52"/>
                    <a:pt x="1561" y="53"/>
                    <a:pt x="1559" y="54"/>
                  </a:cubicBezTo>
                  <a:cubicBezTo>
                    <a:pt x="1560" y="54"/>
                    <a:pt x="1560" y="54"/>
                    <a:pt x="1560" y="54"/>
                  </a:cubicBezTo>
                  <a:cubicBezTo>
                    <a:pt x="1559" y="54"/>
                    <a:pt x="1559" y="54"/>
                    <a:pt x="1559" y="55"/>
                  </a:cubicBezTo>
                  <a:cubicBezTo>
                    <a:pt x="1559" y="55"/>
                    <a:pt x="1559" y="55"/>
                    <a:pt x="1559" y="55"/>
                  </a:cubicBezTo>
                  <a:cubicBezTo>
                    <a:pt x="1559" y="55"/>
                    <a:pt x="1559" y="55"/>
                    <a:pt x="1559" y="55"/>
                  </a:cubicBezTo>
                  <a:cubicBezTo>
                    <a:pt x="1559" y="55"/>
                    <a:pt x="1559" y="55"/>
                    <a:pt x="1559" y="55"/>
                  </a:cubicBezTo>
                  <a:cubicBezTo>
                    <a:pt x="1559" y="55"/>
                    <a:pt x="1558" y="55"/>
                    <a:pt x="1558" y="55"/>
                  </a:cubicBezTo>
                  <a:cubicBezTo>
                    <a:pt x="1558" y="55"/>
                    <a:pt x="1558" y="55"/>
                    <a:pt x="1558" y="55"/>
                  </a:cubicBezTo>
                  <a:cubicBezTo>
                    <a:pt x="1558" y="55"/>
                    <a:pt x="1558" y="55"/>
                    <a:pt x="1558" y="56"/>
                  </a:cubicBezTo>
                  <a:cubicBezTo>
                    <a:pt x="1558" y="56"/>
                    <a:pt x="1558" y="56"/>
                    <a:pt x="1558" y="56"/>
                  </a:cubicBezTo>
                  <a:cubicBezTo>
                    <a:pt x="1558" y="56"/>
                    <a:pt x="1557" y="56"/>
                    <a:pt x="1557" y="56"/>
                  </a:cubicBezTo>
                  <a:cubicBezTo>
                    <a:pt x="1557" y="56"/>
                    <a:pt x="1557" y="56"/>
                    <a:pt x="1557" y="56"/>
                  </a:cubicBezTo>
                  <a:cubicBezTo>
                    <a:pt x="1557" y="56"/>
                    <a:pt x="1557" y="56"/>
                    <a:pt x="1557" y="57"/>
                  </a:cubicBezTo>
                  <a:cubicBezTo>
                    <a:pt x="1557" y="57"/>
                    <a:pt x="1557" y="57"/>
                    <a:pt x="1557" y="57"/>
                  </a:cubicBezTo>
                  <a:cubicBezTo>
                    <a:pt x="1557" y="57"/>
                    <a:pt x="1556" y="57"/>
                    <a:pt x="1556" y="57"/>
                  </a:cubicBezTo>
                  <a:cubicBezTo>
                    <a:pt x="1556" y="57"/>
                    <a:pt x="1556" y="57"/>
                    <a:pt x="1556" y="57"/>
                  </a:cubicBezTo>
                  <a:cubicBezTo>
                    <a:pt x="1556" y="57"/>
                    <a:pt x="1556" y="57"/>
                    <a:pt x="1556" y="57"/>
                  </a:cubicBezTo>
                  <a:cubicBezTo>
                    <a:pt x="1556" y="57"/>
                    <a:pt x="1556" y="57"/>
                    <a:pt x="1556" y="57"/>
                  </a:cubicBezTo>
                  <a:cubicBezTo>
                    <a:pt x="1556" y="58"/>
                    <a:pt x="1555" y="57"/>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4" y="59"/>
                    <a:pt x="1554" y="58"/>
                    <a:pt x="1554" y="59"/>
                  </a:cubicBezTo>
                  <a:cubicBezTo>
                    <a:pt x="1554" y="59"/>
                    <a:pt x="1554" y="59"/>
                    <a:pt x="1554" y="59"/>
                  </a:cubicBezTo>
                  <a:cubicBezTo>
                    <a:pt x="1554" y="59"/>
                    <a:pt x="1554" y="59"/>
                    <a:pt x="1554" y="59"/>
                  </a:cubicBezTo>
                  <a:cubicBezTo>
                    <a:pt x="1554" y="59"/>
                    <a:pt x="1554" y="59"/>
                    <a:pt x="1554" y="59"/>
                  </a:cubicBezTo>
                  <a:cubicBezTo>
                    <a:pt x="1553" y="59"/>
                    <a:pt x="1553" y="59"/>
                    <a:pt x="1553" y="59"/>
                  </a:cubicBezTo>
                  <a:cubicBezTo>
                    <a:pt x="1553" y="59"/>
                    <a:pt x="1553" y="59"/>
                    <a:pt x="1553" y="59"/>
                  </a:cubicBezTo>
                  <a:cubicBezTo>
                    <a:pt x="1553" y="60"/>
                    <a:pt x="1553" y="60"/>
                    <a:pt x="1553" y="60"/>
                  </a:cubicBezTo>
                  <a:cubicBezTo>
                    <a:pt x="1553" y="60"/>
                    <a:pt x="1553" y="60"/>
                    <a:pt x="1553" y="60"/>
                  </a:cubicBezTo>
                  <a:cubicBezTo>
                    <a:pt x="1552" y="60"/>
                    <a:pt x="1552" y="60"/>
                    <a:pt x="1552" y="60"/>
                  </a:cubicBezTo>
                  <a:cubicBezTo>
                    <a:pt x="1552" y="60"/>
                    <a:pt x="1552" y="60"/>
                    <a:pt x="1552" y="60"/>
                  </a:cubicBezTo>
                  <a:cubicBezTo>
                    <a:pt x="1552" y="60"/>
                    <a:pt x="1552" y="60"/>
                    <a:pt x="1552" y="60"/>
                  </a:cubicBezTo>
                  <a:cubicBezTo>
                    <a:pt x="1552" y="60"/>
                    <a:pt x="1552" y="60"/>
                    <a:pt x="1552" y="60"/>
                  </a:cubicBezTo>
                  <a:cubicBezTo>
                    <a:pt x="1552" y="61"/>
                    <a:pt x="1551" y="61"/>
                    <a:pt x="1551" y="61"/>
                  </a:cubicBezTo>
                  <a:cubicBezTo>
                    <a:pt x="1551" y="61"/>
                    <a:pt x="1551" y="61"/>
                    <a:pt x="1551" y="61"/>
                  </a:cubicBezTo>
                  <a:cubicBezTo>
                    <a:pt x="1551" y="61"/>
                    <a:pt x="1551" y="61"/>
                    <a:pt x="1551" y="61"/>
                  </a:cubicBezTo>
                  <a:cubicBezTo>
                    <a:pt x="1551" y="61"/>
                    <a:pt x="1551" y="61"/>
                    <a:pt x="1551" y="61"/>
                  </a:cubicBezTo>
                  <a:cubicBezTo>
                    <a:pt x="1550" y="61"/>
                    <a:pt x="1550" y="62"/>
                    <a:pt x="1550" y="62"/>
                  </a:cubicBezTo>
                  <a:cubicBezTo>
                    <a:pt x="1550" y="62"/>
                    <a:pt x="1550" y="62"/>
                    <a:pt x="1550" y="62"/>
                  </a:cubicBezTo>
                  <a:cubicBezTo>
                    <a:pt x="1550" y="62"/>
                    <a:pt x="1549" y="62"/>
                    <a:pt x="1549" y="62"/>
                  </a:cubicBezTo>
                  <a:cubicBezTo>
                    <a:pt x="1549" y="62"/>
                    <a:pt x="1549" y="62"/>
                    <a:pt x="1549" y="62"/>
                  </a:cubicBezTo>
                  <a:cubicBezTo>
                    <a:pt x="1549" y="62"/>
                    <a:pt x="1549" y="63"/>
                    <a:pt x="1548" y="63"/>
                  </a:cubicBezTo>
                  <a:cubicBezTo>
                    <a:pt x="1548" y="63"/>
                    <a:pt x="1548" y="63"/>
                    <a:pt x="1548" y="63"/>
                  </a:cubicBezTo>
                  <a:cubicBezTo>
                    <a:pt x="1548" y="63"/>
                    <a:pt x="1548" y="63"/>
                    <a:pt x="1548" y="63"/>
                  </a:cubicBezTo>
                  <a:cubicBezTo>
                    <a:pt x="1548" y="63"/>
                    <a:pt x="1548" y="63"/>
                    <a:pt x="1548" y="63"/>
                  </a:cubicBezTo>
                  <a:cubicBezTo>
                    <a:pt x="1548" y="64"/>
                    <a:pt x="1547" y="64"/>
                    <a:pt x="1547" y="64"/>
                  </a:cubicBezTo>
                  <a:cubicBezTo>
                    <a:pt x="1547" y="64"/>
                    <a:pt x="1547" y="64"/>
                    <a:pt x="1547" y="64"/>
                  </a:cubicBezTo>
                  <a:cubicBezTo>
                    <a:pt x="1547" y="64"/>
                    <a:pt x="1547" y="64"/>
                    <a:pt x="1547" y="64"/>
                  </a:cubicBezTo>
                  <a:cubicBezTo>
                    <a:pt x="1547" y="64"/>
                    <a:pt x="1547" y="64"/>
                    <a:pt x="1547" y="64"/>
                  </a:cubicBezTo>
                  <a:cubicBezTo>
                    <a:pt x="1546" y="64"/>
                    <a:pt x="1546" y="65"/>
                    <a:pt x="1546" y="65"/>
                  </a:cubicBezTo>
                  <a:cubicBezTo>
                    <a:pt x="1546" y="65"/>
                    <a:pt x="1546" y="65"/>
                    <a:pt x="1546" y="65"/>
                  </a:cubicBezTo>
                  <a:cubicBezTo>
                    <a:pt x="1546" y="65"/>
                    <a:pt x="1546" y="65"/>
                    <a:pt x="1546" y="65"/>
                  </a:cubicBezTo>
                  <a:cubicBezTo>
                    <a:pt x="1546" y="65"/>
                    <a:pt x="1546" y="65"/>
                    <a:pt x="1546" y="65"/>
                  </a:cubicBezTo>
                  <a:cubicBezTo>
                    <a:pt x="1545" y="65"/>
                    <a:pt x="1545" y="65"/>
                    <a:pt x="1545" y="65"/>
                  </a:cubicBezTo>
                  <a:cubicBezTo>
                    <a:pt x="1545" y="65"/>
                    <a:pt x="1545" y="65"/>
                    <a:pt x="1545" y="65"/>
                  </a:cubicBezTo>
                  <a:cubicBezTo>
                    <a:pt x="1545" y="65"/>
                    <a:pt x="1545" y="66"/>
                    <a:pt x="1545" y="66"/>
                  </a:cubicBezTo>
                  <a:cubicBezTo>
                    <a:pt x="1545" y="66"/>
                    <a:pt x="1545" y="66"/>
                    <a:pt x="1545" y="66"/>
                  </a:cubicBezTo>
                  <a:cubicBezTo>
                    <a:pt x="1545" y="66"/>
                    <a:pt x="1545" y="66"/>
                    <a:pt x="1544" y="66"/>
                  </a:cubicBezTo>
                  <a:cubicBezTo>
                    <a:pt x="1544" y="66"/>
                    <a:pt x="1544" y="66"/>
                    <a:pt x="1544" y="66"/>
                  </a:cubicBezTo>
                  <a:cubicBezTo>
                    <a:pt x="1544" y="66"/>
                    <a:pt x="1544" y="66"/>
                    <a:pt x="1544" y="66"/>
                  </a:cubicBezTo>
                  <a:cubicBezTo>
                    <a:pt x="1544" y="66"/>
                    <a:pt x="1544" y="66"/>
                    <a:pt x="1544" y="66"/>
                  </a:cubicBezTo>
                  <a:cubicBezTo>
                    <a:pt x="1544" y="66"/>
                    <a:pt x="1544"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2" y="68"/>
                    <a:pt x="1542" y="68"/>
                    <a:pt x="1542" y="68"/>
                  </a:cubicBezTo>
                  <a:cubicBezTo>
                    <a:pt x="1542" y="68"/>
                    <a:pt x="1542" y="68"/>
                    <a:pt x="1542" y="68"/>
                  </a:cubicBezTo>
                  <a:cubicBezTo>
                    <a:pt x="1542" y="68"/>
                    <a:pt x="1541" y="68"/>
                    <a:pt x="1541" y="68"/>
                  </a:cubicBezTo>
                  <a:cubicBezTo>
                    <a:pt x="1541" y="68"/>
                    <a:pt x="1541" y="68"/>
                    <a:pt x="1541" y="68"/>
                  </a:cubicBezTo>
                  <a:cubicBezTo>
                    <a:pt x="1541" y="69"/>
                    <a:pt x="1541" y="69"/>
                    <a:pt x="1541" y="69"/>
                  </a:cubicBezTo>
                  <a:cubicBezTo>
                    <a:pt x="1541" y="69"/>
                    <a:pt x="1541" y="69"/>
                    <a:pt x="1541" y="69"/>
                  </a:cubicBezTo>
                  <a:cubicBezTo>
                    <a:pt x="1541" y="69"/>
                    <a:pt x="1541" y="69"/>
                    <a:pt x="1541" y="69"/>
                  </a:cubicBezTo>
                  <a:cubicBezTo>
                    <a:pt x="1541" y="69"/>
                    <a:pt x="1541" y="69"/>
                    <a:pt x="1541" y="69"/>
                  </a:cubicBezTo>
                  <a:cubicBezTo>
                    <a:pt x="1540" y="69"/>
                    <a:pt x="1540" y="70"/>
                    <a:pt x="1540" y="70"/>
                  </a:cubicBezTo>
                  <a:cubicBezTo>
                    <a:pt x="1540" y="70"/>
                    <a:pt x="1540" y="70"/>
                    <a:pt x="1540" y="70"/>
                  </a:cubicBezTo>
                  <a:cubicBezTo>
                    <a:pt x="1539" y="70"/>
                    <a:pt x="1539" y="70"/>
                    <a:pt x="1539" y="70"/>
                  </a:cubicBezTo>
                  <a:cubicBezTo>
                    <a:pt x="1539" y="70"/>
                    <a:pt x="1539" y="70"/>
                    <a:pt x="1539" y="70"/>
                  </a:cubicBezTo>
                  <a:cubicBezTo>
                    <a:pt x="1539" y="70"/>
                    <a:pt x="1539" y="70"/>
                    <a:pt x="1539" y="71"/>
                  </a:cubicBezTo>
                  <a:cubicBezTo>
                    <a:pt x="1539" y="71"/>
                    <a:pt x="1539" y="71"/>
                    <a:pt x="1539" y="71"/>
                  </a:cubicBezTo>
                  <a:cubicBezTo>
                    <a:pt x="1539" y="71"/>
                    <a:pt x="1539" y="71"/>
                    <a:pt x="1539" y="71"/>
                  </a:cubicBezTo>
                  <a:cubicBezTo>
                    <a:pt x="1539" y="71"/>
                    <a:pt x="1539" y="71"/>
                    <a:pt x="1539" y="71"/>
                  </a:cubicBezTo>
                  <a:cubicBezTo>
                    <a:pt x="1538" y="71"/>
                    <a:pt x="1538" y="71"/>
                    <a:pt x="1538" y="71"/>
                  </a:cubicBezTo>
                  <a:cubicBezTo>
                    <a:pt x="1538" y="71"/>
                    <a:pt x="1538" y="71"/>
                    <a:pt x="1538" y="71"/>
                  </a:cubicBezTo>
                  <a:cubicBezTo>
                    <a:pt x="1538" y="71"/>
                    <a:pt x="1538" y="71"/>
                    <a:pt x="1538" y="72"/>
                  </a:cubicBezTo>
                  <a:cubicBezTo>
                    <a:pt x="1538" y="72"/>
                    <a:pt x="1538" y="72"/>
                    <a:pt x="1538" y="72"/>
                  </a:cubicBezTo>
                  <a:cubicBezTo>
                    <a:pt x="1538" y="72"/>
                    <a:pt x="1538" y="72"/>
                    <a:pt x="1537" y="72"/>
                  </a:cubicBezTo>
                  <a:cubicBezTo>
                    <a:pt x="1538" y="72"/>
                    <a:pt x="1538" y="72"/>
                    <a:pt x="1538" y="72"/>
                  </a:cubicBezTo>
                  <a:cubicBezTo>
                    <a:pt x="1537" y="72"/>
                    <a:pt x="1537" y="72"/>
                    <a:pt x="1537" y="72"/>
                  </a:cubicBezTo>
                  <a:cubicBezTo>
                    <a:pt x="1537" y="72"/>
                    <a:pt x="1537" y="72"/>
                    <a:pt x="1537" y="72"/>
                  </a:cubicBezTo>
                  <a:cubicBezTo>
                    <a:pt x="1537" y="72"/>
                    <a:pt x="1537" y="73"/>
                    <a:pt x="1537" y="73"/>
                  </a:cubicBezTo>
                  <a:cubicBezTo>
                    <a:pt x="1537" y="73"/>
                    <a:pt x="1537" y="73"/>
                    <a:pt x="1537" y="73"/>
                  </a:cubicBezTo>
                  <a:cubicBezTo>
                    <a:pt x="1537" y="73"/>
                    <a:pt x="1537" y="73"/>
                    <a:pt x="1536" y="73"/>
                  </a:cubicBezTo>
                  <a:cubicBezTo>
                    <a:pt x="1536" y="73"/>
                    <a:pt x="1536" y="73"/>
                    <a:pt x="1536" y="73"/>
                  </a:cubicBezTo>
                  <a:cubicBezTo>
                    <a:pt x="1536" y="73"/>
                    <a:pt x="1536" y="73"/>
                    <a:pt x="1536" y="73"/>
                  </a:cubicBezTo>
                  <a:cubicBezTo>
                    <a:pt x="1536" y="73"/>
                    <a:pt x="1536" y="73"/>
                    <a:pt x="1536" y="73"/>
                  </a:cubicBezTo>
                  <a:cubicBezTo>
                    <a:pt x="1536" y="73"/>
                    <a:pt x="1536" y="74"/>
                    <a:pt x="1536" y="74"/>
                  </a:cubicBezTo>
                  <a:cubicBezTo>
                    <a:pt x="1536" y="74"/>
                    <a:pt x="1536" y="74"/>
                    <a:pt x="1536" y="74"/>
                  </a:cubicBezTo>
                  <a:cubicBezTo>
                    <a:pt x="1536" y="74"/>
                    <a:pt x="1536" y="74"/>
                    <a:pt x="1535" y="74"/>
                  </a:cubicBezTo>
                  <a:cubicBezTo>
                    <a:pt x="1535" y="74"/>
                    <a:pt x="1535" y="74"/>
                    <a:pt x="1535" y="74"/>
                  </a:cubicBezTo>
                  <a:cubicBezTo>
                    <a:pt x="1535" y="74"/>
                    <a:pt x="1535" y="74"/>
                    <a:pt x="1535" y="74"/>
                  </a:cubicBezTo>
                  <a:cubicBezTo>
                    <a:pt x="1535" y="74"/>
                    <a:pt x="1535" y="74"/>
                    <a:pt x="1535" y="74"/>
                  </a:cubicBezTo>
                  <a:cubicBezTo>
                    <a:pt x="1535" y="74"/>
                    <a:pt x="1535" y="75"/>
                    <a:pt x="1535" y="75"/>
                  </a:cubicBezTo>
                  <a:cubicBezTo>
                    <a:pt x="1535" y="75"/>
                    <a:pt x="1535" y="75"/>
                    <a:pt x="1535" y="75"/>
                  </a:cubicBezTo>
                  <a:cubicBezTo>
                    <a:pt x="1535" y="75"/>
                    <a:pt x="1534" y="75"/>
                    <a:pt x="1534" y="75"/>
                  </a:cubicBezTo>
                  <a:cubicBezTo>
                    <a:pt x="1534" y="75"/>
                    <a:pt x="1534" y="75"/>
                    <a:pt x="1534" y="75"/>
                  </a:cubicBezTo>
                  <a:cubicBezTo>
                    <a:pt x="1534" y="75"/>
                    <a:pt x="1534" y="76"/>
                    <a:pt x="1534" y="76"/>
                  </a:cubicBezTo>
                  <a:cubicBezTo>
                    <a:pt x="1534" y="76"/>
                    <a:pt x="1534" y="76"/>
                    <a:pt x="1534" y="76"/>
                  </a:cubicBezTo>
                  <a:cubicBezTo>
                    <a:pt x="1534" y="76"/>
                    <a:pt x="1533" y="76"/>
                    <a:pt x="1533" y="77"/>
                  </a:cubicBezTo>
                  <a:cubicBezTo>
                    <a:pt x="1533" y="76"/>
                    <a:pt x="1533" y="76"/>
                    <a:pt x="1533" y="76"/>
                  </a:cubicBezTo>
                  <a:cubicBezTo>
                    <a:pt x="1533" y="77"/>
                    <a:pt x="1533" y="77"/>
                    <a:pt x="1533" y="77"/>
                  </a:cubicBezTo>
                  <a:cubicBezTo>
                    <a:pt x="1533" y="77"/>
                    <a:pt x="1533" y="77"/>
                    <a:pt x="1533" y="77"/>
                  </a:cubicBezTo>
                  <a:cubicBezTo>
                    <a:pt x="1533" y="77"/>
                    <a:pt x="1533" y="77"/>
                    <a:pt x="1533" y="77"/>
                  </a:cubicBezTo>
                  <a:cubicBezTo>
                    <a:pt x="1533" y="77"/>
                    <a:pt x="1533" y="77"/>
                    <a:pt x="1533" y="77"/>
                  </a:cubicBezTo>
                  <a:cubicBezTo>
                    <a:pt x="1533" y="78"/>
                    <a:pt x="1532" y="78"/>
                    <a:pt x="1532" y="78"/>
                  </a:cubicBezTo>
                  <a:cubicBezTo>
                    <a:pt x="1532" y="78"/>
                    <a:pt x="1532" y="78"/>
                    <a:pt x="1532" y="78"/>
                  </a:cubicBezTo>
                  <a:cubicBezTo>
                    <a:pt x="1532" y="78"/>
                    <a:pt x="1532" y="78"/>
                    <a:pt x="1532" y="79"/>
                  </a:cubicBezTo>
                  <a:cubicBezTo>
                    <a:pt x="1532" y="79"/>
                    <a:pt x="1532" y="79"/>
                    <a:pt x="1532" y="79"/>
                  </a:cubicBezTo>
                  <a:cubicBezTo>
                    <a:pt x="1532" y="79"/>
                    <a:pt x="1532" y="79"/>
                    <a:pt x="1532" y="79"/>
                  </a:cubicBezTo>
                  <a:cubicBezTo>
                    <a:pt x="1532" y="79"/>
                    <a:pt x="1532" y="79"/>
                    <a:pt x="1532" y="79"/>
                  </a:cubicBezTo>
                  <a:cubicBezTo>
                    <a:pt x="1531" y="79"/>
                    <a:pt x="1531" y="79"/>
                    <a:pt x="1531" y="80"/>
                  </a:cubicBezTo>
                  <a:cubicBezTo>
                    <a:pt x="1531" y="80"/>
                    <a:pt x="1531" y="80"/>
                    <a:pt x="1531" y="80"/>
                  </a:cubicBezTo>
                  <a:cubicBezTo>
                    <a:pt x="1531" y="80"/>
                    <a:pt x="1531" y="80"/>
                    <a:pt x="1531" y="80"/>
                  </a:cubicBezTo>
                  <a:cubicBezTo>
                    <a:pt x="1531" y="80"/>
                    <a:pt x="1531" y="80"/>
                    <a:pt x="1531" y="80"/>
                  </a:cubicBezTo>
                  <a:cubicBezTo>
                    <a:pt x="1531" y="80"/>
                    <a:pt x="1531" y="80"/>
                    <a:pt x="1531" y="80"/>
                  </a:cubicBezTo>
                  <a:cubicBezTo>
                    <a:pt x="1531" y="80"/>
                    <a:pt x="1531" y="81"/>
                    <a:pt x="1531" y="81"/>
                  </a:cubicBezTo>
                  <a:cubicBezTo>
                    <a:pt x="1531" y="81"/>
                    <a:pt x="1531" y="81"/>
                    <a:pt x="1531" y="81"/>
                  </a:cubicBezTo>
                  <a:cubicBezTo>
                    <a:pt x="1530" y="81"/>
                    <a:pt x="1530" y="81"/>
                    <a:pt x="1530" y="81"/>
                  </a:cubicBezTo>
                  <a:cubicBezTo>
                    <a:pt x="1530" y="81"/>
                    <a:pt x="1530" y="81"/>
                    <a:pt x="1530" y="81"/>
                  </a:cubicBezTo>
                  <a:cubicBezTo>
                    <a:pt x="1530" y="82"/>
                    <a:pt x="1530" y="82"/>
                    <a:pt x="1530" y="82"/>
                  </a:cubicBezTo>
                  <a:cubicBezTo>
                    <a:pt x="1530" y="82"/>
                    <a:pt x="1530" y="82"/>
                    <a:pt x="1530" y="82"/>
                  </a:cubicBezTo>
                  <a:cubicBezTo>
                    <a:pt x="1530" y="82"/>
                    <a:pt x="1530" y="83"/>
                    <a:pt x="1530" y="83"/>
                  </a:cubicBezTo>
                  <a:cubicBezTo>
                    <a:pt x="1530" y="83"/>
                    <a:pt x="1530" y="83"/>
                    <a:pt x="1529" y="83"/>
                  </a:cubicBezTo>
                  <a:cubicBezTo>
                    <a:pt x="1529" y="83"/>
                    <a:pt x="1529" y="84"/>
                    <a:pt x="1529" y="84"/>
                  </a:cubicBezTo>
                  <a:cubicBezTo>
                    <a:pt x="1529" y="84"/>
                    <a:pt x="1529" y="84"/>
                    <a:pt x="1529" y="84"/>
                  </a:cubicBezTo>
                  <a:cubicBezTo>
                    <a:pt x="1529" y="84"/>
                    <a:pt x="1529" y="84"/>
                    <a:pt x="1529" y="85"/>
                  </a:cubicBezTo>
                  <a:cubicBezTo>
                    <a:pt x="1529" y="85"/>
                    <a:pt x="1529" y="85"/>
                    <a:pt x="1529" y="85"/>
                  </a:cubicBezTo>
                  <a:cubicBezTo>
                    <a:pt x="1529" y="85"/>
                    <a:pt x="1529" y="85"/>
                    <a:pt x="1528" y="86"/>
                  </a:cubicBezTo>
                  <a:cubicBezTo>
                    <a:pt x="1529" y="86"/>
                    <a:pt x="1529" y="86"/>
                    <a:pt x="1529" y="86"/>
                  </a:cubicBezTo>
                  <a:cubicBezTo>
                    <a:pt x="1528" y="86"/>
                    <a:pt x="1528" y="86"/>
                    <a:pt x="1528" y="86"/>
                  </a:cubicBezTo>
                  <a:cubicBezTo>
                    <a:pt x="1528" y="86"/>
                    <a:pt x="1528" y="87"/>
                    <a:pt x="1528" y="87"/>
                  </a:cubicBezTo>
                  <a:cubicBezTo>
                    <a:pt x="1528" y="87"/>
                    <a:pt x="1528" y="87"/>
                    <a:pt x="1528" y="87"/>
                  </a:cubicBezTo>
                  <a:cubicBezTo>
                    <a:pt x="1528" y="88"/>
                    <a:pt x="1528" y="88"/>
                    <a:pt x="1528" y="88"/>
                  </a:cubicBezTo>
                  <a:cubicBezTo>
                    <a:pt x="1528" y="88"/>
                    <a:pt x="1528" y="89"/>
                    <a:pt x="1528" y="89"/>
                  </a:cubicBezTo>
                  <a:cubicBezTo>
                    <a:pt x="1527" y="89"/>
                    <a:pt x="1528" y="90"/>
                    <a:pt x="1527" y="90"/>
                  </a:cubicBezTo>
                  <a:cubicBezTo>
                    <a:pt x="1527" y="91"/>
                    <a:pt x="1527" y="91"/>
                    <a:pt x="1527" y="91"/>
                  </a:cubicBezTo>
                  <a:cubicBezTo>
                    <a:pt x="1527" y="92"/>
                    <a:pt x="1527" y="93"/>
                    <a:pt x="1527" y="94"/>
                  </a:cubicBezTo>
                  <a:cubicBezTo>
                    <a:pt x="1527" y="96"/>
                    <a:pt x="1527" y="99"/>
                    <a:pt x="1527" y="101"/>
                  </a:cubicBezTo>
                  <a:cubicBezTo>
                    <a:pt x="1527" y="102"/>
                    <a:pt x="1528" y="102"/>
                    <a:pt x="1529" y="102"/>
                  </a:cubicBezTo>
                  <a:cubicBezTo>
                    <a:pt x="1547" y="102"/>
                    <a:pt x="1565" y="102"/>
                    <a:pt x="1584" y="102"/>
                  </a:cubicBezTo>
                  <a:cubicBezTo>
                    <a:pt x="1584" y="102"/>
                    <a:pt x="1585" y="102"/>
                    <a:pt x="1585" y="101"/>
                  </a:cubicBezTo>
                  <a:cubicBezTo>
                    <a:pt x="1585" y="101"/>
                    <a:pt x="1585" y="101"/>
                    <a:pt x="1585" y="101"/>
                  </a:cubicBezTo>
                  <a:cubicBezTo>
                    <a:pt x="1586" y="98"/>
                    <a:pt x="1586" y="95"/>
                    <a:pt x="1585" y="92"/>
                  </a:cubicBezTo>
                  <a:cubicBezTo>
                    <a:pt x="1585" y="92"/>
                    <a:pt x="1585" y="92"/>
                    <a:pt x="1585" y="92"/>
                  </a:cubicBezTo>
                  <a:cubicBezTo>
                    <a:pt x="1585" y="91"/>
                    <a:pt x="1584" y="92"/>
                    <a:pt x="1583" y="92"/>
                  </a:cubicBezTo>
                  <a:cubicBezTo>
                    <a:pt x="1569" y="92"/>
                    <a:pt x="1555" y="92"/>
                    <a:pt x="1540" y="92"/>
                  </a:cubicBezTo>
                  <a:cubicBezTo>
                    <a:pt x="1540" y="92"/>
                    <a:pt x="1539" y="92"/>
                    <a:pt x="1539" y="91"/>
                  </a:cubicBezTo>
                  <a:cubicBezTo>
                    <a:pt x="1538" y="91"/>
                    <a:pt x="1538" y="90"/>
                    <a:pt x="1539" y="90"/>
                  </a:cubicBezTo>
                  <a:cubicBezTo>
                    <a:pt x="1539" y="89"/>
                    <a:pt x="1539" y="88"/>
                    <a:pt x="1539" y="88"/>
                  </a:cubicBezTo>
                  <a:cubicBezTo>
                    <a:pt x="1539" y="88"/>
                    <a:pt x="1539" y="87"/>
                    <a:pt x="1539" y="87"/>
                  </a:cubicBezTo>
                  <a:cubicBezTo>
                    <a:pt x="1539" y="87"/>
                    <a:pt x="1539" y="86"/>
                    <a:pt x="1539" y="86"/>
                  </a:cubicBezTo>
                  <a:cubicBezTo>
                    <a:pt x="1539" y="86"/>
                    <a:pt x="1539" y="86"/>
                    <a:pt x="1539" y="86"/>
                  </a:cubicBezTo>
                  <a:cubicBezTo>
                    <a:pt x="1539" y="86"/>
                    <a:pt x="1539" y="85"/>
                    <a:pt x="1540" y="85"/>
                  </a:cubicBezTo>
                  <a:cubicBezTo>
                    <a:pt x="1539" y="85"/>
                    <a:pt x="1540" y="85"/>
                    <a:pt x="1540" y="85"/>
                  </a:cubicBezTo>
                  <a:cubicBezTo>
                    <a:pt x="1540" y="85"/>
                    <a:pt x="1540" y="84"/>
                    <a:pt x="1540" y="84"/>
                  </a:cubicBezTo>
                  <a:cubicBezTo>
                    <a:pt x="1540" y="84"/>
                    <a:pt x="1540" y="84"/>
                    <a:pt x="1540" y="84"/>
                  </a:cubicBezTo>
                  <a:cubicBezTo>
                    <a:pt x="1540" y="84"/>
                    <a:pt x="1540" y="84"/>
                    <a:pt x="1540" y="83"/>
                  </a:cubicBezTo>
                  <a:cubicBezTo>
                    <a:pt x="1540" y="83"/>
                    <a:pt x="1540" y="83"/>
                    <a:pt x="1540" y="83"/>
                  </a:cubicBezTo>
                  <a:cubicBezTo>
                    <a:pt x="1540" y="83"/>
                    <a:pt x="1540" y="83"/>
                    <a:pt x="1541" y="83"/>
                  </a:cubicBezTo>
                  <a:cubicBezTo>
                    <a:pt x="1541" y="83"/>
                    <a:pt x="1541" y="83"/>
                    <a:pt x="1541" y="83"/>
                  </a:cubicBezTo>
                  <a:cubicBezTo>
                    <a:pt x="1541" y="83"/>
                    <a:pt x="1541" y="82"/>
                    <a:pt x="1541" y="82"/>
                  </a:cubicBezTo>
                  <a:cubicBezTo>
                    <a:pt x="1541" y="82"/>
                    <a:pt x="1541" y="82"/>
                    <a:pt x="1541" y="82"/>
                  </a:cubicBezTo>
                  <a:cubicBezTo>
                    <a:pt x="1541" y="82"/>
                    <a:pt x="1541" y="82"/>
                    <a:pt x="1541" y="82"/>
                  </a:cubicBezTo>
                  <a:cubicBezTo>
                    <a:pt x="1541" y="82"/>
                    <a:pt x="1541" y="82"/>
                    <a:pt x="1541" y="82"/>
                  </a:cubicBezTo>
                  <a:cubicBezTo>
                    <a:pt x="1542" y="82"/>
                    <a:pt x="1541" y="81"/>
                    <a:pt x="1542" y="81"/>
                  </a:cubicBezTo>
                  <a:cubicBezTo>
                    <a:pt x="1542" y="81"/>
                    <a:pt x="1542" y="81"/>
                    <a:pt x="1542" y="81"/>
                  </a:cubicBezTo>
                  <a:cubicBezTo>
                    <a:pt x="1542" y="81"/>
                    <a:pt x="1542" y="81"/>
                    <a:pt x="1542" y="81"/>
                  </a:cubicBezTo>
                  <a:cubicBezTo>
                    <a:pt x="1542" y="81"/>
                    <a:pt x="1542" y="81"/>
                    <a:pt x="1542" y="81"/>
                  </a:cubicBezTo>
                  <a:cubicBezTo>
                    <a:pt x="1542" y="81"/>
                    <a:pt x="1542" y="80"/>
                    <a:pt x="1542" y="80"/>
                  </a:cubicBezTo>
                  <a:cubicBezTo>
                    <a:pt x="1542" y="80"/>
                    <a:pt x="1542" y="80"/>
                    <a:pt x="1542" y="80"/>
                  </a:cubicBezTo>
                  <a:cubicBezTo>
                    <a:pt x="1543" y="80"/>
                    <a:pt x="1543" y="80"/>
                    <a:pt x="1543" y="79"/>
                  </a:cubicBezTo>
                  <a:cubicBezTo>
                    <a:pt x="1543" y="79"/>
                    <a:pt x="1543" y="79"/>
                    <a:pt x="1543" y="79"/>
                  </a:cubicBezTo>
                  <a:cubicBezTo>
                    <a:pt x="1543" y="79"/>
                    <a:pt x="1543" y="79"/>
                    <a:pt x="1543" y="79"/>
                  </a:cubicBezTo>
                  <a:cubicBezTo>
                    <a:pt x="1543" y="79"/>
                    <a:pt x="1543" y="79"/>
                    <a:pt x="1543" y="79"/>
                  </a:cubicBezTo>
                  <a:cubicBezTo>
                    <a:pt x="1544" y="79"/>
                    <a:pt x="1544" y="79"/>
                    <a:pt x="1544" y="79"/>
                  </a:cubicBezTo>
                  <a:cubicBezTo>
                    <a:pt x="1544" y="79"/>
                    <a:pt x="1544" y="79"/>
                    <a:pt x="1544" y="79"/>
                  </a:cubicBezTo>
                  <a:cubicBezTo>
                    <a:pt x="1544" y="78"/>
                    <a:pt x="1544" y="78"/>
                    <a:pt x="1544" y="78"/>
                  </a:cubicBezTo>
                  <a:cubicBezTo>
                    <a:pt x="1544" y="78"/>
                    <a:pt x="1544" y="78"/>
                    <a:pt x="1544" y="78"/>
                  </a:cubicBezTo>
                  <a:cubicBezTo>
                    <a:pt x="1544" y="78"/>
                    <a:pt x="1544" y="78"/>
                    <a:pt x="1544" y="78"/>
                  </a:cubicBezTo>
                  <a:cubicBezTo>
                    <a:pt x="1544" y="78"/>
                    <a:pt x="1544" y="78"/>
                    <a:pt x="1544" y="78"/>
                  </a:cubicBezTo>
                  <a:cubicBezTo>
                    <a:pt x="1545" y="78"/>
                    <a:pt x="1545" y="78"/>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6" y="77"/>
                    <a:pt x="1546" y="77"/>
                    <a:pt x="1546" y="76"/>
                  </a:cubicBezTo>
                  <a:cubicBezTo>
                    <a:pt x="1546" y="76"/>
                    <a:pt x="1546" y="76"/>
                    <a:pt x="1546" y="76"/>
                  </a:cubicBezTo>
                  <a:cubicBezTo>
                    <a:pt x="1546" y="76"/>
                    <a:pt x="1546" y="76"/>
                    <a:pt x="1546" y="76"/>
                  </a:cubicBezTo>
                  <a:cubicBezTo>
                    <a:pt x="1546" y="76"/>
                    <a:pt x="1546" y="76"/>
                    <a:pt x="1546" y="76"/>
                  </a:cubicBezTo>
                  <a:cubicBezTo>
                    <a:pt x="1547" y="76"/>
                    <a:pt x="1547" y="75"/>
                    <a:pt x="1548" y="75"/>
                  </a:cubicBezTo>
                  <a:cubicBezTo>
                    <a:pt x="1548" y="75"/>
                    <a:pt x="1548" y="75"/>
                    <a:pt x="1548" y="75"/>
                  </a:cubicBezTo>
                  <a:cubicBezTo>
                    <a:pt x="1548" y="75"/>
                    <a:pt x="1548" y="75"/>
                    <a:pt x="1548" y="75"/>
                  </a:cubicBezTo>
                  <a:cubicBezTo>
                    <a:pt x="1548" y="75"/>
                    <a:pt x="1548" y="75"/>
                    <a:pt x="1548" y="75"/>
                  </a:cubicBezTo>
                  <a:cubicBezTo>
                    <a:pt x="1548" y="75"/>
                    <a:pt x="1548" y="74"/>
                    <a:pt x="1548" y="74"/>
                  </a:cubicBezTo>
                  <a:cubicBezTo>
                    <a:pt x="1548" y="74"/>
                    <a:pt x="1548" y="74"/>
                    <a:pt x="1548" y="74"/>
                  </a:cubicBezTo>
                  <a:cubicBezTo>
                    <a:pt x="1549" y="74"/>
                    <a:pt x="1549" y="74"/>
                    <a:pt x="1549" y="74"/>
                  </a:cubicBezTo>
                  <a:cubicBezTo>
                    <a:pt x="1549" y="74"/>
                    <a:pt x="1549" y="74"/>
                    <a:pt x="1549" y="74"/>
                  </a:cubicBezTo>
                  <a:cubicBezTo>
                    <a:pt x="1549" y="74"/>
                    <a:pt x="1550" y="73"/>
                    <a:pt x="1550" y="73"/>
                  </a:cubicBezTo>
                  <a:cubicBezTo>
                    <a:pt x="1550" y="73"/>
                    <a:pt x="1550" y="73"/>
                    <a:pt x="1550" y="73"/>
                  </a:cubicBezTo>
                  <a:cubicBezTo>
                    <a:pt x="1550" y="73"/>
                    <a:pt x="1550" y="73"/>
                    <a:pt x="1550" y="73"/>
                  </a:cubicBezTo>
                  <a:cubicBezTo>
                    <a:pt x="1550" y="73"/>
                    <a:pt x="1550" y="73"/>
                    <a:pt x="1550" y="73"/>
                  </a:cubicBezTo>
                  <a:cubicBezTo>
                    <a:pt x="1550" y="73"/>
                    <a:pt x="1551" y="73"/>
                    <a:pt x="1551" y="72"/>
                  </a:cubicBezTo>
                  <a:cubicBezTo>
                    <a:pt x="1551" y="72"/>
                    <a:pt x="1551" y="72"/>
                    <a:pt x="1551" y="72"/>
                  </a:cubicBezTo>
                  <a:cubicBezTo>
                    <a:pt x="1551" y="72"/>
                    <a:pt x="1551" y="72"/>
                    <a:pt x="1551" y="72"/>
                  </a:cubicBezTo>
                  <a:cubicBezTo>
                    <a:pt x="1551" y="72"/>
                    <a:pt x="1551" y="72"/>
                    <a:pt x="1551" y="72"/>
                  </a:cubicBezTo>
                  <a:cubicBezTo>
                    <a:pt x="1552" y="72"/>
                    <a:pt x="1552" y="72"/>
                    <a:pt x="1552" y="72"/>
                  </a:cubicBezTo>
                  <a:cubicBezTo>
                    <a:pt x="1552" y="72"/>
                    <a:pt x="1552" y="72"/>
                    <a:pt x="1552" y="72"/>
                  </a:cubicBezTo>
                  <a:cubicBezTo>
                    <a:pt x="1552" y="71"/>
                    <a:pt x="1552" y="71"/>
                    <a:pt x="1552" y="71"/>
                  </a:cubicBezTo>
                  <a:cubicBezTo>
                    <a:pt x="1552" y="71"/>
                    <a:pt x="1552" y="71"/>
                    <a:pt x="1552" y="71"/>
                  </a:cubicBezTo>
                  <a:cubicBezTo>
                    <a:pt x="1553" y="71"/>
                    <a:pt x="1553" y="71"/>
                    <a:pt x="1553" y="71"/>
                  </a:cubicBezTo>
                  <a:cubicBezTo>
                    <a:pt x="1553" y="71"/>
                    <a:pt x="1553" y="71"/>
                    <a:pt x="1553" y="71"/>
                  </a:cubicBezTo>
                  <a:cubicBezTo>
                    <a:pt x="1553" y="71"/>
                    <a:pt x="1553" y="71"/>
                    <a:pt x="1553" y="71"/>
                  </a:cubicBezTo>
                  <a:cubicBezTo>
                    <a:pt x="1553" y="71"/>
                    <a:pt x="1553" y="71"/>
                    <a:pt x="1553" y="71"/>
                  </a:cubicBezTo>
                  <a:cubicBezTo>
                    <a:pt x="1553" y="70"/>
                    <a:pt x="1554" y="70"/>
                    <a:pt x="1554" y="70"/>
                  </a:cubicBezTo>
                  <a:cubicBezTo>
                    <a:pt x="1554" y="70"/>
                    <a:pt x="1554" y="70"/>
                    <a:pt x="1554" y="70"/>
                  </a:cubicBezTo>
                  <a:cubicBezTo>
                    <a:pt x="1554" y="70"/>
                    <a:pt x="1554" y="70"/>
                    <a:pt x="1554" y="70"/>
                  </a:cubicBezTo>
                  <a:cubicBezTo>
                    <a:pt x="1554" y="70"/>
                    <a:pt x="1554" y="70"/>
                    <a:pt x="1554" y="70"/>
                  </a:cubicBezTo>
                  <a:cubicBezTo>
                    <a:pt x="1554" y="70"/>
                    <a:pt x="1554" y="70"/>
                    <a:pt x="1555" y="70"/>
                  </a:cubicBezTo>
                  <a:cubicBezTo>
                    <a:pt x="1555" y="70"/>
                    <a:pt x="1555" y="70"/>
                    <a:pt x="1555" y="70"/>
                  </a:cubicBezTo>
                  <a:cubicBezTo>
                    <a:pt x="1555" y="69"/>
                    <a:pt x="1555" y="69"/>
                    <a:pt x="1555" y="69"/>
                  </a:cubicBezTo>
                  <a:cubicBezTo>
                    <a:pt x="1555" y="69"/>
                    <a:pt x="1555" y="69"/>
                    <a:pt x="1555" y="69"/>
                  </a:cubicBezTo>
                  <a:cubicBezTo>
                    <a:pt x="1555" y="69"/>
                    <a:pt x="1555" y="69"/>
                    <a:pt x="1556" y="69"/>
                  </a:cubicBezTo>
                  <a:cubicBezTo>
                    <a:pt x="1556" y="69"/>
                    <a:pt x="1556" y="69"/>
                    <a:pt x="1556" y="69"/>
                  </a:cubicBezTo>
                  <a:cubicBezTo>
                    <a:pt x="1556" y="69"/>
                    <a:pt x="1556" y="68"/>
                    <a:pt x="1557" y="68"/>
                  </a:cubicBezTo>
                  <a:cubicBezTo>
                    <a:pt x="1557" y="68"/>
                    <a:pt x="1557" y="68"/>
                    <a:pt x="1557" y="68"/>
                  </a:cubicBezTo>
                  <a:cubicBezTo>
                    <a:pt x="1557" y="68"/>
                    <a:pt x="1557" y="68"/>
                    <a:pt x="1557" y="68"/>
                  </a:cubicBezTo>
                  <a:cubicBezTo>
                    <a:pt x="1557" y="68"/>
                    <a:pt x="1557" y="68"/>
                    <a:pt x="1557" y="68"/>
                  </a:cubicBezTo>
                  <a:cubicBezTo>
                    <a:pt x="1557" y="68"/>
                    <a:pt x="1558" y="68"/>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9" y="66"/>
                    <a:pt x="1559" y="67"/>
                    <a:pt x="1559" y="66"/>
                  </a:cubicBezTo>
                  <a:cubicBezTo>
                    <a:pt x="1559" y="66"/>
                    <a:pt x="1559" y="66"/>
                    <a:pt x="1559" y="66"/>
                  </a:cubicBezTo>
                  <a:cubicBezTo>
                    <a:pt x="1559" y="66"/>
                    <a:pt x="1559" y="66"/>
                    <a:pt x="1559" y="66"/>
                  </a:cubicBezTo>
                  <a:cubicBezTo>
                    <a:pt x="1559" y="66"/>
                    <a:pt x="1559" y="66"/>
                    <a:pt x="1559" y="66"/>
                  </a:cubicBezTo>
                  <a:cubicBezTo>
                    <a:pt x="1560" y="66"/>
                    <a:pt x="1560" y="66"/>
                    <a:pt x="1560" y="66"/>
                  </a:cubicBezTo>
                  <a:cubicBezTo>
                    <a:pt x="1560" y="66"/>
                    <a:pt x="1560" y="66"/>
                    <a:pt x="1560" y="66"/>
                  </a:cubicBezTo>
                  <a:cubicBezTo>
                    <a:pt x="1560" y="66"/>
                    <a:pt x="1560" y="65"/>
                    <a:pt x="1560" y="65"/>
                  </a:cubicBezTo>
                  <a:cubicBezTo>
                    <a:pt x="1560" y="65"/>
                    <a:pt x="1560" y="65"/>
                    <a:pt x="1560" y="65"/>
                  </a:cubicBezTo>
                  <a:cubicBezTo>
                    <a:pt x="1561" y="65"/>
                    <a:pt x="1561" y="65"/>
                    <a:pt x="1561" y="65"/>
                  </a:cubicBezTo>
                  <a:cubicBezTo>
                    <a:pt x="1561" y="65"/>
                    <a:pt x="1561" y="65"/>
                    <a:pt x="1561" y="65"/>
                  </a:cubicBezTo>
                  <a:cubicBezTo>
                    <a:pt x="1561" y="65"/>
                    <a:pt x="1561" y="65"/>
                    <a:pt x="1561" y="65"/>
                  </a:cubicBezTo>
                  <a:cubicBezTo>
                    <a:pt x="1561" y="65"/>
                    <a:pt x="1561" y="65"/>
                    <a:pt x="1561" y="65"/>
                  </a:cubicBezTo>
                  <a:cubicBezTo>
                    <a:pt x="1562" y="65"/>
                    <a:pt x="1562" y="64"/>
                    <a:pt x="1562" y="64"/>
                  </a:cubicBezTo>
                  <a:cubicBezTo>
                    <a:pt x="1562" y="64"/>
                    <a:pt x="1562" y="64"/>
                    <a:pt x="1562" y="64"/>
                  </a:cubicBezTo>
                  <a:cubicBezTo>
                    <a:pt x="1562" y="64"/>
                    <a:pt x="1562" y="64"/>
                    <a:pt x="1562" y="64"/>
                  </a:cubicBezTo>
                  <a:cubicBezTo>
                    <a:pt x="1562" y="64"/>
                    <a:pt x="1562" y="64"/>
                    <a:pt x="1562" y="64"/>
                  </a:cubicBezTo>
                  <a:cubicBezTo>
                    <a:pt x="1562" y="64"/>
                    <a:pt x="1563" y="64"/>
                    <a:pt x="1563" y="63"/>
                  </a:cubicBezTo>
                  <a:cubicBezTo>
                    <a:pt x="1563" y="64"/>
                    <a:pt x="1563" y="64"/>
                    <a:pt x="1563" y="64"/>
                  </a:cubicBezTo>
                  <a:cubicBezTo>
                    <a:pt x="1563" y="63"/>
                    <a:pt x="1563" y="63"/>
                    <a:pt x="1563" y="63"/>
                  </a:cubicBezTo>
                  <a:cubicBezTo>
                    <a:pt x="1563" y="63"/>
                    <a:pt x="1563" y="63"/>
                    <a:pt x="1563" y="63"/>
                  </a:cubicBezTo>
                  <a:cubicBezTo>
                    <a:pt x="1563" y="63"/>
                    <a:pt x="1563" y="63"/>
                    <a:pt x="1564" y="63"/>
                  </a:cubicBezTo>
                  <a:cubicBezTo>
                    <a:pt x="1564" y="63"/>
                    <a:pt x="1564" y="63"/>
                    <a:pt x="1564" y="63"/>
                  </a:cubicBezTo>
                  <a:cubicBezTo>
                    <a:pt x="1564" y="63"/>
                    <a:pt x="1564" y="63"/>
                    <a:pt x="1564" y="62"/>
                  </a:cubicBezTo>
                  <a:cubicBezTo>
                    <a:pt x="1564" y="62"/>
                    <a:pt x="1564" y="62"/>
                    <a:pt x="1564" y="62"/>
                  </a:cubicBezTo>
                  <a:cubicBezTo>
                    <a:pt x="1564" y="62"/>
                    <a:pt x="1565" y="62"/>
                    <a:pt x="1565" y="62"/>
                  </a:cubicBezTo>
                  <a:cubicBezTo>
                    <a:pt x="1565" y="62"/>
                    <a:pt x="1565" y="62"/>
                    <a:pt x="1565" y="62"/>
                  </a:cubicBezTo>
                  <a:cubicBezTo>
                    <a:pt x="1565" y="62"/>
                    <a:pt x="1565" y="62"/>
                    <a:pt x="1565" y="62"/>
                  </a:cubicBezTo>
                  <a:cubicBezTo>
                    <a:pt x="1565" y="62"/>
                    <a:pt x="1565" y="62"/>
                    <a:pt x="1565" y="62"/>
                  </a:cubicBezTo>
                  <a:cubicBezTo>
                    <a:pt x="1565" y="62"/>
                    <a:pt x="1566" y="61"/>
                    <a:pt x="1566" y="61"/>
                  </a:cubicBezTo>
                  <a:cubicBezTo>
                    <a:pt x="1566" y="61"/>
                    <a:pt x="1566" y="61"/>
                    <a:pt x="1566" y="61"/>
                  </a:cubicBezTo>
                  <a:cubicBezTo>
                    <a:pt x="1566" y="61"/>
                    <a:pt x="1566" y="61"/>
                    <a:pt x="1566" y="61"/>
                  </a:cubicBezTo>
                  <a:cubicBezTo>
                    <a:pt x="1566" y="61"/>
                    <a:pt x="1566" y="61"/>
                    <a:pt x="1566" y="61"/>
                  </a:cubicBezTo>
                  <a:cubicBezTo>
                    <a:pt x="1567" y="61"/>
                    <a:pt x="1567" y="61"/>
                    <a:pt x="1567" y="60"/>
                  </a:cubicBezTo>
                  <a:cubicBezTo>
                    <a:pt x="1567" y="60"/>
                    <a:pt x="1567" y="60"/>
                    <a:pt x="1567" y="60"/>
                  </a:cubicBezTo>
                  <a:cubicBezTo>
                    <a:pt x="1567" y="60"/>
                    <a:pt x="1567" y="60"/>
                    <a:pt x="1567" y="60"/>
                  </a:cubicBezTo>
                  <a:cubicBezTo>
                    <a:pt x="1567" y="60"/>
                    <a:pt x="1567" y="60"/>
                    <a:pt x="1567" y="60"/>
                  </a:cubicBezTo>
                  <a:cubicBezTo>
                    <a:pt x="1568" y="60"/>
                    <a:pt x="1568" y="59"/>
                    <a:pt x="1568" y="59"/>
                  </a:cubicBezTo>
                  <a:cubicBezTo>
                    <a:pt x="1568" y="59"/>
                    <a:pt x="1568" y="59"/>
                    <a:pt x="1568" y="59"/>
                  </a:cubicBezTo>
                  <a:cubicBezTo>
                    <a:pt x="1569" y="59"/>
                    <a:pt x="1569" y="59"/>
                    <a:pt x="1569" y="59"/>
                  </a:cubicBezTo>
                  <a:cubicBezTo>
                    <a:pt x="1569" y="59"/>
                    <a:pt x="1569" y="59"/>
                    <a:pt x="1569" y="59"/>
                  </a:cubicBezTo>
                  <a:cubicBezTo>
                    <a:pt x="1569" y="59"/>
                    <a:pt x="1569" y="58"/>
                    <a:pt x="1569" y="58"/>
                  </a:cubicBezTo>
                  <a:cubicBezTo>
                    <a:pt x="1569" y="58"/>
                    <a:pt x="1569" y="58"/>
                    <a:pt x="1569" y="58"/>
                  </a:cubicBezTo>
                  <a:cubicBezTo>
                    <a:pt x="1569" y="58"/>
                    <a:pt x="1569" y="58"/>
                    <a:pt x="1569" y="58"/>
                  </a:cubicBezTo>
                  <a:cubicBezTo>
                    <a:pt x="1569" y="58"/>
                    <a:pt x="1569" y="58"/>
                    <a:pt x="1569" y="58"/>
                  </a:cubicBezTo>
                  <a:cubicBezTo>
                    <a:pt x="1570" y="58"/>
                    <a:pt x="1570" y="58"/>
                    <a:pt x="1570" y="58"/>
                  </a:cubicBezTo>
                  <a:cubicBezTo>
                    <a:pt x="1570" y="58"/>
                    <a:pt x="1570" y="58"/>
                    <a:pt x="1570" y="58"/>
                  </a:cubicBezTo>
                  <a:cubicBezTo>
                    <a:pt x="1570" y="58"/>
                    <a:pt x="1570" y="57"/>
                    <a:pt x="1570" y="57"/>
                  </a:cubicBezTo>
                  <a:cubicBezTo>
                    <a:pt x="1570" y="57"/>
                    <a:pt x="1570" y="57"/>
                    <a:pt x="1570" y="57"/>
                  </a:cubicBezTo>
                  <a:cubicBezTo>
                    <a:pt x="1570" y="57"/>
                    <a:pt x="1570" y="57"/>
                    <a:pt x="1571" y="57"/>
                  </a:cubicBezTo>
                  <a:cubicBezTo>
                    <a:pt x="1571" y="57"/>
                    <a:pt x="1571" y="57"/>
                    <a:pt x="1571" y="57"/>
                  </a:cubicBezTo>
                  <a:cubicBezTo>
                    <a:pt x="1571" y="57"/>
                    <a:pt x="1571" y="57"/>
                    <a:pt x="1571" y="57"/>
                  </a:cubicBezTo>
                  <a:cubicBezTo>
                    <a:pt x="1571" y="57"/>
                    <a:pt x="1571" y="57"/>
                    <a:pt x="1571" y="57"/>
                  </a:cubicBezTo>
                  <a:cubicBezTo>
                    <a:pt x="1571" y="56"/>
                    <a:pt x="1571" y="56"/>
                    <a:pt x="1571" y="56"/>
                  </a:cubicBezTo>
                  <a:cubicBezTo>
                    <a:pt x="1571" y="56"/>
                    <a:pt x="1571" y="56"/>
                    <a:pt x="1571" y="56"/>
                  </a:cubicBezTo>
                  <a:cubicBezTo>
                    <a:pt x="1571" y="56"/>
                    <a:pt x="1572" y="56"/>
                    <a:pt x="1572" y="56"/>
                  </a:cubicBezTo>
                  <a:cubicBezTo>
                    <a:pt x="1572" y="56"/>
                    <a:pt x="1572" y="56"/>
                    <a:pt x="1572" y="56"/>
                  </a:cubicBezTo>
                  <a:cubicBezTo>
                    <a:pt x="1572" y="56"/>
                    <a:pt x="1572" y="56"/>
                    <a:pt x="1572" y="56"/>
                  </a:cubicBezTo>
                  <a:cubicBezTo>
                    <a:pt x="1572" y="56"/>
                    <a:pt x="1572" y="56"/>
                    <a:pt x="1572" y="56"/>
                  </a:cubicBezTo>
                  <a:cubicBezTo>
                    <a:pt x="1572" y="55"/>
                    <a:pt x="1572" y="55"/>
                    <a:pt x="1572" y="55"/>
                  </a:cubicBezTo>
                  <a:cubicBezTo>
                    <a:pt x="1572" y="55"/>
                    <a:pt x="1572" y="55"/>
                    <a:pt x="1572" y="55"/>
                  </a:cubicBezTo>
                  <a:cubicBezTo>
                    <a:pt x="1572" y="55"/>
                    <a:pt x="1573" y="55"/>
                    <a:pt x="1573" y="55"/>
                  </a:cubicBezTo>
                  <a:cubicBezTo>
                    <a:pt x="1573" y="55"/>
                    <a:pt x="1573" y="55"/>
                    <a:pt x="1573" y="55"/>
                  </a:cubicBezTo>
                  <a:cubicBezTo>
                    <a:pt x="1573" y="55"/>
                    <a:pt x="1573" y="55"/>
                    <a:pt x="1573" y="54"/>
                  </a:cubicBezTo>
                  <a:cubicBezTo>
                    <a:pt x="1573" y="54"/>
                    <a:pt x="1573" y="54"/>
                    <a:pt x="1573" y="54"/>
                  </a:cubicBezTo>
                  <a:cubicBezTo>
                    <a:pt x="1573" y="54"/>
                    <a:pt x="1573" y="54"/>
                    <a:pt x="1573" y="54"/>
                  </a:cubicBezTo>
                  <a:cubicBezTo>
                    <a:pt x="1573" y="54"/>
                    <a:pt x="1573" y="54"/>
                    <a:pt x="1573" y="54"/>
                  </a:cubicBezTo>
                  <a:cubicBezTo>
                    <a:pt x="1574" y="54"/>
                    <a:pt x="1574" y="53"/>
                    <a:pt x="1574" y="53"/>
                  </a:cubicBezTo>
                  <a:cubicBezTo>
                    <a:pt x="1574" y="53"/>
                    <a:pt x="1574" y="53"/>
                    <a:pt x="1574" y="53"/>
                  </a:cubicBezTo>
                  <a:cubicBezTo>
                    <a:pt x="1574" y="53"/>
                    <a:pt x="1574" y="53"/>
                    <a:pt x="1574" y="53"/>
                  </a:cubicBezTo>
                  <a:cubicBezTo>
                    <a:pt x="1574" y="53"/>
                    <a:pt x="1574" y="53"/>
                    <a:pt x="1574" y="53"/>
                  </a:cubicBezTo>
                  <a:cubicBezTo>
                    <a:pt x="1575" y="53"/>
                    <a:pt x="1575" y="53"/>
                    <a:pt x="1575" y="52"/>
                  </a:cubicBezTo>
                  <a:cubicBezTo>
                    <a:pt x="1575" y="52"/>
                    <a:pt x="1575" y="52"/>
                    <a:pt x="1575" y="52"/>
                  </a:cubicBezTo>
                  <a:cubicBezTo>
                    <a:pt x="1575" y="52"/>
                    <a:pt x="1575" y="52"/>
                    <a:pt x="1575" y="52"/>
                  </a:cubicBezTo>
                  <a:cubicBezTo>
                    <a:pt x="1575" y="52"/>
                    <a:pt x="1575" y="52"/>
                    <a:pt x="1575" y="52"/>
                  </a:cubicBezTo>
                  <a:cubicBezTo>
                    <a:pt x="1575" y="52"/>
                    <a:pt x="1575" y="52"/>
                    <a:pt x="1575" y="51"/>
                  </a:cubicBezTo>
                  <a:cubicBezTo>
                    <a:pt x="1575" y="51"/>
                    <a:pt x="1575" y="51"/>
                    <a:pt x="1575" y="51"/>
                  </a:cubicBezTo>
                  <a:cubicBezTo>
                    <a:pt x="1576" y="51"/>
                    <a:pt x="1576" y="51"/>
                    <a:pt x="1576" y="51"/>
                  </a:cubicBezTo>
                  <a:cubicBezTo>
                    <a:pt x="1576" y="51"/>
                    <a:pt x="1576" y="51"/>
                    <a:pt x="1576" y="51"/>
                  </a:cubicBezTo>
                  <a:cubicBezTo>
                    <a:pt x="1576" y="51"/>
                    <a:pt x="1576" y="51"/>
                    <a:pt x="1576" y="50"/>
                  </a:cubicBezTo>
                  <a:cubicBezTo>
                    <a:pt x="1576" y="50"/>
                    <a:pt x="1576" y="50"/>
                    <a:pt x="1576" y="50"/>
                  </a:cubicBezTo>
                  <a:cubicBezTo>
                    <a:pt x="1576" y="50"/>
                    <a:pt x="1576" y="50"/>
                    <a:pt x="1576" y="50"/>
                  </a:cubicBezTo>
                  <a:cubicBezTo>
                    <a:pt x="1576" y="50"/>
                    <a:pt x="1576" y="50"/>
                    <a:pt x="1576" y="50"/>
                  </a:cubicBezTo>
                  <a:cubicBezTo>
                    <a:pt x="1577" y="50"/>
                    <a:pt x="1577" y="49"/>
                    <a:pt x="1577" y="49"/>
                  </a:cubicBezTo>
                  <a:cubicBezTo>
                    <a:pt x="1577" y="49"/>
                    <a:pt x="1577" y="49"/>
                    <a:pt x="1577" y="49"/>
                  </a:cubicBezTo>
                  <a:cubicBezTo>
                    <a:pt x="1577" y="49"/>
                    <a:pt x="1577" y="49"/>
                    <a:pt x="1577" y="49"/>
                  </a:cubicBezTo>
                  <a:cubicBezTo>
                    <a:pt x="1577" y="49"/>
                    <a:pt x="1577" y="49"/>
                    <a:pt x="1577" y="49"/>
                  </a:cubicBezTo>
                  <a:cubicBezTo>
                    <a:pt x="1577" y="49"/>
                    <a:pt x="1577" y="48"/>
                    <a:pt x="1578" y="48"/>
                  </a:cubicBezTo>
                  <a:cubicBezTo>
                    <a:pt x="1577" y="48"/>
                    <a:pt x="1577" y="48"/>
                    <a:pt x="1577" y="48"/>
                  </a:cubicBezTo>
                  <a:cubicBezTo>
                    <a:pt x="1578" y="48"/>
                    <a:pt x="1578" y="48"/>
                    <a:pt x="1578" y="48"/>
                  </a:cubicBezTo>
                  <a:cubicBezTo>
                    <a:pt x="1578" y="48"/>
                    <a:pt x="1578" y="48"/>
                    <a:pt x="1578" y="48"/>
                  </a:cubicBezTo>
                  <a:cubicBezTo>
                    <a:pt x="1578" y="47"/>
                    <a:pt x="1578" y="47"/>
                    <a:pt x="1578" y="47"/>
                  </a:cubicBezTo>
                  <a:cubicBezTo>
                    <a:pt x="1578" y="47"/>
                    <a:pt x="1578" y="47"/>
                    <a:pt x="1578" y="47"/>
                  </a:cubicBezTo>
                  <a:cubicBezTo>
                    <a:pt x="1578" y="47"/>
                    <a:pt x="1578" y="46"/>
                    <a:pt x="1579" y="46"/>
                  </a:cubicBezTo>
                  <a:cubicBezTo>
                    <a:pt x="1579" y="46"/>
                    <a:pt x="1579" y="46"/>
                    <a:pt x="1579" y="46"/>
                  </a:cubicBezTo>
                  <a:cubicBezTo>
                    <a:pt x="1579" y="46"/>
                    <a:pt x="1579" y="46"/>
                    <a:pt x="1579" y="45"/>
                  </a:cubicBezTo>
                  <a:cubicBezTo>
                    <a:pt x="1579" y="45"/>
                    <a:pt x="1579" y="45"/>
                    <a:pt x="1579" y="45"/>
                  </a:cubicBezTo>
                  <a:cubicBezTo>
                    <a:pt x="1579" y="45"/>
                    <a:pt x="1579" y="45"/>
                    <a:pt x="1579" y="45"/>
                  </a:cubicBezTo>
                  <a:cubicBezTo>
                    <a:pt x="1579" y="45"/>
                    <a:pt x="1579" y="45"/>
                    <a:pt x="1579" y="45"/>
                  </a:cubicBezTo>
                  <a:cubicBezTo>
                    <a:pt x="1580" y="45"/>
                    <a:pt x="1579" y="44"/>
                    <a:pt x="1580" y="44"/>
                  </a:cubicBezTo>
                  <a:cubicBezTo>
                    <a:pt x="1580" y="44"/>
                    <a:pt x="1580" y="44"/>
                    <a:pt x="1580" y="44"/>
                  </a:cubicBezTo>
                  <a:cubicBezTo>
                    <a:pt x="1580" y="43"/>
                    <a:pt x="1580" y="43"/>
                    <a:pt x="1580" y="43"/>
                  </a:cubicBezTo>
                  <a:cubicBezTo>
                    <a:pt x="1580" y="43"/>
                    <a:pt x="1580" y="43"/>
                    <a:pt x="1580" y="43"/>
                  </a:cubicBezTo>
                  <a:cubicBezTo>
                    <a:pt x="1580" y="43"/>
                    <a:pt x="1580" y="43"/>
                    <a:pt x="1580" y="43"/>
                  </a:cubicBezTo>
                  <a:cubicBezTo>
                    <a:pt x="1580" y="42"/>
                    <a:pt x="1580" y="42"/>
                    <a:pt x="1580" y="42"/>
                  </a:cubicBezTo>
                  <a:cubicBezTo>
                    <a:pt x="1580" y="42"/>
                    <a:pt x="1580" y="42"/>
                    <a:pt x="1580" y="42"/>
                  </a:cubicBezTo>
                  <a:cubicBezTo>
                    <a:pt x="1581" y="41"/>
                    <a:pt x="1580" y="41"/>
                    <a:pt x="1581" y="40"/>
                  </a:cubicBezTo>
                  <a:cubicBezTo>
                    <a:pt x="1581" y="40"/>
                    <a:pt x="1581" y="40"/>
                    <a:pt x="1581" y="40"/>
                  </a:cubicBezTo>
                  <a:cubicBezTo>
                    <a:pt x="1581" y="40"/>
                    <a:pt x="1581" y="40"/>
                    <a:pt x="1581" y="40"/>
                  </a:cubicBezTo>
                  <a:cubicBezTo>
                    <a:pt x="1581" y="40"/>
                    <a:pt x="1581" y="39"/>
                    <a:pt x="1581" y="39"/>
                  </a:cubicBezTo>
                  <a:cubicBezTo>
                    <a:pt x="1581" y="39"/>
                    <a:pt x="1581" y="39"/>
                    <a:pt x="1581" y="39"/>
                  </a:cubicBezTo>
                  <a:cubicBezTo>
                    <a:pt x="1581" y="38"/>
                    <a:pt x="1581" y="37"/>
                    <a:pt x="1581" y="37"/>
                  </a:cubicBezTo>
                  <a:cubicBezTo>
                    <a:pt x="1581" y="37"/>
                    <a:pt x="1581" y="37"/>
                    <a:pt x="1581" y="36"/>
                  </a:cubicBezTo>
                  <a:cubicBezTo>
                    <a:pt x="1582" y="35"/>
                    <a:pt x="1581" y="34"/>
                    <a:pt x="1582" y="33"/>
                  </a:cubicBezTo>
                  <a:cubicBezTo>
                    <a:pt x="1582" y="32"/>
                    <a:pt x="1582" y="31"/>
                    <a:pt x="1582" y="29"/>
                  </a:cubicBezTo>
                  <a:cubicBezTo>
                    <a:pt x="1581" y="28"/>
                    <a:pt x="1582" y="27"/>
                    <a:pt x="1581" y="26"/>
                  </a:cubicBezTo>
                  <a:cubicBezTo>
                    <a:pt x="1581" y="26"/>
                    <a:pt x="1581" y="26"/>
                    <a:pt x="1581" y="26"/>
                  </a:cubicBezTo>
                  <a:cubicBezTo>
                    <a:pt x="1581" y="26"/>
                    <a:pt x="1581" y="25"/>
                    <a:pt x="1581" y="25"/>
                  </a:cubicBezTo>
                  <a:cubicBezTo>
                    <a:pt x="1581" y="25"/>
                    <a:pt x="1581" y="24"/>
                    <a:pt x="1581" y="24"/>
                  </a:cubicBezTo>
                  <a:cubicBezTo>
                    <a:pt x="1581" y="24"/>
                    <a:pt x="1581" y="24"/>
                    <a:pt x="1581" y="23"/>
                  </a:cubicBezTo>
                  <a:cubicBezTo>
                    <a:pt x="1581" y="23"/>
                    <a:pt x="1581" y="23"/>
                    <a:pt x="1581" y="23"/>
                  </a:cubicBezTo>
                  <a:cubicBezTo>
                    <a:pt x="1580" y="23"/>
                    <a:pt x="1581" y="22"/>
                    <a:pt x="1580" y="22"/>
                  </a:cubicBezTo>
                  <a:close/>
                  <a:moveTo>
                    <a:pt x="1749" y="37"/>
                  </a:moveTo>
                  <a:cubicBezTo>
                    <a:pt x="1749" y="37"/>
                    <a:pt x="1749" y="37"/>
                    <a:pt x="1749" y="36"/>
                  </a:cubicBezTo>
                  <a:cubicBezTo>
                    <a:pt x="1750" y="35"/>
                    <a:pt x="1749" y="34"/>
                    <a:pt x="1750" y="33"/>
                  </a:cubicBezTo>
                  <a:cubicBezTo>
                    <a:pt x="1750" y="32"/>
                    <a:pt x="1750" y="31"/>
                    <a:pt x="1750" y="29"/>
                  </a:cubicBezTo>
                  <a:cubicBezTo>
                    <a:pt x="1749" y="28"/>
                    <a:pt x="1750" y="28"/>
                    <a:pt x="1750" y="27"/>
                  </a:cubicBezTo>
                  <a:cubicBezTo>
                    <a:pt x="1749" y="26"/>
                    <a:pt x="1749" y="26"/>
                    <a:pt x="1749" y="26"/>
                  </a:cubicBezTo>
                  <a:cubicBezTo>
                    <a:pt x="1749" y="26"/>
                    <a:pt x="1749" y="25"/>
                    <a:pt x="1749" y="25"/>
                  </a:cubicBezTo>
                  <a:cubicBezTo>
                    <a:pt x="1749" y="25"/>
                    <a:pt x="1749" y="24"/>
                    <a:pt x="1749" y="24"/>
                  </a:cubicBezTo>
                  <a:cubicBezTo>
                    <a:pt x="1749" y="24"/>
                    <a:pt x="1749" y="24"/>
                    <a:pt x="1749" y="23"/>
                  </a:cubicBezTo>
                  <a:cubicBezTo>
                    <a:pt x="1749" y="23"/>
                    <a:pt x="1749" y="23"/>
                    <a:pt x="1749" y="23"/>
                  </a:cubicBezTo>
                  <a:cubicBezTo>
                    <a:pt x="1749" y="23"/>
                    <a:pt x="1749" y="22"/>
                    <a:pt x="1748" y="22"/>
                  </a:cubicBezTo>
                  <a:cubicBezTo>
                    <a:pt x="1748" y="22"/>
                    <a:pt x="1748" y="22"/>
                    <a:pt x="1748" y="22"/>
                  </a:cubicBezTo>
                  <a:cubicBezTo>
                    <a:pt x="1748" y="22"/>
                    <a:pt x="1748" y="21"/>
                    <a:pt x="1748" y="21"/>
                  </a:cubicBezTo>
                  <a:cubicBezTo>
                    <a:pt x="1748" y="21"/>
                    <a:pt x="1748" y="21"/>
                    <a:pt x="1748" y="21"/>
                  </a:cubicBezTo>
                  <a:cubicBezTo>
                    <a:pt x="1748" y="21"/>
                    <a:pt x="1748" y="21"/>
                    <a:pt x="1748" y="21"/>
                  </a:cubicBezTo>
                  <a:cubicBezTo>
                    <a:pt x="1748" y="21"/>
                    <a:pt x="1748" y="20"/>
                    <a:pt x="1748" y="20"/>
                  </a:cubicBezTo>
                  <a:cubicBezTo>
                    <a:pt x="1748" y="20"/>
                    <a:pt x="1748" y="20"/>
                    <a:pt x="1748" y="20"/>
                  </a:cubicBezTo>
                  <a:cubicBezTo>
                    <a:pt x="1748" y="20"/>
                    <a:pt x="1748" y="20"/>
                    <a:pt x="1747" y="19"/>
                  </a:cubicBezTo>
                  <a:cubicBezTo>
                    <a:pt x="1747" y="19"/>
                    <a:pt x="1747" y="19"/>
                    <a:pt x="1747" y="19"/>
                  </a:cubicBezTo>
                  <a:cubicBezTo>
                    <a:pt x="1747" y="19"/>
                    <a:pt x="1747" y="19"/>
                    <a:pt x="1747" y="19"/>
                  </a:cubicBezTo>
                  <a:cubicBezTo>
                    <a:pt x="1747" y="19"/>
                    <a:pt x="1747" y="19"/>
                    <a:pt x="1747" y="19"/>
                  </a:cubicBezTo>
                  <a:cubicBezTo>
                    <a:pt x="1747" y="18"/>
                    <a:pt x="1747" y="18"/>
                    <a:pt x="1747" y="18"/>
                  </a:cubicBezTo>
                  <a:cubicBezTo>
                    <a:pt x="1747" y="18"/>
                    <a:pt x="1747" y="18"/>
                    <a:pt x="1747" y="18"/>
                  </a:cubicBezTo>
                  <a:cubicBezTo>
                    <a:pt x="1746" y="18"/>
                    <a:pt x="1747" y="17"/>
                    <a:pt x="1746" y="17"/>
                  </a:cubicBezTo>
                  <a:cubicBezTo>
                    <a:pt x="1746" y="17"/>
                    <a:pt x="1746" y="17"/>
                    <a:pt x="1746" y="17"/>
                  </a:cubicBezTo>
                  <a:cubicBezTo>
                    <a:pt x="1746" y="17"/>
                    <a:pt x="1746" y="17"/>
                    <a:pt x="1746" y="17"/>
                  </a:cubicBezTo>
                  <a:cubicBezTo>
                    <a:pt x="1746" y="17"/>
                    <a:pt x="1746" y="17"/>
                    <a:pt x="1746" y="17"/>
                  </a:cubicBezTo>
                  <a:cubicBezTo>
                    <a:pt x="1746" y="17"/>
                    <a:pt x="1746" y="16"/>
                    <a:pt x="1746" y="16"/>
                  </a:cubicBezTo>
                  <a:cubicBezTo>
                    <a:pt x="1746" y="16"/>
                    <a:pt x="1746" y="16"/>
                    <a:pt x="1746" y="16"/>
                  </a:cubicBezTo>
                  <a:cubicBezTo>
                    <a:pt x="1746" y="16"/>
                    <a:pt x="1745" y="16"/>
                    <a:pt x="1745" y="16"/>
                  </a:cubicBezTo>
                  <a:cubicBezTo>
                    <a:pt x="1745" y="16"/>
                    <a:pt x="1745" y="16"/>
                    <a:pt x="1745" y="16"/>
                  </a:cubicBezTo>
                  <a:cubicBezTo>
                    <a:pt x="1745" y="16"/>
                    <a:pt x="1745" y="15"/>
                    <a:pt x="1745" y="15"/>
                  </a:cubicBezTo>
                  <a:cubicBezTo>
                    <a:pt x="1745" y="15"/>
                    <a:pt x="1745" y="15"/>
                    <a:pt x="1745" y="15"/>
                  </a:cubicBezTo>
                  <a:cubicBezTo>
                    <a:pt x="1745" y="15"/>
                    <a:pt x="1744" y="15"/>
                    <a:pt x="1744" y="15"/>
                  </a:cubicBezTo>
                  <a:cubicBezTo>
                    <a:pt x="1744" y="15"/>
                    <a:pt x="1744" y="15"/>
                    <a:pt x="1744" y="15"/>
                  </a:cubicBezTo>
                  <a:cubicBezTo>
                    <a:pt x="1744" y="14"/>
                    <a:pt x="1744" y="14"/>
                    <a:pt x="1744" y="14"/>
                  </a:cubicBezTo>
                  <a:cubicBezTo>
                    <a:pt x="1744" y="14"/>
                    <a:pt x="1744" y="14"/>
                    <a:pt x="1744" y="14"/>
                  </a:cubicBezTo>
                  <a:cubicBezTo>
                    <a:pt x="1744" y="14"/>
                    <a:pt x="1744" y="14"/>
                    <a:pt x="1744" y="14"/>
                  </a:cubicBezTo>
                  <a:cubicBezTo>
                    <a:pt x="1744" y="14"/>
                    <a:pt x="1744" y="14"/>
                    <a:pt x="1744" y="14"/>
                  </a:cubicBezTo>
                  <a:cubicBezTo>
                    <a:pt x="1743" y="14"/>
                    <a:pt x="1743" y="14"/>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2" y="13"/>
                    <a:pt x="1742" y="13"/>
                    <a:pt x="1742" y="12"/>
                  </a:cubicBezTo>
                  <a:cubicBezTo>
                    <a:pt x="1742" y="12"/>
                    <a:pt x="1742" y="12"/>
                    <a:pt x="1742" y="12"/>
                  </a:cubicBezTo>
                  <a:cubicBezTo>
                    <a:pt x="1742" y="12"/>
                    <a:pt x="1742" y="12"/>
                    <a:pt x="1742" y="12"/>
                  </a:cubicBezTo>
                  <a:cubicBezTo>
                    <a:pt x="1742" y="12"/>
                    <a:pt x="1742" y="12"/>
                    <a:pt x="1742" y="12"/>
                  </a:cubicBezTo>
                  <a:cubicBezTo>
                    <a:pt x="1742" y="12"/>
                    <a:pt x="1742" y="12"/>
                    <a:pt x="1741" y="12"/>
                  </a:cubicBezTo>
                  <a:cubicBezTo>
                    <a:pt x="1741" y="12"/>
                    <a:pt x="1741" y="12"/>
                    <a:pt x="1741" y="12"/>
                  </a:cubicBezTo>
                  <a:cubicBezTo>
                    <a:pt x="1741" y="11"/>
                    <a:pt x="1741" y="11"/>
                    <a:pt x="1740" y="11"/>
                  </a:cubicBezTo>
                  <a:cubicBezTo>
                    <a:pt x="1740" y="11"/>
                    <a:pt x="1740" y="11"/>
                    <a:pt x="1740" y="11"/>
                  </a:cubicBezTo>
                  <a:cubicBezTo>
                    <a:pt x="1740" y="11"/>
                    <a:pt x="1740" y="11"/>
                    <a:pt x="1740" y="11"/>
                  </a:cubicBezTo>
                  <a:cubicBezTo>
                    <a:pt x="1740" y="11"/>
                    <a:pt x="1740" y="11"/>
                    <a:pt x="1740" y="11"/>
                  </a:cubicBezTo>
                  <a:cubicBezTo>
                    <a:pt x="1740" y="10"/>
                    <a:pt x="1740" y="11"/>
                    <a:pt x="1739" y="10"/>
                  </a:cubicBezTo>
                  <a:cubicBezTo>
                    <a:pt x="1739" y="10"/>
                    <a:pt x="1739" y="10"/>
                    <a:pt x="1739" y="10"/>
                  </a:cubicBezTo>
                  <a:cubicBezTo>
                    <a:pt x="1739" y="10"/>
                    <a:pt x="1739" y="10"/>
                    <a:pt x="1739" y="10"/>
                  </a:cubicBezTo>
                  <a:cubicBezTo>
                    <a:pt x="1739" y="10"/>
                    <a:pt x="1739" y="10"/>
                    <a:pt x="1739" y="10"/>
                  </a:cubicBezTo>
                  <a:cubicBezTo>
                    <a:pt x="1739" y="10"/>
                    <a:pt x="1739" y="10"/>
                    <a:pt x="1738" y="10"/>
                  </a:cubicBezTo>
                  <a:cubicBezTo>
                    <a:pt x="1738" y="10"/>
                    <a:pt x="1738" y="10"/>
                    <a:pt x="1738" y="10"/>
                  </a:cubicBezTo>
                  <a:cubicBezTo>
                    <a:pt x="1738" y="9"/>
                    <a:pt x="1738" y="9"/>
                    <a:pt x="1738" y="9"/>
                  </a:cubicBezTo>
                  <a:cubicBezTo>
                    <a:pt x="1738" y="9"/>
                    <a:pt x="1738" y="9"/>
                    <a:pt x="1738" y="9"/>
                  </a:cubicBezTo>
                  <a:cubicBezTo>
                    <a:pt x="1738" y="9"/>
                    <a:pt x="1737" y="9"/>
                    <a:pt x="1737" y="9"/>
                  </a:cubicBezTo>
                  <a:cubicBezTo>
                    <a:pt x="1737" y="9"/>
                    <a:pt x="1737" y="9"/>
                    <a:pt x="1737" y="9"/>
                  </a:cubicBezTo>
                  <a:cubicBezTo>
                    <a:pt x="1737" y="9"/>
                    <a:pt x="1737" y="9"/>
                    <a:pt x="1737" y="9"/>
                  </a:cubicBezTo>
                  <a:cubicBezTo>
                    <a:pt x="1737" y="9"/>
                    <a:pt x="1737" y="9"/>
                    <a:pt x="1737" y="9"/>
                  </a:cubicBezTo>
                  <a:cubicBezTo>
                    <a:pt x="1736" y="8"/>
                    <a:pt x="1736" y="8"/>
                    <a:pt x="1736" y="8"/>
                  </a:cubicBezTo>
                  <a:cubicBezTo>
                    <a:pt x="1736" y="8"/>
                    <a:pt x="1736" y="8"/>
                    <a:pt x="1736" y="8"/>
                  </a:cubicBezTo>
                  <a:cubicBezTo>
                    <a:pt x="1736" y="8"/>
                    <a:pt x="1735" y="8"/>
                    <a:pt x="1735" y="8"/>
                  </a:cubicBezTo>
                  <a:cubicBezTo>
                    <a:pt x="1735" y="8"/>
                    <a:pt x="1735" y="8"/>
                    <a:pt x="1735" y="8"/>
                  </a:cubicBezTo>
                  <a:cubicBezTo>
                    <a:pt x="1735" y="8"/>
                    <a:pt x="1734" y="8"/>
                    <a:pt x="1734" y="8"/>
                  </a:cubicBezTo>
                  <a:cubicBezTo>
                    <a:pt x="1734" y="8"/>
                    <a:pt x="1734" y="8"/>
                    <a:pt x="1734" y="7"/>
                  </a:cubicBezTo>
                  <a:cubicBezTo>
                    <a:pt x="1734" y="7"/>
                    <a:pt x="1733" y="7"/>
                    <a:pt x="1733" y="7"/>
                  </a:cubicBezTo>
                  <a:cubicBezTo>
                    <a:pt x="1733" y="7"/>
                    <a:pt x="1733" y="7"/>
                    <a:pt x="1733" y="7"/>
                  </a:cubicBezTo>
                  <a:cubicBezTo>
                    <a:pt x="1733" y="7"/>
                    <a:pt x="1732" y="7"/>
                    <a:pt x="1732" y="7"/>
                  </a:cubicBezTo>
                  <a:cubicBezTo>
                    <a:pt x="1732" y="7"/>
                    <a:pt x="1732" y="7"/>
                    <a:pt x="1732" y="7"/>
                  </a:cubicBezTo>
                  <a:cubicBezTo>
                    <a:pt x="1732" y="7"/>
                    <a:pt x="1732" y="7"/>
                    <a:pt x="1732" y="7"/>
                  </a:cubicBezTo>
                  <a:cubicBezTo>
                    <a:pt x="1731" y="7"/>
                    <a:pt x="1731" y="7"/>
                    <a:pt x="1731" y="7"/>
                  </a:cubicBezTo>
                  <a:cubicBezTo>
                    <a:pt x="1730" y="7"/>
                    <a:pt x="1730" y="7"/>
                    <a:pt x="1730" y="7"/>
                  </a:cubicBezTo>
                  <a:cubicBezTo>
                    <a:pt x="1730" y="6"/>
                    <a:pt x="1730" y="6"/>
                    <a:pt x="1730" y="6"/>
                  </a:cubicBezTo>
                  <a:cubicBezTo>
                    <a:pt x="1730" y="6"/>
                    <a:pt x="1729" y="7"/>
                    <a:pt x="1729" y="6"/>
                  </a:cubicBezTo>
                  <a:cubicBezTo>
                    <a:pt x="1728" y="6"/>
                    <a:pt x="1728" y="6"/>
                    <a:pt x="1728" y="6"/>
                  </a:cubicBezTo>
                  <a:cubicBezTo>
                    <a:pt x="1727" y="6"/>
                    <a:pt x="1726" y="6"/>
                    <a:pt x="1726" y="6"/>
                  </a:cubicBezTo>
                  <a:cubicBezTo>
                    <a:pt x="1725" y="6"/>
                    <a:pt x="1724" y="6"/>
                    <a:pt x="1724" y="6"/>
                  </a:cubicBezTo>
                  <a:cubicBezTo>
                    <a:pt x="1723" y="6"/>
                    <a:pt x="1722" y="6"/>
                    <a:pt x="1722" y="6"/>
                  </a:cubicBezTo>
                  <a:cubicBezTo>
                    <a:pt x="1721" y="6"/>
                    <a:pt x="1720" y="6"/>
                    <a:pt x="1719" y="6"/>
                  </a:cubicBezTo>
                  <a:cubicBezTo>
                    <a:pt x="1719" y="6"/>
                    <a:pt x="1718" y="6"/>
                    <a:pt x="1717" y="6"/>
                  </a:cubicBezTo>
                  <a:cubicBezTo>
                    <a:pt x="1717" y="6"/>
                    <a:pt x="1716" y="6"/>
                    <a:pt x="1716" y="6"/>
                  </a:cubicBezTo>
                  <a:cubicBezTo>
                    <a:pt x="1716" y="7"/>
                    <a:pt x="1715" y="6"/>
                    <a:pt x="1714" y="6"/>
                  </a:cubicBezTo>
                  <a:cubicBezTo>
                    <a:pt x="1714" y="7"/>
                    <a:pt x="1714" y="7"/>
                    <a:pt x="1714" y="7"/>
                  </a:cubicBezTo>
                  <a:cubicBezTo>
                    <a:pt x="1714" y="7"/>
                    <a:pt x="1714" y="7"/>
                    <a:pt x="1714" y="7"/>
                  </a:cubicBezTo>
                  <a:cubicBezTo>
                    <a:pt x="1714" y="7"/>
                    <a:pt x="1713" y="7"/>
                    <a:pt x="1713" y="7"/>
                  </a:cubicBezTo>
                  <a:cubicBezTo>
                    <a:pt x="1713" y="7"/>
                    <a:pt x="1713" y="7"/>
                    <a:pt x="1713" y="7"/>
                  </a:cubicBezTo>
                  <a:cubicBezTo>
                    <a:pt x="1712" y="7"/>
                    <a:pt x="1712" y="7"/>
                    <a:pt x="1712" y="7"/>
                  </a:cubicBezTo>
                  <a:cubicBezTo>
                    <a:pt x="1711" y="7"/>
                    <a:pt x="1711" y="7"/>
                    <a:pt x="1711" y="7"/>
                  </a:cubicBezTo>
                  <a:cubicBezTo>
                    <a:pt x="1711" y="7"/>
                    <a:pt x="1711" y="7"/>
                    <a:pt x="1711" y="7"/>
                  </a:cubicBezTo>
                  <a:cubicBezTo>
                    <a:pt x="1711" y="7"/>
                    <a:pt x="1711" y="7"/>
                    <a:pt x="1710" y="8"/>
                  </a:cubicBezTo>
                  <a:cubicBezTo>
                    <a:pt x="1710" y="8"/>
                    <a:pt x="1710" y="8"/>
                    <a:pt x="1710" y="8"/>
                  </a:cubicBezTo>
                  <a:cubicBezTo>
                    <a:pt x="1710" y="8"/>
                    <a:pt x="1710" y="8"/>
                    <a:pt x="1710" y="8"/>
                  </a:cubicBezTo>
                  <a:cubicBezTo>
                    <a:pt x="1710" y="8"/>
                    <a:pt x="1710" y="8"/>
                    <a:pt x="1709" y="8"/>
                  </a:cubicBezTo>
                  <a:cubicBezTo>
                    <a:pt x="1709" y="8"/>
                    <a:pt x="1709" y="8"/>
                    <a:pt x="1709" y="8"/>
                  </a:cubicBezTo>
                  <a:cubicBezTo>
                    <a:pt x="1709" y="8"/>
                    <a:pt x="1709" y="8"/>
                    <a:pt x="1709" y="8"/>
                  </a:cubicBezTo>
                  <a:cubicBezTo>
                    <a:pt x="1709" y="8"/>
                    <a:pt x="1709" y="8"/>
                    <a:pt x="1709" y="8"/>
                  </a:cubicBezTo>
                  <a:cubicBezTo>
                    <a:pt x="1709" y="8"/>
                    <a:pt x="1709" y="8"/>
                    <a:pt x="1709" y="8"/>
                  </a:cubicBezTo>
                  <a:cubicBezTo>
                    <a:pt x="1708" y="8"/>
                    <a:pt x="1708" y="8"/>
                    <a:pt x="1708" y="9"/>
                  </a:cubicBezTo>
                  <a:cubicBezTo>
                    <a:pt x="1708" y="9"/>
                    <a:pt x="1708" y="9"/>
                    <a:pt x="1708" y="9"/>
                  </a:cubicBezTo>
                  <a:cubicBezTo>
                    <a:pt x="1708" y="9"/>
                    <a:pt x="1707" y="9"/>
                    <a:pt x="1707" y="9"/>
                  </a:cubicBezTo>
                  <a:cubicBezTo>
                    <a:pt x="1707" y="9"/>
                    <a:pt x="1707" y="9"/>
                    <a:pt x="1707" y="9"/>
                  </a:cubicBezTo>
                  <a:cubicBezTo>
                    <a:pt x="1707" y="9"/>
                    <a:pt x="1707" y="9"/>
                    <a:pt x="1706" y="9"/>
                  </a:cubicBezTo>
                  <a:cubicBezTo>
                    <a:pt x="1706" y="9"/>
                    <a:pt x="1706" y="9"/>
                    <a:pt x="1706" y="9"/>
                  </a:cubicBezTo>
                  <a:cubicBezTo>
                    <a:pt x="1706" y="9"/>
                    <a:pt x="1706" y="9"/>
                    <a:pt x="1706" y="10"/>
                  </a:cubicBezTo>
                  <a:cubicBezTo>
                    <a:pt x="1706" y="10"/>
                    <a:pt x="1706" y="10"/>
                    <a:pt x="1706" y="10"/>
                  </a:cubicBezTo>
                  <a:cubicBezTo>
                    <a:pt x="1706" y="10"/>
                    <a:pt x="1705" y="10"/>
                    <a:pt x="1705" y="10"/>
                  </a:cubicBezTo>
                  <a:cubicBezTo>
                    <a:pt x="1705" y="10"/>
                    <a:pt x="1705" y="10"/>
                    <a:pt x="1705" y="10"/>
                  </a:cubicBezTo>
                  <a:cubicBezTo>
                    <a:pt x="1705" y="10"/>
                    <a:pt x="1705" y="10"/>
                    <a:pt x="1705" y="10"/>
                  </a:cubicBezTo>
                  <a:cubicBezTo>
                    <a:pt x="1705" y="10"/>
                    <a:pt x="1705" y="10"/>
                    <a:pt x="1705" y="10"/>
                  </a:cubicBezTo>
                  <a:cubicBezTo>
                    <a:pt x="1704" y="11"/>
                    <a:pt x="1704" y="10"/>
                    <a:pt x="1704" y="11"/>
                  </a:cubicBezTo>
                  <a:cubicBezTo>
                    <a:pt x="1704" y="11"/>
                    <a:pt x="1704" y="11"/>
                    <a:pt x="1704" y="11"/>
                  </a:cubicBezTo>
                  <a:cubicBezTo>
                    <a:pt x="1704" y="11"/>
                    <a:pt x="1704" y="11"/>
                    <a:pt x="1704" y="11"/>
                  </a:cubicBezTo>
                  <a:cubicBezTo>
                    <a:pt x="1704" y="11"/>
                    <a:pt x="1704" y="11"/>
                    <a:pt x="1704" y="11"/>
                  </a:cubicBezTo>
                  <a:cubicBezTo>
                    <a:pt x="1703" y="11"/>
                    <a:pt x="1703" y="11"/>
                    <a:pt x="1703" y="11"/>
                  </a:cubicBezTo>
                  <a:cubicBezTo>
                    <a:pt x="1703" y="11"/>
                    <a:pt x="1703" y="11"/>
                    <a:pt x="1703" y="11"/>
                  </a:cubicBezTo>
                  <a:cubicBezTo>
                    <a:pt x="1703" y="11"/>
                    <a:pt x="1703" y="12"/>
                    <a:pt x="1703" y="12"/>
                  </a:cubicBezTo>
                  <a:cubicBezTo>
                    <a:pt x="1703" y="12"/>
                    <a:pt x="1703" y="12"/>
                    <a:pt x="1703" y="12"/>
                  </a:cubicBezTo>
                  <a:cubicBezTo>
                    <a:pt x="1702" y="12"/>
                    <a:pt x="1702" y="12"/>
                    <a:pt x="1702" y="12"/>
                  </a:cubicBezTo>
                  <a:cubicBezTo>
                    <a:pt x="1702" y="12"/>
                    <a:pt x="1702" y="12"/>
                    <a:pt x="1702" y="12"/>
                  </a:cubicBezTo>
                  <a:cubicBezTo>
                    <a:pt x="1702" y="12"/>
                    <a:pt x="1702" y="12"/>
                    <a:pt x="1702" y="12"/>
                  </a:cubicBezTo>
                  <a:cubicBezTo>
                    <a:pt x="1702" y="12"/>
                    <a:pt x="1702" y="12"/>
                    <a:pt x="1702" y="12"/>
                  </a:cubicBezTo>
                  <a:cubicBezTo>
                    <a:pt x="1701" y="12"/>
                    <a:pt x="1701" y="13"/>
                    <a:pt x="1701" y="13"/>
                  </a:cubicBezTo>
                  <a:cubicBezTo>
                    <a:pt x="1701" y="13"/>
                    <a:pt x="1701" y="13"/>
                    <a:pt x="1701" y="13"/>
                  </a:cubicBezTo>
                  <a:cubicBezTo>
                    <a:pt x="1701" y="13"/>
                    <a:pt x="1701" y="13"/>
                    <a:pt x="1701" y="13"/>
                  </a:cubicBezTo>
                  <a:cubicBezTo>
                    <a:pt x="1701" y="13"/>
                    <a:pt x="1701" y="13"/>
                    <a:pt x="1701" y="13"/>
                  </a:cubicBezTo>
                  <a:cubicBezTo>
                    <a:pt x="1701" y="13"/>
                    <a:pt x="1701" y="13"/>
                    <a:pt x="1700" y="13"/>
                  </a:cubicBezTo>
                  <a:cubicBezTo>
                    <a:pt x="1700" y="13"/>
                    <a:pt x="1700" y="13"/>
                    <a:pt x="1700" y="13"/>
                  </a:cubicBezTo>
                  <a:cubicBezTo>
                    <a:pt x="1700" y="14"/>
                    <a:pt x="1699" y="14"/>
                    <a:pt x="1699" y="15"/>
                  </a:cubicBezTo>
                  <a:cubicBezTo>
                    <a:pt x="1699" y="15"/>
                    <a:pt x="1699" y="15"/>
                    <a:pt x="1699" y="15"/>
                  </a:cubicBezTo>
                  <a:cubicBezTo>
                    <a:pt x="1699" y="15"/>
                    <a:pt x="1699" y="15"/>
                    <a:pt x="1699" y="15"/>
                  </a:cubicBezTo>
                  <a:cubicBezTo>
                    <a:pt x="1699" y="19"/>
                    <a:pt x="1699" y="22"/>
                    <a:pt x="1699" y="26"/>
                  </a:cubicBezTo>
                  <a:cubicBezTo>
                    <a:pt x="1699" y="26"/>
                    <a:pt x="1699" y="26"/>
                    <a:pt x="1699" y="26"/>
                  </a:cubicBezTo>
                  <a:cubicBezTo>
                    <a:pt x="1699" y="26"/>
                    <a:pt x="1699" y="26"/>
                    <a:pt x="1699" y="26"/>
                  </a:cubicBezTo>
                  <a:cubicBezTo>
                    <a:pt x="1699" y="26"/>
                    <a:pt x="1700" y="26"/>
                    <a:pt x="1700" y="26"/>
                  </a:cubicBezTo>
                  <a:cubicBezTo>
                    <a:pt x="1700" y="26"/>
                    <a:pt x="1700" y="26"/>
                    <a:pt x="1700" y="26"/>
                  </a:cubicBezTo>
                  <a:cubicBezTo>
                    <a:pt x="1700" y="26"/>
                    <a:pt x="1700" y="26"/>
                    <a:pt x="1700" y="26"/>
                  </a:cubicBezTo>
                  <a:cubicBezTo>
                    <a:pt x="1700" y="26"/>
                    <a:pt x="1700" y="26"/>
                    <a:pt x="1700" y="26"/>
                  </a:cubicBezTo>
                  <a:cubicBezTo>
                    <a:pt x="1700" y="26"/>
                    <a:pt x="1700" y="25"/>
                    <a:pt x="1700" y="25"/>
                  </a:cubicBezTo>
                  <a:cubicBezTo>
                    <a:pt x="1700" y="25"/>
                    <a:pt x="1700" y="25"/>
                    <a:pt x="1700" y="25"/>
                  </a:cubicBezTo>
                  <a:cubicBezTo>
                    <a:pt x="1701" y="25"/>
                    <a:pt x="1701" y="25"/>
                    <a:pt x="1701" y="25"/>
                  </a:cubicBezTo>
                  <a:cubicBezTo>
                    <a:pt x="1701" y="25"/>
                    <a:pt x="1701" y="25"/>
                    <a:pt x="1701" y="25"/>
                  </a:cubicBezTo>
                  <a:cubicBezTo>
                    <a:pt x="1701" y="25"/>
                    <a:pt x="1701" y="25"/>
                    <a:pt x="1701" y="24"/>
                  </a:cubicBezTo>
                  <a:cubicBezTo>
                    <a:pt x="1701" y="25"/>
                    <a:pt x="1701" y="25"/>
                    <a:pt x="1701" y="25"/>
                  </a:cubicBezTo>
                  <a:cubicBezTo>
                    <a:pt x="1701" y="24"/>
                    <a:pt x="1701" y="24"/>
                    <a:pt x="1701" y="24"/>
                  </a:cubicBezTo>
                  <a:cubicBezTo>
                    <a:pt x="1701" y="24"/>
                    <a:pt x="1701" y="24"/>
                    <a:pt x="1701" y="24"/>
                  </a:cubicBezTo>
                  <a:cubicBezTo>
                    <a:pt x="1702" y="24"/>
                    <a:pt x="1702" y="24"/>
                    <a:pt x="1702" y="24"/>
                  </a:cubicBezTo>
                  <a:cubicBezTo>
                    <a:pt x="1702" y="24"/>
                    <a:pt x="1702" y="24"/>
                    <a:pt x="1702" y="24"/>
                  </a:cubicBezTo>
                  <a:cubicBezTo>
                    <a:pt x="1702" y="24"/>
                    <a:pt x="1702" y="24"/>
                    <a:pt x="1702" y="23"/>
                  </a:cubicBezTo>
                  <a:cubicBezTo>
                    <a:pt x="1702" y="24"/>
                    <a:pt x="1702" y="24"/>
                    <a:pt x="1702" y="24"/>
                  </a:cubicBezTo>
                  <a:cubicBezTo>
                    <a:pt x="1702" y="23"/>
                    <a:pt x="1702" y="23"/>
                    <a:pt x="1702" y="23"/>
                  </a:cubicBezTo>
                  <a:cubicBezTo>
                    <a:pt x="1702" y="23"/>
                    <a:pt x="1702" y="23"/>
                    <a:pt x="1702" y="23"/>
                  </a:cubicBezTo>
                  <a:cubicBezTo>
                    <a:pt x="1703" y="23"/>
                    <a:pt x="1703" y="23"/>
                    <a:pt x="1703" y="23"/>
                  </a:cubicBezTo>
                  <a:cubicBezTo>
                    <a:pt x="1703" y="23"/>
                    <a:pt x="1703" y="23"/>
                    <a:pt x="1703" y="23"/>
                  </a:cubicBezTo>
                  <a:cubicBezTo>
                    <a:pt x="1703" y="23"/>
                    <a:pt x="1703" y="23"/>
                    <a:pt x="1703" y="23"/>
                  </a:cubicBezTo>
                  <a:cubicBezTo>
                    <a:pt x="1703" y="23"/>
                    <a:pt x="1703" y="23"/>
                    <a:pt x="1703" y="23"/>
                  </a:cubicBezTo>
                  <a:cubicBezTo>
                    <a:pt x="1703" y="22"/>
                    <a:pt x="1704" y="22"/>
                    <a:pt x="1704" y="22"/>
                  </a:cubicBezTo>
                  <a:cubicBezTo>
                    <a:pt x="1704" y="22"/>
                    <a:pt x="1704" y="22"/>
                    <a:pt x="1704" y="22"/>
                  </a:cubicBezTo>
                  <a:cubicBezTo>
                    <a:pt x="1704" y="22"/>
                    <a:pt x="1704" y="22"/>
                    <a:pt x="1704" y="22"/>
                  </a:cubicBezTo>
                  <a:cubicBezTo>
                    <a:pt x="1704" y="22"/>
                    <a:pt x="1704" y="22"/>
                    <a:pt x="1704" y="22"/>
                  </a:cubicBezTo>
                  <a:cubicBezTo>
                    <a:pt x="1704" y="22"/>
                    <a:pt x="1704" y="22"/>
                    <a:pt x="1705" y="21"/>
                  </a:cubicBezTo>
                  <a:cubicBezTo>
                    <a:pt x="1705" y="21"/>
                    <a:pt x="1705" y="21"/>
                    <a:pt x="1705" y="21"/>
                  </a:cubicBezTo>
                  <a:cubicBezTo>
                    <a:pt x="1705" y="21"/>
                    <a:pt x="1705" y="21"/>
                    <a:pt x="1706" y="21"/>
                  </a:cubicBezTo>
                  <a:cubicBezTo>
                    <a:pt x="1706" y="21"/>
                    <a:pt x="1706" y="21"/>
                    <a:pt x="1706" y="21"/>
                  </a:cubicBezTo>
                  <a:cubicBezTo>
                    <a:pt x="1706" y="21"/>
                    <a:pt x="1706" y="21"/>
                    <a:pt x="1706" y="20"/>
                  </a:cubicBezTo>
                  <a:cubicBezTo>
                    <a:pt x="1706" y="20"/>
                    <a:pt x="1706" y="20"/>
                    <a:pt x="1706" y="20"/>
                  </a:cubicBezTo>
                  <a:cubicBezTo>
                    <a:pt x="1706" y="20"/>
                    <a:pt x="1707" y="20"/>
                    <a:pt x="1707" y="20"/>
                  </a:cubicBezTo>
                  <a:cubicBezTo>
                    <a:pt x="1707" y="20"/>
                    <a:pt x="1707" y="20"/>
                    <a:pt x="1707" y="20"/>
                  </a:cubicBezTo>
                  <a:cubicBezTo>
                    <a:pt x="1707" y="20"/>
                    <a:pt x="1707" y="20"/>
                    <a:pt x="1707" y="20"/>
                  </a:cubicBezTo>
                  <a:cubicBezTo>
                    <a:pt x="1707" y="20"/>
                    <a:pt x="1707" y="20"/>
                    <a:pt x="1707" y="20"/>
                  </a:cubicBezTo>
                  <a:cubicBezTo>
                    <a:pt x="1707" y="19"/>
                    <a:pt x="1708" y="20"/>
                    <a:pt x="1708" y="19"/>
                  </a:cubicBezTo>
                  <a:cubicBezTo>
                    <a:pt x="1708" y="19"/>
                    <a:pt x="1708" y="19"/>
                    <a:pt x="1708" y="19"/>
                  </a:cubicBezTo>
                  <a:cubicBezTo>
                    <a:pt x="1708" y="19"/>
                    <a:pt x="1708" y="19"/>
                    <a:pt x="1708" y="19"/>
                  </a:cubicBezTo>
                  <a:cubicBezTo>
                    <a:pt x="1708" y="19"/>
                    <a:pt x="1708" y="19"/>
                    <a:pt x="1708" y="19"/>
                  </a:cubicBezTo>
                  <a:cubicBezTo>
                    <a:pt x="1709" y="19"/>
                    <a:pt x="1709" y="19"/>
                    <a:pt x="1709" y="19"/>
                  </a:cubicBezTo>
                  <a:cubicBezTo>
                    <a:pt x="1709" y="19"/>
                    <a:pt x="1709" y="19"/>
                    <a:pt x="1709" y="19"/>
                  </a:cubicBezTo>
                  <a:cubicBezTo>
                    <a:pt x="1709" y="18"/>
                    <a:pt x="1709" y="19"/>
                    <a:pt x="1709" y="18"/>
                  </a:cubicBezTo>
                  <a:cubicBezTo>
                    <a:pt x="1709" y="18"/>
                    <a:pt x="1709" y="18"/>
                    <a:pt x="1709" y="18"/>
                  </a:cubicBezTo>
                  <a:cubicBezTo>
                    <a:pt x="1710" y="18"/>
                    <a:pt x="1710" y="18"/>
                    <a:pt x="1710" y="18"/>
                  </a:cubicBezTo>
                  <a:cubicBezTo>
                    <a:pt x="1710" y="18"/>
                    <a:pt x="1710" y="18"/>
                    <a:pt x="1710" y="18"/>
                  </a:cubicBezTo>
                  <a:cubicBezTo>
                    <a:pt x="1710" y="18"/>
                    <a:pt x="1711" y="18"/>
                    <a:pt x="1711" y="18"/>
                  </a:cubicBezTo>
                  <a:cubicBezTo>
                    <a:pt x="1711" y="18"/>
                    <a:pt x="1711" y="18"/>
                    <a:pt x="1711" y="18"/>
                  </a:cubicBezTo>
                  <a:cubicBezTo>
                    <a:pt x="1711" y="17"/>
                    <a:pt x="1711" y="17"/>
                    <a:pt x="1712" y="17"/>
                  </a:cubicBezTo>
                  <a:cubicBezTo>
                    <a:pt x="1712" y="17"/>
                    <a:pt x="1712" y="17"/>
                    <a:pt x="1712" y="17"/>
                  </a:cubicBezTo>
                  <a:cubicBezTo>
                    <a:pt x="1712" y="17"/>
                    <a:pt x="1712" y="17"/>
                    <a:pt x="1712" y="17"/>
                  </a:cubicBezTo>
                  <a:cubicBezTo>
                    <a:pt x="1712" y="17"/>
                    <a:pt x="1712" y="17"/>
                    <a:pt x="1713" y="17"/>
                  </a:cubicBezTo>
                  <a:cubicBezTo>
                    <a:pt x="1713" y="17"/>
                    <a:pt x="1713" y="17"/>
                    <a:pt x="1713" y="17"/>
                  </a:cubicBezTo>
                  <a:cubicBezTo>
                    <a:pt x="1713" y="17"/>
                    <a:pt x="1713" y="17"/>
                    <a:pt x="1713" y="17"/>
                  </a:cubicBezTo>
                  <a:cubicBezTo>
                    <a:pt x="1713" y="17"/>
                    <a:pt x="1713" y="17"/>
                    <a:pt x="1713" y="17"/>
                  </a:cubicBezTo>
                  <a:cubicBezTo>
                    <a:pt x="1713" y="17"/>
                    <a:pt x="1713" y="17"/>
                    <a:pt x="1713" y="17"/>
                  </a:cubicBezTo>
                  <a:cubicBezTo>
                    <a:pt x="1714" y="16"/>
                    <a:pt x="1714" y="16"/>
                    <a:pt x="1714" y="16"/>
                  </a:cubicBezTo>
                  <a:cubicBezTo>
                    <a:pt x="1714" y="16"/>
                    <a:pt x="1714" y="16"/>
                    <a:pt x="1714" y="16"/>
                  </a:cubicBezTo>
                  <a:cubicBezTo>
                    <a:pt x="1715" y="16"/>
                    <a:pt x="1715" y="16"/>
                    <a:pt x="1715" y="16"/>
                  </a:cubicBezTo>
                  <a:cubicBezTo>
                    <a:pt x="1715" y="16"/>
                    <a:pt x="1715" y="16"/>
                    <a:pt x="1716" y="16"/>
                  </a:cubicBezTo>
                  <a:cubicBezTo>
                    <a:pt x="1716" y="16"/>
                    <a:pt x="1716" y="16"/>
                    <a:pt x="1716" y="16"/>
                  </a:cubicBezTo>
                  <a:cubicBezTo>
                    <a:pt x="1716" y="16"/>
                    <a:pt x="1717" y="16"/>
                    <a:pt x="1717" y="16"/>
                  </a:cubicBezTo>
                  <a:cubicBezTo>
                    <a:pt x="1717" y="15"/>
                    <a:pt x="1717" y="15"/>
                    <a:pt x="1717" y="15"/>
                  </a:cubicBezTo>
                  <a:cubicBezTo>
                    <a:pt x="1717" y="15"/>
                    <a:pt x="1717" y="15"/>
                    <a:pt x="1717" y="15"/>
                  </a:cubicBezTo>
                  <a:cubicBezTo>
                    <a:pt x="1718" y="15"/>
                    <a:pt x="1719" y="16"/>
                    <a:pt x="1719" y="15"/>
                  </a:cubicBezTo>
                  <a:cubicBezTo>
                    <a:pt x="1720" y="15"/>
                    <a:pt x="1720" y="15"/>
                    <a:pt x="1720" y="15"/>
                  </a:cubicBezTo>
                  <a:cubicBezTo>
                    <a:pt x="1721" y="15"/>
                    <a:pt x="1722" y="15"/>
                    <a:pt x="1723" y="15"/>
                  </a:cubicBezTo>
                  <a:cubicBezTo>
                    <a:pt x="1723" y="15"/>
                    <a:pt x="1723" y="15"/>
                    <a:pt x="1724" y="15"/>
                  </a:cubicBezTo>
                  <a:cubicBezTo>
                    <a:pt x="1724" y="16"/>
                    <a:pt x="1725" y="15"/>
                    <a:pt x="1726" y="16"/>
                  </a:cubicBezTo>
                  <a:cubicBezTo>
                    <a:pt x="1726" y="15"/>
                    <a:pt x="1726" y="15"/>
                    <a:pt x="1726" y="15"/>
                  </a:cubicBezTo>
                  <a:cubicBezTo>
                    <a:pt x="1726" y="16"/>
                    <a:pt x="1726" y="16"/>
                    <a:pt x="1726" y="16"/>
                  </a:cubicBezTo>
                  <a:cubicBezTo>
                    <a:pt x="1726" y="16"/>
                    <a:pt x="1727" y="16"/>
                    <a:pt x="1727" y="16"/>
                  </a:cubicBezTo>
                  <a:cubicBezTo>
                    <a:pt x="1727" y="16"/>
                    <a:pt x="1727" y="16"/>
                    <a:pt x="1727" y="16"/>
                  </a:cubicBezTo>
                  <a:cubicBezTo>
                    <a:pt x="1728" y="16"/>
                    <a:pt x="1728" y="16"/>
                    <a:pt x="1728" y="16"/>
                  </a:cubicBezTo>
                  <a:cubicBezTo>
                    <a:pt x="1728" y="16"/>
                    <a:pt x="1728" y="16"/>
                    <a:pt x="1728" y="16"/>
                  </a:cubicBezTo>
                  <a:cubicBezTo>
                    <a:pt x="1729" y="16"/>
                    <a:pt x="1729" y="16"/>
                    <a:pt x="1729" y="16"/>
                  </a:cubicBezTo>
                  <a:cubicBezTo>
                    <a:pt x="1729" y="16"/>
                    <a:pt x="1729" y="16"/>
                    <a:pt x="1729" y="16"/>
                  </a:cubicBezTo>
                  <a:cubicBezTo>
                    <a:pt x="1729" y="16"/>
                    <a:pt x="1729" y="16"/>
                    <a:pt x="1729" y="17"/>
                  </a:cubicBezTo>
                  <a:cubicBezTo>
                    <a:pt x="1729" y="17"/>
                    <a:pt x="1729" y="17"/>
                    <a:pt x="1729" y="17"/>
                  </a:cubicBezTo>
                  <a:cubicBezTo>
                    <a:pt x="1729" y="17"/>
                    <a:pt x="1730" y="17"/>
                    <a:pt x="1730" y="17"/>
                  </a:cubicBezTo>
                  <a:cubicBezTo>
                    <a:pt x="1730" y="17"/>
                    <a:pt x="1730" y="17"/>
                    <a:pt x="1730" y="17"/>
                  </a:cubicBezTo>
                  <a:cubicBezTo>
                    <a:pt x="1730" y="17"/>
                    <a:pt x="1731" y="17"/>
                    <a:pt x="1731" y="17"/>
                  </a:cubicBezTo>
                  <a:cubicBezTo>
                    <a:pt x="1731" y="17"/>
                    <a:pt x="1731" y="17"/>
                    <a:pt x="1731" y="17"/>
                  </a:cubicBezTo>
                  <a:cubicBezTo>
                    <a:pt x="1731" y="17"/>
                    <a:pt x="1731" y="17"/>
                    <a:pt x="1731" y="18"/>
                  </a:cubicBezTo>
                  <a:cubicBezTo>
                    <a:pt x="1731" y="18"/>
                    <a:pt x="1731" y="18"/>
                    <a:pt x="1731" y="18"/>
                  </a:cubicBezTo>
                  <a:cubicBezTo>
                    <a:pt x="1732" y="18"/>
                    <a:pt x="1732" y="18"/>
                    <a:pt x="1732" y="18"/>
                  </a:cubicBezTo>
                  <a:cubicBezTo>
                    <a:pt x="1732" y="18"/>
                    <a:pt x="1732" y="18"/>
                    <a:pt x="1732" y="18"/>
                  </a:cubicBezTo>
                  <a:cubicBezTo>
                    <a:pt x="1732" y="18"/>
                    <a:pt x="1732" y="18"/>
                    <a:pt x="1732" y="18"/>
                  </a:cubicBezTo>
                  <a:cubicBezTo>
                    <a:pt x="1732" y="18"/>
                    <a:pt x="1732" y="18"/>
                    <a:pt x="1732" y="18"/>
                  </a:cubicBezTo>
                  <a:cubicBezTo>
                    <a:pt x="1733" y="18"/>
                    <a:pt x="1733" y="19"/>
                    <a:pt x="1733" y="19"/>
                  </a:cubicBezTo>
                  <a:cubicBezTo>
                    <a:pt x="1733" y="19"/>
                    <a:pt x="1733" y="19"/>
                    <a:pt x="1733" y="19"/>
                  </a:cubicBezTo>
                  <a:cubicBezTo>
                    <a:pt x="1733" y="19"/>
                    <a:pt x="1733" y="19"/>
                    <a:pt x="1733" y="19"/>
                  </a:cubicBezTo>
                  <a:cubicBezTo>
                    <a:pt x="1733" y="19"/>
                    <a:pt x="1733" y="19"/>
                    <a:pt x="1733" y="19"/>
                  </a:cubicBezTo>
                  <a:cubicBezTo>
                    <a:pt x="1734" y="20"/>
                    <a:pt x="1734" y="20"/>
                    <a:pt x="1735" y="21"/>
                  </a:cubicBezTo>
                  <a:cubicBezTo>
                    <a:pt x="1735" y="21"/>
                    <a:pt x="1735" y="21"/>
                    <a:pt x="1735" y="21"/>
                  </a:cubicBezTo>
                  <a:cubicBezTo>
                    <a:pt x="1735" y="21"/>
                    <a:pt x="1735" y="21"/>
                    <a:pt x="1735" y="21"/>
                  </a:cubicBezTo>
                  <a:cubicBezTo>
                    <a:pt x="1735" y="21"/>
                    <a:pt x="1735" y="21"/>
                    <a:pt x="1735" y="21"/>
                  </a:cubicBezTo>
                  <a:cubicBezTo>
                    <a:pt x="1735" y="21"/>
                    <a:pt x="1735" y="21"/>
                    <a:pt x="1736" y="21"/>
                  </a:cubicBezTo>
                  <a:cubicBezTo>
                    <a:pt x="1736" y="21"/>
                    <a:pt x="1736" y="21"/>
                    <a:pt x="1736" y="21"/>
                  </a:cubicBezTo>
                  <a:cubicBezTo>
                    <a:pt x="1736" y="22"/>
                    <a:pt x="1736" y="22"/>
                    <a:pt x="1736" y="22"/>
                  </a:cubicBezTo>
                  <a:cubicBezTo>
                    <a:pt x="1736" y="22"/>
                    <a:pt x="1736" y="22"/>
                    <a:pt x="1736" y="22"/>
                  </a:cubicBezTo>
                  <a:cubicBezTo>
                    <a:pt x="1736" y="22"/>
                    <a:pt x="1736" y="22"/>
                    <a:pt x="1736" y="23"/>
                  </a:cubicBezTo>
                  <a:cubicBezTo>
                    <a:pt x="1736" y="23"/>
                    <a:pt x="1736" y="23"/>
                    <a:pt x="1736" y="23"/>
                  </a:cubicBezTo>
                  <a:cubicBezTo>
                    <a:pt x="1736" y="23"/>
                    <a:pt x="1736" y="23"/>
                    <a:pt x="1737" y="23"/>
                  </a:cubicBezTo>
                  <a:cubicBezTo>
                    <a:pt x="1737" y="23"/>
                    <a:pt x="1737" y="23"/>
                    <a:pt x="1737" y="23"/>
                  </a:cubicBezTo>
                  <a:cubicBezTo>
                    <a:pt x="1737" y="23"/>
                    <a:pt x="1737" y="24"/>
                    <a:pt x="1737" y="24"/>
                  </a:cubicBezTo>
                  <a:cubicBezTo>
                    <a:pt x="1737" y="24"/>
                    <a:pt x="1737" y="24"/>
                    <a:pt x="1737" y="24"/>
                  </a:cubicBezTo>
                  <a:cubicBezTo>
                    <a:pt x="1737" y="24"/>
                    <a:pt x="1737" y="24"/>
                    <a:pt x="1737" y="25"/>
                  </a:cubicBezTo>
                  <a:cubicBezTo>
                    <a:pt x="1737" y="25"/>
                    <a:pt x="1737" y="25"/>
                    <a:pt x="1737" y="25"/>
                  </a:cubicBezTo>
                  <a:cubicBezTo>
                    <a:pt x="1737" y="25"/>
                    <a:pt x="1737" y="25"/>
                    <a:pt x="1737" y="25"/>
                  </a:cubicBezTo>
                  <a:cubicBezTo>
                    <a:pt x="1737" y="25"/>
                    <a:pt x="1737" y="25"/>
                    <a:pt x="1738" y="26"/>
                  </a:cubicBezTo>
                  <a:cubicBezTo>
                    <a:pt x="1738" y="26"/>
                    <a:pt x="1738" y="26"/>
                    <a:pt x="1738" y="26"/>
                  </a:cubicBezTo>
                  <a:cubicBezTo>
                    <a:pt x="1738" y="26"/>
                    <a:pt x="1738" y="26"/>
                    <a:pt x="1738" y="27"/>
                  </a:cubicBezTo>
                  <a:cubicBezTo>
                    <a:pt x="1738" y="27"/>
                    <a:pt x="1738" y="27"/>
                    <a:pt x="1738" y="27"/>
                  </a:cubicBezTo>
                  <a:cubicBezTo>
                    <a:pt x="1738" y="27"/>
                    <a:pt x="1738" y="28"/>
                    <a:pt x="1738" y="28"/>
                  </a:cubicBezTo>
                  <a:cubicBezTo>
                    <a:pt x="1738" y="28"/>
                    <a:pt x="1738" y="29"/>
                    <a:pt x="1738" y="29"/>
                  </a:cubicBezTo>
                  <a:cubicBezTo>
                    <a:pt x="1739" y="31"/>
                    <a:pt x="1739" y="33"/>
                    <a:pt x="1738" y="36"/>
                  </a:cubicBezTo>
                  <a:cubicBezTo>
                    <a:pt x="1738" y="36"/>
                    <a:pt x="1738" y="36"/>
                    <a:pt x="1738" y="36"/>
                  </a:cubicBezTo>
                  <a:cubicBezTo>
                    <a:pt x="1738" y="37"/>
                    <a:pt x="1738" y="37"/>
                    <a:pt x="1738" y="38"/>
                  </a:cubicBezTo>
                  <a:cubicBezTo>
                    <a:pt x="1738" y="38"/>
                    <a:pt x="1738" y="38"/>
                    <a:pt x="1738" y="38"/>
                  </a:cubicBezTo>
                  <a:cubicBezTo>
                    <a:pt x="1738" y="39"/>
                    <a:pt x="1738" y="39"/>
                    <a:pt x="1738" y="39"/>
                  </a:cubicBezTo>
                  <a:cubicBezTo>
                    <a:pt x="1738" y="39"/>
                    <a:pt x="1738" y="39"/>
                    <a:pt x="1738" y="39"/>
                  </a:cubicBezTo>
                  <a:cubicBezTo>
                    <a:pt x="1738" y="40"/>
                    <a:pt x="1738" y="40"/>
                    <a:pt x="1738" y="40"/>
                  </a:cubicBezTo>
                  <a:cubicBezTo>
                    <a:pt x="1737" y="40"/>
                    <a:pt x="1738" y="40"/>
                    <a:pt x="1737" y="41"/>
                  </a:cubicBezTo>
                  <a:cubicBezTo>
                    <a:pt x="1737" y="41"/>
                    <a:pt x="1737" y="41"/>
                    <a:pt x="1737" y="41"/>
                  </a:cubicBezTo>
                  <a:cubicBezTo>
                    <a:pt x="1737" y="41"/>
                    <a:pt x="1737" y="41"/>
                    <a:pt x="1737" y="42"/>
                  </a:cubicBezTo>
                  <a:cubicBezTo>
                    <a:pt x="1737" y="42"/>
                    <a:pt x="1737" y="42"/>
                    <a:pt x="1737" y="42"/>
                  </a:cubicBezTo>
                  <a:cubicBezTo>
                    <a:pt x="1737" y="42"/>
                    <a:pt x="1737" y="42"/>
                    <a:pt x="1737" y="42"/>
                  </a:cubicBezTo>
                  <a:cubicBezTo>
                    <a:pt x="1737" y="43"/>
                    <a:pt x="1737" y="43"/>
                    <a:pt x="1737" y="43"/>
                  </a:cubicBezTo>
                  <a:cubicBezTo>
                    <a:pt x="1736" y="43"/>
                    <a:pt x="1736" y="43"/>
                    <a:pt x="1736" y="43"/>
                  </a:cubicBezTo>
                  <a:cubicBezTo>
                    <a:pt x="1736" y="43"/>
                    <a:pt x="1736" y="43"/>
                    <a:pt x="1736" y="43"/>
                  </a:cubicBezTo>
                  <a:cubicBezTo>
                    <a:pt x="1736" y="44"/>
                    <a:pt x="1736" y="44"/>
                    <a:pt x="1736" y="44"/>
                  </a:cubicBezTo>
                  <a:cubicBezTo>
                    <a:pt x="1736" y="44"/>
                    <a:pt x="1736" y="44"/>
                    <a:pt x="1736" y="44"/>
                  </a:cubicBezTo>
                  <a:cubicBezTo>
                    <a:pt x="1736" y="44"/>
                    <a:pt x="1736" y="45"/>
                    <a:pt x="1736" y="45"/>
                  </a:cubicBezTo>
                  <a:cubicBezTo>
                    <a:pt x="1736" y="45"/>
                    <a:pt x="1736" y="45"/>
                    <a:pt x="1736" y="45"/>
                  </a:cubicBezTo>
                  <a:cubicBezTo>
                    <a:pt x="1735" y="45"/>
                    <a:pt x="1735" y="45"/>
                    <a:pt x="1735" y="45"/>
                  </a:cubicBezTo>
                  <a:cubicBezTo>
                    <a:pt x="1735" y="45"/>
                    <a:pt x="1735" y="45"/>
                    <a:pt x="1735" y="45"/>
                  </a:cubicBezTo>
                  <a:cubicBezTo>
                    <a:pt x="1735" y="45"/>
                    <a:pt x="1735" y="45"/>
                    <a:pt x="1735" y="45"/>
                  </a:cubicBezTo>
                  <a:cubicBezTo>
                    <a:pt x="1735" y="46"/>
                    <a:pt x="1735" y="46"/>
                    <a:pt x="1735" y="46"/>
                  </a:cubicBezTo>
                  <a:cubicBezTo>
                    <a:pt x="1735" y="46"/>
                    <a:pt x="1735" y="46"/>
                    <a:pt x="1735" y="46"/>
                  </a:cubicBezTo>
                  <a:cubicBezTo>
                    <a:pt x="1735" y="46"/>
                    <a:pt x="1735" y="46"/>
                    <a:pt x="1735" y="47"/>
                  </a:cubicBezTo>
                  <a:cubicBezTo>
                    <a:pt x="1735" y="47"/>
                    <a:pt x="1735" y="47"/>
                    <a:pt x="1735" y="47"/>
                  </a:cubicBezTo>
                  <a:cubicBezTo>
                    <a:pt x="1734" y="47"/>
                    <a:pt x="1734" y="47"/>
                    <a:pt x="1734" y="47"/>
                  </a:cubicBezTo>
                  <a:cubicBezTo>
                    <a:pt x="1734" y="47"/>
                    <a:pt x="1734" y="47"/>
                    <a:pt x="1734" y="47"/>
                  </a:cubicBezTo>
                  <a:cubicBezTo>
                    <a:pt x="1734" y="47"/>
                    <a:pt x="1734" y="47"/>
                    <a:pt x="1734" y="48"/>
                  </a:cubicBezTo>
                  <a:cubicBezTo>
                    <a:pt x="1734" y="48"/>
                    <a:pt x="1734" y="48"/>
                    <a:pt x="1734" y="48"/>
                  </a:cubicBezTo>
                  <a:cubicBezTo>
                    <a:pt x="1734" y="48"/>
                    <a:pt x="1734" y="48"/>
                    <a:pt x="1734" y="48"/>
                  </a:cubicBezTo>
                  <a:cubicBezTo>
                    <a:pt x="1734" y="48"/>
                    <a:pt x="1734" y="48"/>
                    <a:pt x="1734" y="48"/>
                  </a:cubicBezTo>
                  <a:cubicBezTo>
                    <a:pt x="1733" y="48"/>
                    <a:pt x="1733" y="48"/>
                    <a:pt x="1733" y="48"/>
                  </a:cubicBezTo>
                  <a:cubicBezTo>
                    <a:pt x="1733" y="48"/>
                    <a:pt x="1733" y="48"/>
                    <a:pt x="1733" y="48"/>
                  </a:cubicBezTo>
                  <a:cubicBezTo>
                    <a:pt x="1733" y="48"/>
                    <a:pt x="1733" y="49"/>
                    <a:pt x="1733" y="49"/>
                  </a:cubicBezTo>
                  <a:cubicBezTo>
                    <a:pt x="1733" y="49"/>
                    <a:pt x="1733" y="49"/>
                    <a:pt x="1733" y="49"/>
                  </a:cubicBezTo>
                  <a:cubicBezTo>
                    <a:pt x="1733" y="49"/>
                    <a:pt x="1733" y="49"/>
                    <a:pt x="1732" y="49"/>
                  </a:cubicBezTo>
                  <a:cubicBezTo>
                    <a:pt x="1732" y="49"/>
                    <a:pt x="1732" y="49"/>
                    <a:pt x="1732" y="49"/>
                  </a:cubicBezTo>
                  <a:cubicBezTo>
                    <a:pt x="1732" y="49"/>
                    <a:pt x="1732" y="50"/>
                    <a:pt x="1732" y="50"/>
                  </a:cubicBezTo>
                  <a:cubicBezTo>
                    <a:pt x="1732" y="50"/>
                    <a:pt x="1732" y="50"/>
                    <a:pt x="1732" y="50"/>
                  </a:cubicBezTo>
                  <a:cubicBezTo>
                    <a:pt x="1732" y="50"/>
                    <a:pt x="1732" y="50"/>
                    <a:pt x="1732" y="50"/>
                  </a:cubicBezTo>
                  <a:cubicBezTo>
                    <a:pt x="1732" y="50"/>
                    <a:pt x="1732" y="50"/>
                    <a:pt x="1732" y="50"/>
                  </a:cubicBezTo>
                  <a:cubicBezTo>
                    <a:pt x="1732" y="50"/>
                    <a:pt x="1731" y="50"/>
                    <a:pt x="1731" y="50"/>
                  </a:cubicBezTo>
                  <a:cubicBezTo>
                    <a:pt x="1731" y="50"/>
                    <a:pt x="1731" y="50"/>
                    <a:pt x="1731" y="50"/>
                  </a:cubicBezTo>
                  <a:cubicBezTo>
                    <a:pt x="1730" y="52"/>
                    <a:pt x="1729" y="53"/>
                    <a:pt x="1728" y="54"/>
                  </a:cubicBezTo>
                  <a:cubicBezTo>
                    <a:pt x="1728" y="54"/>
                    <a:pt x="1728" y="54"/>
                    <a:pt x="1728" y="54"/>
                  </a:cubicBezTo>
                  <a:cubicBezTo>
                    <a:pt x="1727" y="54"/>
                    <a:pt x="1727" y="54"/>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6" y="55"/>
                    <a:pt x="1726" y="55"/>
                    <a:pt x="1726" y="56"/>
                  </a:cubicBezTo>
                  <a:cubicBezTo>
                    <a:pt x="1726" y="56"/>
                    <a:pt x="1726" y="56"/>
                    <a:pt x="1726" y="56"/>
                  </a:cubicBezTo>
                  <a:cubicBezTo>
                    <a:pt x="1726" y="56"/>
                    <a:pt x="1725" y="56"/>
                    <a:pt x="1725" y="56"/>
                  </a:cubicBezTo>
                  <a:cubicBezTo>
                    <a:pt x="1725" y="56"/>
                    <a:pt x="1725" y="56"/>
                    <a:pt x="1725" y="56"/>
                  </a:cubicBezTo>
                  <a:cubicBezTo>
                    <a:pt x="1725" y="56"/>
                    <a:pt x="1725" y="56"/>
                    <a:pt x="1725" y="57"/>
                  </a:cubicBezTo>
                  <a:cubicBezTo>
                    <a:pt x="1725" y="57"/>
                    <a:pt x="1725" y="57"/>
                    <a:pt x="1725" y="57"/>
                  </a:cubicBezTo>
                  <a:cubicBezTo>
                    <a:pt x="1725" y="57"/>
                    <a:pt x="1725" y="57"/>
                    <a:pt x="1724" y="57"/>
                  </a:cubicBezTo>
                  <a:cubicBezTo>
                    <a:pt x="1724" y="57"/>
                    <a:pt x="1724" y="57"/>
                    <a:pt x="1724" y="57"/>
                  </a:cubicBezTo>
                  <a:cubicBezTo>
                    <a:pt x="1724" y="57"/>
                    <a:pt x="1724" y="57"/>
                    <a:pt x="1724" y="57"/>
                  </a:cubicBezTo>
                  <a:cubicBezTo>
                    <a:pt x="1724" y="57"/>
                    <a:pt x="1724" y="57"/>
                    <a:pt x="1724" y="57"/>
                  </a:cubicBezTo>
                  <a:cubicBezTo>
                    <a:pt x="1724" y="58"/>
                    <a:pt x="1724" y="57"/>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9"/>
                    <a:pt x="1722" y="58"/>
                    <a:pt x="1722" y="59"/>
                  </a:cubicBezTo>
                  <a:cubicBezTo>
                    <a:pt x="1722" y="59"/>
                    <a:pt x="1722" y="59"/>
                    <a:pt x="1722" y="59"/>
                  </a:cubicBezTo>
                  <a:cubicBezTo>
                    <a:pt x="1722" y="59"/>
                    <a:pt x="1722" y="59"/>
                    <a:pt x="1722" y="59"/>
                  </a:cubicBezTo>
                  <a:cubicBezTo>
                    <a:pt x="1722" y="59"/>
                    <a:pt x="1722" y="59"/>
                    <a:pt x="1722" y="59"/>
                  </a:cubicBezTo>
                  <a:cubicBezTo>
                    <a:pt x="1722" y="59"/>
                    <a:pt x="1721" y="59"/>
                    <a:pt x="1721" y="59"/>
                  </a:cubicBezTo>
                  <a:cubicBezTo>
                    <a:pt x="1721" y="59"/>
                    <a:pt x="1721" y="59"/>
                    <a:pt x="1721" y="59"/>
                  </a:cubicBezTo>
                  <a:cubicBezTo>
                    <a:pt x="1721" y="60"/>
                    <a:pt x="1721" y="60"/>
                    <a:pt x="1721" y="60"/>
                  </a:cubicBezTo>
                  <a:cubicBezTo>
                    <a:pt x="1721" y="60"/>
                    <a:pt x="1721" y="60"/>
                    <a:pt x="1721" y="60"/>
                  </a:cubicBezTo>
                  <a:cubicBezTo>
                    <a:pt x="1720" y="60"/>
                    <a:pt x="1720" y="60"/>
                    <a:pt x="1720" y="60"/>
                  </a:cubicBezTo>
                  <a:cubicBezTo>
                    <a:pt x="1720" y="60"/>
                    <a:pt x="1720" y="60"/>
                    <a:pt x="1720" y="60"/>
                  </a:cubicBezTo>
                  <a:cubicBezTo>
                    <a:pt x="1720" y="60"/>
                    <a:pt x="1719" y="60"/>
                    <a:pt x="1719" y="61"/>
                  </a:cubicBezTo>
                  <a:cubicBezTo>
                    <a:pt x="1719" y="61"/>
                    <a:pt x="1719" y="61"/>
                    <a:pt x="1719" y="61"/>
                  </a:cubicBezTo>
                  <a:cubicBezTo>
                    <a:pt x="1719" y="61"/>
                    <a:pt x="1719" y="61"/>
                    <a:pt x="1719" y="61"/>
                  </a:cubicBezTo>
                  <a:cubicBezTo>
                    <a:pt x="1719" y="61"/>
                    <a:pt x="1719" y="61"/>
                    <a:pt x="1719" y="61"/>
                  </a:cubicBezTo>
                  <a:cubicBezTo>
                    <a:pt x="1719" y="61"/>
                    <a:pt x="1718" y="62"/>
                    <a:pt x="1718" y="62"/>
                  </a:cubicBezTo>
                  <a:cubicBezTo>
                    <a:pt x="1718" y="62"/>
                    <a:pt x="1718" y="62"/>
                    <a:pt x="1718" y="62"/>
                  </a:cubicBezTo>
                  <a:cubicBezTo>
                    <a:pt x="1718" y="62"/>
                    <a:pt x="1718" y="62"/>
                    <a:pt x="1717" y="62"/>
                  </a:cubicBezTo>
                  <a:cubicBezTo>
                    <a:pt x="1717" y="62"/>
                    <a:pt x="1717" y="62"/>
                    <a:pt x="1717" y="62"/>
                  </a:cubicBezTo>
                  <a:cubicBezTo>
                    <a:pt x="1717" y="62"/>
                    <a:pt x="1717" y="63"/>
                    <a:pt x="1716" y="63"/>
                  </a:cubicBezTo>
                  <a:cubicBezTo>
                    <a:pt x="1716" y="63"/>
                    <a:pt x="1716" y="63"/>
                    <a:pt x="1716" y="63"/>
                  </a:cubicBezTo>
                  <a:cubicBezTo>
                    <a:pt x="1716" y="63"/>
                    <a:pt x="1716" y="63"/>
                    <a:pt x="1716" y="63"/>
                  </a:cubicBezTo>
                  <a:cubicBezTo>
                    <a:pt x="1716" y="63"/>
                    <a:pt x="1716" y="63"/>
                    <a:pt x="1716" y="63"/>
                  </a:cubicBezTo>
                  <a:cubicBezTo>
                    <a:pt x="1716" y="64"/>
                    <a:pt x="1715" y="64"/>
                    <a:pt x="1715" y="64"/>
                  </a:cubicBezTo>
                  <a:cubicBezTo>
                    <a:pt x="1715" y="64"/>
                    <a:pt x="1715" y="64"/>
                    <a:pt x="1715" y="64"/>
                  </a:cubicBezTo>
                  <a:cubicBezTo>
                    <a:pt x="1715" y="64"/>
                    <a:pt x="1715" y="64"/>
                    <a:pt x="1715" y="64"/>
                  </a:cubicBezTo>
                  <a:cubicBezTo>
                    <a:pt x="1715" y="64"/>
                    <a:pt x="1715" y="64"/>
                    <a:pt x="1715" y="64"/>
                  </a:cubicBezTo>
                  <a:cubicBezTo>
                    <a:pt x="1715" y="64"/>
                    <a:pt x="1714" y="65"/>
                    <a:pt x="1714" y="65"/>
                  </a:cubicBezTo>
                  <a:cubicBezTo>
                    <a:pt x="1714" y="65"/>
                    <a:pt x="1714" y="65"/>
                    <a:pt x="1714" y="65"/>
                  </a:cubicBezTo>
                  <a:cubicBezTo>
                    <a:pt x="1714" y="65"/>
                    <a:pt x="1714" y="65"/>
                    <a:pt x="1714" y="65"/>
                  </a:cubicBezTo>
                  <a:cubicBezTo>
                    <a:pt x="1714" y="65"/>
                    <a:pt x="1714" y="65"/>
                    <a:pt x="1714" y="65"/>
                  </a:cubicBezTo>
                  <a:cubicBezTo>
                    <a:pt x="1714" y="65"/>
                    <a:pt x="1713" y="65"/>
                    <a:pt x="1713" y="65"/>
                  </a:cubicBezTo>
                  <a:cubicBezTo>
                    <a:pt x="1713" y="65"/>
                    <a:pt x="1713" y="65"/>
                    <a:pt x="1713" y="65"/>
                  </a:cubicBezTo>
                  <a:cubicBezTo>
                    <a:pt x="1713" y="65"/>
                    <a:pt x="1713" y="66"/>
                    <a:pt x="1713" y="66"/>
                  </a:cubicBezTo>
                  <a:cubicBezTo>
                    <a:pt x="1713" y="66"/>
                    <a:pt x="1713" y="66"/>
                    <a:pt x="1713" y="66"/>
                  </a:cubicBezTo>
                  <a:cubicBezTo>
                    <a:pt x="1713" y="66"/>
                    <a:pt x="1712" y="66"/>
                    <a:pt x="1712" y="66"/>
                  </a:cubicBezTo>
                  <a:cubicBezTo>
                    <a:pt x="1712" y="66"/>
                    <a:pt x="1712" y="66"/>
                    <a:pt x="1712" y="66"/>
                  </a:cubicBezTo>
                  <a:cubicBezTo>
                    <a:pt x="1712" y="66"/>
                    <a:pt x="1712" y="67"/>
                    <a:pt x="1712" y="67"/>
                  </a:cubicBezTo>
                  <a:cubicBezTo>
                    <a:pt x="1712" y="67"/>
                    <a:pt x="1712" y="67"/>
                    <a:pt x="1712" y="67"/>
                  </a:cubicBezTo>
                  <a:cubicBezTo>
                    <a:pt x="1711" y="67"/>
                    <a:pt x="1711" y="67"/>
                    <a:pt x="1711" y="67"/>
                  </a:cubicBezTo>
                  <a:cubicBezTo>
                    <a:pt x="1711" y="67"/>
                    <a:pt x="1711" y="67"/>
                    <a:pt x="1711" y="67"/>
                  </a:cubicBezTo>
                  <a:cubicBezTo>
                    <a:pt x="1711" y="67"/>
                    <a:pt x="1711" y="67"/>
                    <a:pt x="1711" y="67"/>
                  </a:cubicBezTo>
                  <a:cubicBezTo>
                    <a:pt x="1711" y="67"/>
                    <a:pt x="1711" y="67"/>
                    <a:pt x="1711" y="67"/>
                  </a:cubicBezTo>
                  <a:cubicBezTo>
                    <a:pt x="1711" y="68"/>
                    <a:pt x="1710" y="68"/>
                    <a:pt x="1710" y="68"/>
                  </a:cubicBezTo>
                  <a:cubicBezTo>
                    <a:pt x="1710" y="68"/>
                    <a:pt x="1710" y="68"/>
                    <a:pt x="1710" y="68"/>
                  </a:cubicBezTo>
                  <a:cubicBezTo>
                    <a:pt x="1710" y="68"/>
                    <a:pt x="1710" y="68"/>
                    <a:pt x="1710" y="68"/>
                  </a:cubicBezTo>
                  <a:cubicBezTo>
                    <a:pt x="1710" y="68"/>
                    <a:pt x="1710" y="68"/>
                    <a:pt x="1710" y="68"/>
                  </a:cubicBezTo>
                  <a:cubicBezTo>
                    <a:pt x="1710" y="68"/>
                    <a:pt x="1710" y="68"/>
                    <a:pt x="1709" y="68"/>
                  </a:cubicBezTo>
                  <a:cubicBezTo>
                    <a:pt x="1710" y="68"/>
                    <a:pt x="1710" y="68"/>
                    <a:pt x="1710" y="68"/>
                  </a:cubicBezTo>
                  <a:cubicBezTo>
                    <a:pt x="1709" y="69"/>
                    <a:pt x="1709" y="69"/>
                    <a:pt x="1709" y="69"/>
                  </a:cubicBezTo>
                  <a:cubicBezTo>
                    <a:pt x="1709" y="69"/>
                    <a:pt x="1709" y="69"/>
                    <a:pt x="1709" y="69"/>
                  </a:cubicBezTo>
                  <a:cubicBezTo>
                    <a:pt x="1709" y="69"/>
                    <a:pt x="1709" y="69"/>
                    <a:pt x="1709" y="69"/>
                  </a:cubicBezTo>
                  <a:cubicBezTo>
                    <a:pt x="1709" y="69"/>
                    <a:pt x="1709" y="69"/>
                    <a:pt x="1709" y="69"/>
                  </a:cubicBezTo>
                  <a:cubicBezTo>
                    <a:pt x="1708" y="69"/>
                    <a:pt x="1708" y="70"/>
                    <a:pt x="1708" y="70"/>
                  </a:cubicBezTo>
                  <a:cubicBezTo>
                    <a:pt x="1708" y="70"/>
                    <a:pt x="1708" y="70"/>
                    <a:pt x="1708" y="70"/>
                  </a:cubicBezTo>
                  <a:cubicBezTo>
                    <a:pt x="1708" y="70"/>
                    <a:pt x="1707" y="70"/>
                    <a:pt x="1707" y="70"/>
                  </a:cubicBezTo>
                  <a:cubicBezTo>
                    <a:pt x="1707" y="70"/>
                    <a:pt x="1707" y="70"/>
                    <a:pt x="1707" y="70"/>
                  </a:cubicBezTo>
                  <a:cubicBezTo>
                    <a:pt x="1707" y="70"/>
                    <a:pt x="1707" y="70"/>
                    <a:pt x="1707" y="71"/>
                  </a:cubicBezTo>
                  <a:cubicBezTo>
                    <a:pt x="1707" y="71"/>
                    <a:pt x="1707" y="71"/>
                    <a:pt x="1707" y="71"/>
                  </a:cubicBezTo>
                  <a:cubicBezTo>
                    <a:pt x="1707" y="71"/>
                    <a:pt x="1707" y="71"/>
                    <a:pt x="1707" y="71"/>
                  </a:cubicBezTo>
                  <a:cubicBezTo>
                    <a:pt x="1707" y="71"/>
                    <a:pt x="1707" y="71"/>
                    <a:pt x="1707" y="71"/>
                  </a:cubicBezTo>
                  <a:cubicBezTo>
                    <a:pt x="1707" y="71"/>
                    <a:pt x="1706" y="71"/>
                    <a:pt x="1706" y="71"/>
                  </a:cubicBezTo>
                  <a:cubicBezTo>
                    <a:pt x="1706" y="71"/>
                    <a:pt x="1706" y="71"/>
                    <a:pt x="1706" y="71"/>
                  </a:cubicBezTo>
                  <a:cubicBezTo>
                    <a:pt x="1706" y="71"/>
                    <a:pt x="1706" y="71"/>
                    <a:pt x="1706" y="72"/>
                  </a:cubicBezTo>
                  <a:cubicBezTo>
                    <a:pt x="1706" y="72"/>
                    <a:pt x="1706" y="72"/>
                    <a:pt x="1706" y="72"/>
                  </a:cubicBezTo>
                  <a:cubicBezTo>
                    <a:pt x="1706" y="72"/>
                    <a:pt x="1706" y="72"/>
                    <a:pt x="1706" y="72"/>
                  </a:cubicBezTo>
                  <a:cubicBezTo>
                    <a:pt x="1706" y="72"/>
                    <a:pt x="1706" y="72"/>
                    <a:pt x="1706" y="72"/>
                  </a:cubicBezTo>
                  <a:cubicBezTo>
                    <a:pt x="1706" y="72"/>
                    <a:pt x="1705" y="72"/>
                    <a:pt x="1705" y="72"/>
                  </a:cubicBezTo>
                  <a:cubicBezTo>
                    <a:pt x="1705" y="72"/>
                    <a:pt x="1705" y="72"/>
                    <a:pt x="1705" y="72"/>
                  </a:cubicBezTo>
                  <a:cubicBezTo>
                    <a:pt x="1705" y="72"/>
                    <a:pt x="1705" y="73"/>
                    <a:pt x="1705" y="73"/>
                  </a:cubicBezTo>
                  <a:cubicBezTo>
                    <a:pt x="1705" y="73"/>
                    <a:pt x="1705" y="73"/>
                    <a:pt x="1705" y="73"/>
                  </a:cubicBezTo>
                  <a:cubicBezTo>
                    <a:pt x="1705" y="73"/>
                    <a:pt x="1705" y="73"/>
                    <a:pt x="1705" y="73"/>
                  </a:cubicBezTo>
                  <a:cubicBezTo>
                    <a:pt x="1705" y="73"/>
                    <a:pt x="1705" y="73"/>
                    <a:pt x="1705" y="73"/>
                  </a:cubicBezTo>
                  <a:cubicBezTo>
                    <a:pt x="1704" y="73"/>
                    <a:pt x="1704" y="73"/>
                    <a:pt x="1704" y="73"/>
                  </a:cubicBezTo>
                  <a:cubicBezTo>
                    <a:pt x="1704" y="73"/>
                    <a:pt x="1704" y="73"/>
                    <a:pt x="1704" y="73"/>
                  </a:cubicBezTo>
                  <a:cubicBezTo>
                    <a:pt x="1704" y="73"/>
                    <a:pt x="1704" y="74"/>
                    <a:pt x="1704" y="74"/>
                  </a:cubicBezTo>
                  <a:cubicBezTo>
                    <a:pt x="1704" y="74"/>
                    <a:pt x="1704" y="74"/>
                    <a:pt x="1704" y="74"/>
                  </a:cubicBezTo>
                  <a:cubicBezTo>
                    <a:pt x="1704" y="74"/>
                    <a:pt x="1704" y="74"/>
                    <a:pt x="1704" y="74"/>
                  </a:cubicBezTo>
                  <a:cubicBezTo>
                    <a:pt x="1704" y="74"/>
                    <a:pt x="1704" y="74"/>
                    <a:pt x="1704" y="74"/>
                  </a:cubicBezTo>
                  <a:cubicBezTo>
                    <a:pt x="1703" y="74"/>
                    <a:pt x="1703" y="74"/>
                    <a:pt x="1703" y="74"/>
                  </a:cubicBezTo>
                  <a:cubicBezTo>
                    <a:pt x="1703" y="74"/>
                    <a:pt x="1703" y="74"/>
                    <a:pt x="1703" y="74"/>
                  </a:cubicBezTo>
                  <a:cubicBezTo>
                    <a:pt x="1703" y="74"/>
                    <a:pt x="1703" y="75"/>
                    <a:pt x="1703" y="75"/>
                  </a:cubicBezTo>
                  <a:cubicBezTo>
                    <a:pt x="1703" y="75"/>
                    <a:pt x="1703" y="75"/>
                    <a:pt x="1703" y="75"/>
                  </a:cubicBezTo>
                  <a:cubicBezTo>
                    <a:pt x="1703" y="75"/>
                    <a:pt x="1703" y="75"/>
                    <a:pt x="1703" y="75"/>
                  </a:cubicBezTo>
                  <a:cubicBezTo>
                    <a:pt x="1703" y="75"/>
                    <a:pt x="1703" y="75"/>
                    <a:pt x="1703" y="75"/>
                  </a:cubicBezTo>
                  <a:cubicBezTo>
                    <a:pt x="1702" y="75"/>
                    <a:pt x="1702" y="76"/>
                    <a:pt x="1702" y="76"/>
                  </a:cubicBezTo>
                  <a:cubicBezTo>
                    <a:pt x="1702" y="76"/>
                    <a:pt x="1702" y="76"/>
                    <a:pt x="1702" y="76"/>
                  </a:cubicBezTo>
                  <a:cubicBezTo>
                    <a:pt x="1702" y="76"/>
                    <a:pt x="1702" y="76"/>
                    <a:pt x="1701" y="77"/>
                  </a:cubicBezTo>
                  <a:cubicBezTo>
                    <a:pt x="1701" y="76"/>
                    <a:pt x="1701" y="76"/>
                    <a:pt x="1701" y="76"/>
                  </a:cubicBezTo>
                  <a:cubicBezTo>
                    <a:pt x="1701" y="77"/>
                    <a:pt x="1701" y="77"/>
                    <a:pt x="1701" y="77"/>
                  </a:cubicBezTo>
                  <a:cubicBezTo>
                    <a:pt x="1701" y="77"/>
                    <a:pt x="1701" y="77"/>
                    <a:pt x="1701" y="77"/>
                  </a:cubicBezTo>
                  <a:cubicBezTo>
                    <a:pt x="1701" y="77"/>
                    <a:pt x="1701" y="77"/>
                    <a:pt x="1701" y="77"/>
                  </a:cubicBezTo>
                  <a:cubicBezTo>
                    <a:pt x="1701" y="77"/>
                    <a:pt x="1701" y="77"/>
                    <a:pt x="1701" y="77"/>
                  </a:cubicBezTo>
                  <a:cubicBezTo>
                    <a:pt x="1701" y="78"/>
                    <a:pt x="1700" y="78"/>
                    <a:pt x="1700" y="78"/>
                  </a:cubicBezTo>
                  <a:cubicBezTo>
                    <a:pt x="1700" y="78"/>
                    <a:pt x="1700" y="78"/>
                    <a:pt x="1700" y="78"/>
                  </a:cubicBezTo>
                  <a:cubicBezTo>
                    <a:pt x="1700" y="78"/>
                    <a:pt x="1700" y="78"/>
                    <a:pt x="1700" y="79"/>
                  </a:cubicBezTo>
                  <a:cubicBezTo>
                    <a:pt x="1700" y="79"/>
                    <a:pt x="1700" y="79"/>
                    <a:pt x="1700" y="79"/>
                  </a:cubicBezTo>
                  <a:cubicBezTo>
                    <a:pt x="1700" y="79"/>
                    <a:pt x="1700" y="79"/>
                    <a:pt x="1700" y="79"/>
                  </a:cubicBezTo>
                  <a:cubicBezTo>
                    <a:pt x="1700" y="79"/>
                    <a:pt x="1700" y="79"/>
                    <a:pt x="1700" y="79"/>
                  </a:cubicBezTo>
                  <a:cubicBezTo>
                    <a:pt x="1699" y="79"/>
                    <a:pt x="1700" y="79"/>
                    <a:pt x="1699" y="80"/>
                  </a:cubicBezTo>
                  <a:cubicBezTo>
                    <a:pt x="1699" y="80"/>
                    <a:pt x="1699" y="80"/>
                    <a:pt x="1699" y="80"/>
                  </a:cubicBezTo>
                  <a:cubicBezTo>
                    <a:pt x="1699" y="80"/>
                    <a:pt x="1699" y="80"/>
                    <a:pt x="1699" y="80"/>
                  </a:cubicBezTo>
                  <a:cubicBezTo>
                    <a:pt x="1699" y="80"/>
                    <a:pt x="1699" y="80"/>
                    <a:pt x="1699" y="80"/>
                  </a:cubicBezTo>
                  <a:cubicBezTo>
                    <a:pt x="1699" y="80"/>
                    <a:pt x="1699" y="80"/>
                    <a:pt x="1699" y="80"/>
                  </a:cubicBezTo>
                  <a:cubicBezTo>
                    <a:pt x="1699" y="80"/>
                    <a:pt x="1699" y="81"/>
                    <a:pt x="1699" y="81"/>
                  </a:cubicBezTo>
                  <a:cubicBezTo>
                    <a:pt x="1699" y="81"/>
                    <a:pt x="1699" y="81"/>
                    <a:pt x="1699" y="81"/>
                  </a:cubicBezTo>
                  <a:cubicBezTo>
                    <a:pt x="1698" y="81"/>
                    <a:pt x="1699" y="81"/>
                    <a:pt x="1698" y="81"/>
                  </a:cubicBezTo>
                  <a:cubicBezTo>
                    <a:pt x="1698" y="81"/>
                    <a:pt x="1698" y="81"/>
                    <a:pt x="1698" y="81"/>
                  </a:cubicBezTo>
                  <a:cubicBezTo>
                    <a:pt x="1698" y="82"/>
                    <a:pt x="1698" y="82"/>
                    <a:pt x="1698" y="82"/>
                  </a:cubicBezTo>
                  <a:cubicBezTo>
                    <a:pt x="1698" y="82"/>
                    <a:pt x="1698" y="82"/>
                    <a:pt x="1698" y="82"/>
                  </a:cubicBezTo>
                  <a:cubicBezTo>
                    <a:pt x="1698" y="82"/>
                    <a:pt x="1698" y="83"/>
                    <a:pt x="1698" y="83"/>
                  </a:cubicBezTo>
                  <a:cubicBezTo>
                    <a:pt x="1698" y="83"/>
                    <a:pt x="1698" y="83"/>
                    <a:pt x="1698" y="83"/>
                  </a:cubicBezTo>
                  <a:cubicBezTo>
                    <a:pt x="1697" y="83"/>
                    <a:pt x="1697" y="84"/>
                    <a:pt x="1697" y="84"/>
                  </a:cubicBezTo>
                  <a:cubicBezTo>
                    <a:pt x="1697" y="84"/>
                    <a:pt x="1697" y="84"/>
                    <a:pt x="1697" y="84"/>
                  </a:cubicBezTo>
                  <a:cubicBezTo>
                    <a:pt x="1697" y="84"/>
                    <a:pt x="1697" y="84"/>
                    <a:pt x="1697" y="85"/>
                  </a:cubicBezTo>
                  <a:cubicBezTo>
                    <a:pt x="1697" y="85"/>
                    <a:pt x="1697" y="85"/>
                    <a:pt x="1697" y="85"/>
                  </a:cubicBezTo>
                  <a:cubicBezTo>
                    <a:pt x="1697" y="85"/>
                    <a:pt x="1697" y="85"/>
                    <a:pt x="1697" y="86"/>
                  </a:cubicBezTo>
                  <a:cubicBezTo>
                    <a:pt x="1697" y="86"/>
                    <a:pt x="1697" y="86"/>
                    <a:pt x="1697" y="86"/>
                  </a:cubicBezTo>
                  <a:cubicBezTo>
                    <a:pt x="1696" y="86"/>
                    <a:pt x="1697" y="87"/>
                    <a:pt x="1696" y="87"/>
                  </a:cubicBezTo>
                  <a:cubicBezTo>
                    <a:pt x="1696" y="87"/>
                    <a:pt x="1696" y="87"/>
                    <a:pt x="1696" y="87"/>
                  </a:cubicBezTo>
                  <a:cubicBezTo>
                    <a:pt x="1696" y="88"/>
                    <a:pt x="1696" y="88"/>
                    <a:pt x="1696" y="88"/>
                  </a:cubicBezTo>
                  <a:cubicBezTo>
                    <a:pt x="1696" y="88"/>
                    <a:pt x="1696" y="89"/>
                    <a:pt x="1696" y="89"/>
                  </a:cubicBezTo>
                  <a:cubicBezTo>
                    <a:pt x="1695" y="89"/>
                    <a:pt x="1696" y="90"/>
                    <a:pt x="1696" y="90"/>
                  </a:cubicBezTo>
                  <a:cubicBezTo>
                    <a:pt x="1696" y="91"/>
                    <a:pt x="1696" y="91"/>
                    <a:pt x="1696" y="91"/>
                  </a:cubicBezTo>
                  <a:cubicBezTo>
                    <a:pt x="1695" y="92"/>
                    <a:pt x="1696" y="93"/>
                    <a:pt x="1695" y="94"/>
                  </a:cubicBezTo>
                  <a:cubicBezTo>
                    <a:pt x="1695" y="96"/>
                    <a:pt x="1695" y="99"/>
                    <a:pt x="1695" y="101"/>
                  </a:cubicBezTo>
                  <a:cubicBezTo>
                    <a:pt x="1696" y="102"/>
                    <a:pt x="1696" y="102"/>
                    <a:pt x="1697" y="102"/>
                  </a:cubicBezTo>
                  <a:cubicBezTo>
                    <a:pt x="1715" y="102"/>
                    <a:pt x="1733" y="102"/>
                    <a:pt x="1752" y="102"/>
                  </a:cubicBezTo>
                  <a:cubicBezTo>
                    <a:pt x="1752" y="102"/>
                    <a:pt x="1753" y="102"/>
                    <a:pt x="1753" y="101"/>
                  </a:cubicBezTo>
                  <a:cubicBezTo>
                    <a:pt x="1753" y="101"/>
                    <a:pt x="1753" y="101"/>
                    <a:pt x="1753" y="101"/>
                  </a:cubicBezTo>
                  <a:cubicBezTo>
                    <a:pt x="1754" y="98"/>
                    <a:pt x="1754" y="95"/>
                    <a:pt x="1753" y="92"/>
                  </a:cubicBezTo>
                  <a:cubicBezTo>
                    <a:pt x="1753" y="92"/>
                    <a:pt x="1753" y="92"/>
                    <a:pt x="1753" y="92"/>
                  </a:cubicBezTo>
                  <a:cubicBezTo>
                    <a:pt x="1753" y="91"/>
                    <a:pt x="1752" y="92"/>
                    <a:pt x="1751" y="92"/>
                  </a:cubicBezTo>
                  <a:cubicBezTo>
                    <a:pt x="1737" y="92"/>
                    <a:pt x="1723" y="92"/>
                    <a:pt x="1709" y="92"/>
                  </a:cubicBezTo>
                  <a:cubicBezTo>
                    <a:pt x="1708" y="92"/>
                    <a:pt x="1707" y="92"/>
                    <a:pt x="1707" y="91"/>
                  </a:cubicBezTo>
                  <a:cubicBezTo>
                    <a:pt x="1706" y="91"/>
                    <a:pt x="1707" y="90"/>
                    <a:pt x="1707" y="90"/>
                  </a:cubicBezTo>
                  <a:cubicBezTo>
                    <a:pt x="1707" y="89"/>
                    <a:pt x="1707" y="88"/>
                    <a:pt x="1707" y="88"/>
                  </a:cubicBezTo>
                  <a:cubicBezTo>
                    <a:pt x="1707" y="87"/>
                    <a:pt x="1707" y="87"/>
                    <a:pt x="1707" y="87"/>
                  </a:cubicBezTo>
                  <a:cubicBezTo>
                    <a:pt x="1707" y="87"/>
                    <a:pt x="1707" y="86"/>
                    <a:pt x="1707" y="86"/>
                  </a:cubicBezTo>
                  <a:cubicBezTo>
                    <a:pt x="1707" y="86"/>
                    <a:pt x="1707" y="86"/>
                    <a:pt x="1707" y="86"/>
                  </a:cubicBezTo>
                  <a:cubicBezTo>
                    <a:pt x="1708" y="86"/>
                    <a:pt x="1708" y="85"/>
                    <a:pt x="1708" y="85"/>
                  </a:cubicBezTo>
                  <a:cubicBezTo>
                    <a:pt x="1708" y="85"/>
                    <a:pt x="1708" y="85"/>
                    <a:pt x="1708" y="85"/>
                  </a:cubicBezTo>
                  <a:cubicBezTo>
                    <a:pt x="1708" y="85"/>
                    <a:pt x="1708" y="85"/>
                    <a:pt x="1708" y="85"/>
                  </a:cubicBezTo>
                  <a:cubicBezTo>
                    <a:pt x="1708" y="85"/>
                    <a:pt x="1708" y="84"/>
                    <a:pt x="1708" y="84"/>
                  </a:cubicBezTo>
                  <a:cubicBezTo>
                    <a:pt x="1708" y="84"/>
                    <a:pt x="1708" y="84"/>
                    <a:pt x="1708" y="84"/>
                  </a:cubicBezTo>
                  <a:cubicBezTo>
                    <a:pt x="1708" y="84"/>
                    <a:pt x="1708" y="84"/>
                    <a:pt x="1708" y="83"/>
                  </a:cubicBezTo>
                  <a:cubicBezTo>
                    <a:pt x="1708" y="83"/>
                    <a:pt x="1708" y="83"/>
                    <a:pt x="1708" y="83"/>
                  </a:cubicBezTo>
                  <a:cubicBezTo>
                    <a:pt x="1709" y="83"/>
                    <a:pt x="1709" y="83"/>
                    <a:pt x="1709" y="83"/>
                  </a:cubicBezTo>
                  <a:cubicBezTo>
                    <a:pt x="1709" y="83"/>
                    <a:pt x="1709" y="83"/>
                    <a:pt x="1709" y="83"/>
                  </a:cubicBezTo>
                  <a:cubicBezTo>
                    <a:pt x="1709" y="83"/>
                    <a:pt x="1709" y="82"/>
                    <a:pt x="1709" y="82"/>
                  </a:cubicBezTo>
                  <a:cubicBezTo>
                    <a:pt x="1709" y="82"/>
                    <a:pt x="1709" y="82"/>
                    <a:pt x="1709" y="82"/>
                  </a:cubicBezTo>
                  <a:cubicBezTo>
                    <a:pt x="1709" y="82"/>
                    <a:pt x="1709" y="82"/>
                    <a:pt x="1709" y="82"/>
                  </a:cubicBezTo>
                  <a:cubicBezTo>
                    <a:pt x="1709" y="82"/>
                    <a:pt x="1709" y="82"/>
                    <a:pt x="1709" y="82"/>
                  </a:cubicBezTo>
                  <a:cubicBezTo>
                    <a:pt x="1710" y="82"/>
                    <a:pt x="1710" y="81"/>
                    <a:pt x="1710" y="81"/>
                  </a:cubicBezTo>
                  <a:cubicBezTo>
                    <a:pt x="1710" y="81"/>
                    <a:pt x="1710" y="81"/>
                    <a:pt x="1710" y="81"/>
                  </a:cubicBezTo>
                  <a:cubicBezTo>
                    <a:pt x="1710" y="81"/>
                    <a:pt x="1710" y="81"/>
                    <a:pt x="1710" y="81"/>
                  </a:cubicBezTo>
                  <a:cubicBezTo>
                    <a:pt x="1710" y="81"/>
                    <a:pt x="1710" y="81"/>
                    <a:pt x="1710" y="81"/>
                  </a:cubicBezTo>
                  <a:cubicBezTo>
                    <a:pt x="1710" y="81"/>
                    <a:pt x="1710" y="80"/>
                    <a:pt x="1710" y="80"/>
                  </a:cubicBezTo>
                  <a:cubicBezTo>
                    <a:pt x="1710" y="80"/>
                    <a:pt x="1710" y="80"/>
                    <a:pt x="1710" y="80"/>
                  </a:cubicBezTo>
                  <a:cubicBezTo>
                    <a:pt x="1711" y="80"/>
                    <a:pt x="1711" y="80"/>
                    <a:pt x="1711" y="79"/>
                  </a:cubicBezTo>
                  <a:cubicBezTo>
                    <a:pt x="1711" y="79"/>
                    <a:pt x="1711" y="79"/>
                    <a:pt x="1711" y="79"/>
                  </a:cubicBezTo>
                  <a:cubicBezTo>
                    <a:pt x="1711" y="79"/>
                    <a:pt x="1711" y="79"/>
                    <a:pt x="1712" y="79"/>
                  </a:cubicBezTo>
                  <a:cubicBezTo>
                    <a:pt x="1712" y="79"/>
                    <a:pt x="1712" y="79"/>
                    <a:pt x="1712" y="79"/>
                  </a:cubicBezTo>
                  <a:cubicBezTo>
                    <a:pt x="1712" y="79"/>
                    <a:pt x="1712" y="79"/>
                    <a:pt x="1712" y="79"/>
                  </a:cubicBezTo>
                  <a:cubicBezTo>
                    <a:pt x="1712" y="79"/>
                    <a:pt x="1712" y="79"/>
                    <a:pt x="1712" y="79"/>
                  </a:cubicBezTo>
                  <a:cubicBezTo>
                    <a:pt x="1712" y="78"/>
                    <a:pt x="1712" y="78"/>
                    <a:pt x="1712" y="78"/>
                  </a:cubicBezTo>
                  <a:cubicBezTo>
                    <a:pt x="1712" y="78"/>
                    <a:pt x="1712" y="78"/>
                    <a:pt x="1712" y="78"/>
                  </a:cubicBezTo>
                  <a:cubicBezTo>
                    <a:pt x="1712" y="78"/>
                    <a:pt x="1712" y="78"/>
                    <a:pt x="1713" y="78"/>
                  </a:cubicBezTo>
                  <a:cubicBezTo>
                    <a:pt x="1713" y="78"/>
                    <a:pt x="1713" y="78"/>
                    <a:pt x="1713" y="78"/>
                  </a:cubicBezTo>
                  <a:cubicBezTo>
                    <a:pt x="1713" y="78"/>
                    <a:pt x="1713" y="78"/>
                    <a:pt x="1713" y="77"/>
                  </a:cubicBezTo>
                  <a:cubicBezTo>
                    <a:pt x="1713" y="77"/>
                    <a:pt x="1713" y="77"/>
                    <a:pt x="1713" y="77"/>
                  </a:cubicBezTo>
                  <a:cubicBezTo>
                    <a:pt x="1713" y="77"/>
                    <a:pt x="1713" y="77"/>
                    <a:pt x="1713" y="77"/>
                  </a:cubicBezTo>
                  <a:cubicBezTo>
                    <a:pt x="1713" y="77"/>
                    <a:pt x="1713" y="77"/>
                    <a:pt x="1713" y="77"/>
                  </a:cubicBezTo>
                  <a:cubicBezTo>
                    <a:pt x="1713" y="77"/>
                    <a:pt x="1714" y="77"/>
                    <a:pt x="1714" y="77"/>
                  </a:cubicBezTo>
                  <a:cubicBezTo>
                    <a:pt x="1714" y="77"/>
                    <a:pt x="1714" y="77"/>
                    <a:pt x="1714" y="77"/>
                  </a:cubicBezTo>
                  <a:cubicBezTo>
                    <a:pt x="1714" y="77"/>
                    <a:pt x="1714" y="77"/>
                    <a:pt x="1714" y="76"/>
                  </a:cubicBezTo>
                  <a:cubicBezTo>
                    <a:pt x="1714" y="76"/>
                    <a:pt x="1714" y="76"/>
                    <a:pt x="1714" y="76"/>
                  </a:cubicBezTo>
                  <a:cubicBezTo>
                    <a:pt x="1714" y="76"/>
                    <a:pt x="1714" y="76"/>
                    <a:pt x="1714" y="76"/>
                  </a:cubicBezTo>
                  <a:cubicBezTo>
                    <a:pt x="1714" y="76"/>
                    <a:pt x="1714" y="76"/>
                    <a:pt x="1714" y="76"/>
                  </a:cubicBezTo>
                  <a:cubicBezTo>
                    <a:pt x="1715" y="76"/>
                    <a:pt x="1715" y="75"/>
                    <a:pt x="1716" y="75"/>
                  </a:cubicBezTo>
                  <a:cubicBezTo>
                    <a:pt x="1716" y="75"/>
                    <a:pt x="1716" y="75"/>
                    <a:pt x="1716" y="75"/>
                  </a:cubicBezTo>
                  <a:cubicBezTo>
                    <a:pt x="1716" y="75"/>
                    <a:pt x="1716" y="75"/>
                    <a:pt x="1716" y="75"/>
                  </a:cubicBezTo>
                  <a:cubicBezTo>
                    <a:pt x="1716" y="75"/>
                    <a:pt x="1716" y="75"/>
                    <a:pt x="1716" y="75"/>
                  </a:cubicBezTo>
                  <a:cubicBezTo>
                    <a:pt x="1716" y="75"/>
                    <a:pt x="1716" y="74"/>
                    <a:pt x="1716" y="74"/>
                  </a:cubicBezTo>
                  <a:cubicBezTo>
                    <a:pt x="1716" y="74"/>
                    <a:pt x="1716" y="74"/>
                    <a:pt x="1716" y="74"/>
                  </a:cubicBezTo>
                  <a:cubicBezTo>
                    <a:pt x="1717" y="74"/>
                    <a:pt x="1717" y="74"/>
                    <a:pt x="1717" y="74"/>
                  </a:cubicBezTo>
                  <a:cubicBezTo>
                    <a:pt x="1717" y="74"/>
                    <a:pt x="1717" y="74"/>
                    <a:pt x="1717" y="74"/>
                  </a:cubicBezTo>
                  <a:cubicBezTo>
                    <a:pt x="1717" y="74"/>
                    <a:pt x="1717" y="74"/>
                    <a:pt x="1717" y="74"/>
                  </a:cubicBezTo>
                  <a:cubicBezTo>
                    <a:pt x="1717" y="74"/>
                    <a:pt x="1717" y="74"/>
                    <a:pt x="1717" y="74"/>
                  </a:cubicBezTo>
                  <a:cubicBezTo>
                    <a:pt x="1718" y="74"/>
                    <a:pt x="1718" y="73"/>
                    <a:pt x="1718" y="73"/>
                  </a:cubicBezTo>
                  <a:cubicBezTo>
                    <a:pt x="1718" y="73"/>
                    <a:pt x="1718" y="73"/>
                    <a:pt x="1718" y="73"/>
                  </a:cubicBezTo>
                  <a:cubicBezTo>
                    <a:pt x="1718" y="73"/>
                    <a:pt x="1718" y="73"/>
                    <a:pt x="1718" y="73"/>
                  </a:cubicBezTo>
                  <a:cubicBezTo>
                    <a:pt x="1718" y="73"/>
                    <a:pt x="1718" y="73"/>
                    <a:pt x="1718" y="73"/>
                  </a:cubicBezTo>
                  <a:cubicBezTo>
                    <a:pt x="1718" y="73"/>
                    <a:pt x="1719" y="73"/>
                    <a:pt x="1719" y="72"/>
                  </a:cubicBezTo>
                  <a:cubicBezTo>
                    <a:pt x="1719" y="72"/>
                    <a:pt x="1719" y="72"/>
                    <a:pt x="1719" y="72"/>
                  </a:cubicBezTo>
                  <a:cubicBezTo>
                    <a:pt x="1719" y="72"/>
                    <a:pt x="1719" y="72"/>
                    <a:pt x="1720" y="72"/>
                  </a:cubicBezTo>
                  <a:cubicBezTo>
                    <a:pt x="1720" y="72"/>
                    <a:pt x="1720" y="72"/>
                    <a:pt x="1720" y="72"/>
                  </a:cubicBezTo>
                  <a:cubicBezTo>
                    <a:pt x="1720" y="72"/>
                    <a:pt x="1720" y="72"/>
                    <a:pt x="1720" y="72"/>
                  </a:cubicBezTo>
                  <a:cubicBezTo>
                    <a:pt x="1720" y="72"/>
                    <a:pt x="1720" y="72"/>
                    <a:pt x="1720" y="72"/>
                  </a:cubicBezTo>
                  <a:cubicBezTo>
                    <a:pt x="1720" y="71"/>
                    <a:pt x="1720" y="71"/>
                    <a:pt x="1721" y="71"/>
                  </a:cubicBezTo>
                  <a:cubicBezTo>
                    <a:pt x="1720" y="71"/>
                    <a:pt x="1720" y="71"/>
                    <a:pt x="1720" y="71"/>
                  </a:cubicBezTo>
                  <a:cubicBezTo>
                    <a:pt x="1721" y="71"/>
                    <a:pt x="1721" y="71"/>
                    <a:pt x="1721" y="71"/>
                  </a:cubicBezTo>
                  <a:cubicBezTo>
                    <a:pt x="1721" y="71"/>
                    <a:pt x="1721" y="71"/>
                    <a:pt x="1721" y="71"/>
                  </a:cubicBezTo>
                  <a:cubicBezTo>
                    <a:pt x="1721" y="71"/>
                    <a:pt x="1721" y="71"/>
                    <a:pt x="1721" y="71"/>
                  </a:cubicBezTo>
                  <a:cubicBezTo>
                    <a:pt x="1721" y="71"/>
                    <a:pt x="1721" y="71"/>
                    <a:pt x="1721" y="71"/>
                  </a:cubicBezTo>
                  <a:cubicBezTo>
                    <a:pt x="1721" y="70"/>
                    <a:pt x="1722" y="70"/>
                    <a:pt x="1722" y="70"/>
                  </a:cubicBezTo>
                  <a:cubicBezTo>
                    <a:pt x="1722" y="70"/>
                    <a:pt x="1722" y="70"/>
                    <a:pt x="1722" y="70"/>
                  </a:cubicBezTo>
                  <a:cubicBezTo>
                    <a:pt x="1722" y="70"/>
                    <a:pt x="1722" y="70"/>
                    <a:pt x="1722" y="70"/>
                  </a:cubicBezTo>
                  <a:cubicBezTo>
                    <a:pt x="1722" y="70"/>
                    <a:pt x="1722" y="70"/>
                    <a:pt x="1722" y="70"/>
                  </a:cubicBezTo>
                  <a:cubicBezTo>
                    <a:pt x="1722" y="70"/>
                    <a:pt x="1723" y="70"/>
                    <a:pt x="1723" y="70"/>
                  </a:cubicBezTo>
                  <a:cubicBezTo>
                    <a:pt x="1723" y="70"/>
                    <a:pt x="1723" y="70"/>
                    <a:pt x="1723" y="70"/>
                  </a:cubicBezTo>
                  <a:cubicBezTo>
                    <a:pt x="1723" y="69"/>
                    <a:pt x="1723" y="69"/>
                    <a:pt x="1723" y="69"/>
                  </a:cubicBezTo>
                  <a:cubicBezTo>
                    <a:pt x="1723" y="69"/>
                    <a:pt x="1723" y="69"/>
                    <a:pt x="1723" y="69"/>
                  </a:cubicBezTo>
                  <a:cubicBezTo>
                    <a:pt x="1723" y="69"/>
                    <a:pt x="1724" y="69"/>
                    <a:pt x="1724" y="69"/>
                  </a:cubicBezTo>
                  <a:cubicBezTo>
                    <a:pt x="1724" y="69"/>
                    <a:pt x="1724" y="69"/>
                    <a:pt x="1724" y="69"/>
                  </a:cubicBezTo>
                  <a:cubicBezTo>
                    <a:pt x="1724" y="69"/>
                    <a:pt x="1724" y="69"/>
                    <a:pt x="1724" y="68"/>
                  </a:cubicBezTo>
                  <a:cubicBezTo>
                    <a:pt x="1724" y="68"/>
                    <a:pt x="1724" y="68"/>
                    <a:pt x="1724" y="68"/>
                  </a:cubicBezTo>
                  <a:cubicBezTo>
                    <a:pt x="1724" y="68"/>
                    <a:pt x="1725" y="68"/>
                    <a:pt x="1725" y="68"/>
                  </a:cubicBezTo>
                  <a:cubicBezTo>
                    <a:pt x="1725" y="68"/>
                    <a:pt x="1725" y="68"/>
                    <a:pt x="1725" y="68"/>
                  </a:cubicBezTo>
                  <a:cubicBezTo>
                    <a:pt x="1725" y="68"/>
                    <a:pt x="1725" y="68"/>
                    <a:pt x="1725" y="68"/>
                  </a:cubicBezTo>
                  <a:cubicBezTo>
                    <a:pt x="1725" y="68"/>
                    <a:pt x="1725" y="68"/>
                    <a:pt x="1725" y="68"/>
                  </a:cubicBezTo>
                  <a:cubicBezTo>
                    <a:pt x="1725" y="68"/>
                    <a:pt x="1726" y="68"/>
                    <a:pt x="1726" y="67"/>
                  </a:cubicBezTo>
                  <a:cubicBezTo>
                    <a:pt x="1726" y="67"/>
                    <a:pt x="1726" y="67"/>
                    <a:pt x="1726" y="67"/>
                  </a:cubicBezTo>
                  <a:cubicBezTo>
                    <a:pt x="1726" y="67"/>
                    <a:pt x="1726" y="67"/>
                    <a:pt x="1726" y="67"/>
                  </a:cubicBezTo>
                  <a:cubicBezTo>
                    <a:pt x="1726" y="67"/>
                    <a:pt x="1726" y="67"/>
                    <a:pt x="1726" y="67"/>
                  </a:cubicBezTo>
                  <a:cubicBezTo>
                    <a:pt x="1726" y="67"/>
                    <a:pt x="1726" y="67"/>
                    <a:pt x="1727" y="67"/>
                  </a:cubicBezTo>
                  <a:cubicBezTo>
                    <a:pt x="1727" y="67"/>
                    <a:pt x="1727" y="67"/>
                    <a:pt x="1727" y="67"/>
                  </a:cubicBezTo>
                  <a:cubicBezTo>
                    <a:pt x="1727" y="66"/>
                    <a:pt x="1727" y="67"/>
                    <a:pt x="1727" y="66"/>
                  </a:cubicBezTo>
                  <a:cubicBezTo>
                    <a:pt x="1727" y="66"/>
                    <a:pt x="1727" y="66"/>
                    <a:pt x="1727" y="66"/>
                  </a:cubicBezTo>
                  <a:cubicBezTo>
                    <a:pt x="1727" y="66"/>
                    <a:pt x="1727" y="66"/>
                    <a:pt x="1728" y="66"/>
                  </a:cubicBezTo>
                  <a:cubicBezTo>
                    <a:pt x="1728" y="66"/>
                    <a:pt x="1728" y="66"/>
                    <a:pt x="1728" y="66"/>
                  </a:cubicBezTo>
                  <a:cubicBezTo>
                    <a:pt x="1728" y="66"/>
                    <a:pt x="1728" y="66"/>
                    <a:pt x="1729" y="65"/>
                  </a:cubicBezTo>
                  <a:cubicBezTo>
                    <a:pt x="1729" y="65"/>
                    <a:pt x="1729" y="65"/>
                    <a:pt x="1729" y="65"/>
                  </a:cubicBezTo>
                  <a:cubicBezTo>
                    <a:pt x="1729" y="65"/>
                    <a:pt x="1729" y="65"/>
                    <a:pt x="1729" y="65"/>
                  </a:cubicBezTo>
                  <a:cubicBezTo>
                    <a:pt x="1729" y="65"/>
                    <a:pt x="1729" y="65"/>
                    <a:pt x="1729" y="65"/>
                  </a:cubicBezTo>
                  <a:cubicBezTo>
                    <a:pt x="1729" y="65"/>
                    <a:pt x="1729" y="65"/>
                    <a:pt x="1730" y="65"/>
                  </a:cubicBezTo>
                  <a:cubicBezTo>
                    <a:pt x="1730" y="65"/>
                    <a:pt x="1730" y="65"/>
                    <a:pt x="1730" y="65"/>
                  </a:cubicBezTo>
                  <a:cubicBezTo>
                    <a:pt x="1730" y="65"/>
                    <a:pt x="1730" y="64"/>
                    <a:pt x="1730" y="64"/>
                  </a:cubicBezTo>
                  <a:cubicBezTo>
                    <a:pt x="1730" y="64"/>
                    <a:pt x="1730" y="64"/>
                    <a:pt x="1730" y="64"/>
                  </a:cubicBezTo>
                  <a:cubicBezTo>
                    <a:pt x="1730" y="64"/>
                    <a:pt x="1730" y="64"/>
                    <a:pt x="1730" y="64"/>
                  </a:cubicBezTo>
                  <a:cubicBezTo>
                    <a:pt x="1730" y="64"/>
                    <a:pt x="1730" y="64"/>
                    <a:pt x="1730" y="64"/>
                  </a:cubicBezTo>
                  <a:cubicBezTo>
                    <a:pt x="1731" y="64"/>
                    <a:pt x="1731" y="64"/>
                    <a:pt x="1731" y="63"/>
                  </a:cubicBezTo>
                  <a:cubicBezTo>
                    <a:pt x="1731" y="64"/>
                    <a:pt x="1731" y="64"/>
                    <a:pt x="1731" y="64"/>
                  </a:cubicBezTo>
                  <a:cubicBezTo>
                    <a:pt x="1731" y="63"/>
                    <a:pt x="1731" y="63"/>
                    <a:pt x="1731" y="63"/>
                  </a:cubicBezTo>
                  <a:cubicBezTo>
                    <a:pt x="1731" y="63"/>
                    <a:pt x="1731" y="63"/>
                    <a:pt x="1731" y="63"/>
                  </a:cubicBezTo>
                  <a:cubicBezTo>
                    <a:pt x="1731" y="63"/>
                    <a:pt x="1732" y="63"/>
                    <a:pt x="1732" y="63"/>
                  </a:cubicBezTo>
                  <a:cubicBezTo>
                    <a:pt x="1732" y="63"/>
                    <a:pt x="1732" y="63"/>
                    <a:pt x="1732" y="63"/>
                  </a:cubicBezTo>
                  <a:cubicBezTo>
                    <a:pt x="1732" y="63"/>
                    <a:pt x="1732" y="63"/>
                    <a:pt x="1732" y="62"/>
                  </a:cubicBezTo>
                  <a:cubicBezTo>
                    <a:pt x="1732" y="62"/>
                    <a:pt x="1732" y="62"/>
                    <a:pt x="1732" y="62"/>
                  </a:cubicBezTo>
                  <a:cubicBezTo>
                    <a:pt x="1733" y="62"/>
                    <a:pt x="1733" y="62"/>
                    <a:pt x="1733" y="62"/>
                  </a:cubicBezTo>
                  <a:cubicBezTo>
                    <a:pt x="1733" y="62"/>
                    <a:pt x="1733" y="62"/>
                    <a:pt x="1733" y="62"/>
                  </a:cubicBezTo>
                  <a:cubicBezTo>
                    <a:pt x="1733" y="62"/>
                    <a:pt x="1733" y="62"/>
                    <a:pt x="1733" y="62"/>
                  </a:cubicBezTo>
                  <a:cubicBezTo>
                    <a:pt x="1733" y="62"/>
                    <a:pt x="1733" y="62"/>
                    <a:pt x="1733" y="62"/>
                  </a:cubicBezTo>
                  <a:cubicBezTo>
                    <a:pt x="1733" y="62"/>
                    <a:pt x="1734" y="61"/>
                    <a:pt x="1734" y="61"/>
                  </a:cubicBezTo>
                  <a:cubicBezTo>
                    <a:pt x="1734" y="61"/>
                    <a:pt x="1734" y="61"/>
                    <a:pt x="1734" y="61"/>
                  </a:cubicBezTo>
                  <a:cubicBezTo>
                    <a:pt x="1734" y="61"/>
                    <a:pt x="1734" y="61"/>
                    <a:pt x="1734" y="61"/>
                  </a:cubicBezTo>
                  <a:cubicBezTo>
                    <a:pt x="1734" y="61"/>
                    <a:pt x="1734" y="61"/>
                    <a:pt x="1734" y="61"/>
                  </a:cubicBezTo>
                  <a:cubicBezTo>
                    <a:pt x="1735" y="61"/>
                    <a:pt x="1735" y="61"/>
                    <a:pt x="1735" y="60"/>
                  </a:cubicBezTo>
                  <a:cubicBezTo>
                    <a:pt x="1735" y="60"/>
                    <a:pt x="1735" y="60"/>
                    <a:pt x="1735" y="60"/>
                  </a:cubicBezTo>
                  <a:cubicBezTo>
                    <a:pt x="1735" y="60"/>
                    <a:pt x="1735" y="60"/>
                    <a:pt x="1735" y="60"/>
                  </a:cubicBezTo>
                  <a:cubicBezTo>
                    <a:pt x="1735" y="60"/>
                    <a:pt x="1735" y="60"/>
                    <a:pt x="1735" y="60"/>
                  </a:cubicBezTo>
                  <a:cubicBezTo>
                    <a:pt x="1735" y="60"/>
                    <a:pt x="1735" y="60"/>
                    <a:pt x="1736" y="60"/>
                  </a:cubicBezTo>
                  <a:cubicBezTo>
                    <a:pt x="1736" y="60"/>
                    <a:pt x="1736" y="60"/>
                    <a:pt x="1736" y="60"/>
                  </a:cubicBezTo>
                  <a:cubicBezTo>
                    <a:pt x="1736" y="59"/>
                    <a:pt x="1736" y="59"/>
                    <a:pt x="1737" y="59"/>
                  </a:cubicBezTo>
                  <a:cubicBezTo>
                    <a:pt x="1736" y="59"/>
                    <a:pt x="1736" y="59"/>
                    <a:pt x="1736" y="59"/>
                  </a:cubicBezTo>
                  <a:cubicBezTo>
                    <a:pt x="1737" y="59"/>
                    <a:pt x="1737" y="59"/>
                    <a:pt x="1737" y="59"/>
                  </a:cubicBezTo>
                  <a:cubicBezTo>
                    <a:pt x="1737" y="59"/>
                    <a:pt x="1737" y="59"/>
                    <a:pt x="1737" y="59"/>
                  </a:cubicBezTo>
                  <a:cubicBezTo>
                    <a:pt x="1737" y="59"/>
                    <a:pt x="1737" y="58"/>
                    <a:pt x="1737" y="58"/>
                  </a:cubicBezTo>
                  <a:cubicBezTo>
                    <a:pt x="1737" y="58"/>
                    <a:pt x="1737" y="58"/>
                    <a:pt x="1737" y="58"/>
                  </a:cubicBezTo>
                  <a:cubicBezTo>
                    <a:pt x="1737" y="58"/>
                    <a:pt x="1738" y="58"/>
                    <a:pt x="1738" y="58"/>
                  </a:cubicBezTo>
                  <a:cubicBezTo>
                    <a:pt x="1738" y="58"/>
                    <a:pt x="1738" y="58"/>
                    <a:pt x="1738" y="58"/>
                  </a:cubicBezTo>
                  <a:cubicBezTo>
                    <a:pt x="1738" y="58"/>
                    <a:pt x="1738" y="58"/>
                    <a:pt x="1738" y="58"/>
                  </a:cubicBezTo>
                  <a:cubicBezTo>
                    <a:pt x="1738" y="58"/>
                    <a:pt x="1738" y="58"/>
                    <a:pt x="1738" y="58"/>
                  </a:cubicBezTo>
                  <a:cubicBezTo>
                    <a:pt x="1738" y="58"/>
                    <a:pt x="1738" y="57"/>
                    <a:pt x="1738" y="57"/>
                  </a:cubicBezTo>
                  <a:cubicBezTo>
                    <a:pt x="1738" y="57"/>
                    <a:pt x="1738" y="57"/>
                    <a:pt x="1738" y="57"/>
                  </a:cubicBezTo>
                  <a:cubicBezTo>
                    <a:pt x="1738" y="57"/>
                    <a:pt x="1739" y="57"/>
                    <a:pt x="1739" y="57"/>
                  </a:cubicBezTo>
                  <a:cubicBezTo>
                    <a:pt x="1739" y="57"/>
                    <a:pt x="1739" y="57"/>
                    <a:pt x="1739" y="57"/>
                  </a:cubicBezTo>
                  <a:cubicBezTo>
                    <a:pt x="1739" y="57"/>
                    <a:pt x="1739" y="57"/>
                    <a:pt x="1739" y="57"/>
                  </a:cubicBezTo>
                  <a:cubicBezTo>
                    <a:pt x="1739" y="57"/>
                    <a:pt x="1739" y="57"/>
                    <a:pt x="1739" y="57"/>
                  </a:cubicBezTo>
                  <a:cubicBezTo>
                    <a:pt x="1739" y="56"/>
                    <a:pt x="1739" y="56"/>
                    <a:pt x="1739" y="56"/>
                  </a:cubicBezTo>
                  <a:cubicBezTo>
                    <a:pt x="1739" y="56"/>
                    <a:pt x="1739" y="56"/>
                    <a:pt x="1739" y="56"/>
                  </a:cubicBezTo>
                  <a:cubicBezTo>
                    <a:pt x="1740" y="56"/>
                    <a:pt x="1740" y="56"/>
                    <a:pt x="1740" y="56"/>
                  </a:cubicBezTo>
                  <a:cubicBezTo>
                    <a:pt x="1740" y="56"/>
                    <a:pt x="1740" y="56"/>
                    <a:pt x="1740" y="56"/>
                  </a:cubicBezTo>
                  <a:cubicBezTo>
                    <a:pt x="1740" y="56"/>
                    <a:pt x="1740" y="56"/>
                    <a:pt x="1740" y="56"/>
                  </a:cubicBezTo>
                  <a:cubicBezTo>
                    <a:pt x="1740" y="56"/>
                    <a:pt x="1740" y="56"/>
                    <a:pt x="1740" y="56"/>
                  </a:cubicBezTo>
                  <a:cubicBezTo>
                    <a:pt x="1740" y="55"/>
                    <a:pt x="1740" y="55"/>
                    <a:pt x="1740" y="55"/>
                  </a:cubicBezTo>
                  <a:cubicBezTo>
                    <a:pt x="1740" y="55"/>
                    <a:pt x="1740" y="55"/>
                    <a:pt x="1740" y="55"/>
                  </a:cubicBezTo>
                  <a:cubicBezTo>
                    <a:pt x="1741" y="55"/>
                    <a:pt x="1741" y="55"/>
                    <a:pt x="1741" y="55"/>
                  </a:cubicBezTo>
                  <a:cubicBezTo>
                    <a:pt x="1741" y="55"/>
                    <a:pt x="1741" y="55"/>
                    <a:pt x="1741" y="55"/>
                  </a:cubicBezTo>
                  <a:cubicBezTo>
                    <a:pt x="1741" y="55"/>
                    <a:pt x="1741" y="55"/>
                    <a:pt x="1741" y="54"/>
                  </a:cubicBezTo>
                  <a:cubicBezTo>
                    <a:pt x="1741" y="54"/>
                    <a:pt x="1741" y="54"/>
                    <a:pt x="1741" y="54"/>
                  </a:cubicBezTo>
                  <a:cubicBezTo>
                    <a:pt x="1741" y="54"/>
                    <a:pt x="1741" y="54"/>
                    <a:pt x="1741" y="54"/>
                  </a:cubicBezTo>
                  <a:cubicBezTo>
                    <a:pt x="1741" y="54"/>
                    <a:pt x="1741" y="54"/>
                    <a:pt x="1741" y="54"/>
                  </a:cubicBezTo>
                  <a:cubicBezTo>
                    <a:pt x="1742" y="54"/>
                    <a:pt x="1742" y="53"/>
                    <a:pt x="1742" y="53"/>
                  </a:cubicBezTo>
                  <a:cubicBezTo>
                    <a:pt x="1742" y="53"/>
                    <a:pt x="1742" y="53"/>
                    <a:pt x="1742" y="53"/>
                  </a:cubicBezTo>
                  <a:cubicBezTo>
                    <a:pt x="1742" y="53"/>
                    <a:pt x="1742" y="53"/>
                    <a:pt x="1743" y="53"/>
                  </a:cubicBezTo>
                  <a:cubicBezTo>
                    <a:pt x="1742" y="53"/>
                    <a:pt x="1742" y="53"/>
                    <a:pt x="1742" y="53"/>
                  </a:cubicBezTo>
                  <a:cubicBezTo>
                    <a:pt x="1743" y="53"/>
                    <a:pt x="1743" y="53"/>
                    <a:pt x="1743" y="52"/>
                  </a:cubicBezTo>
                  <a:cubicBezTo>
                    <a:pt x="1743" y="52"/>
                    <a:pt x="1743" y="52"/>
                    <a:pt x="1743" y="52"/>
                  </a:cubicBezTo>
                  <a:cubicBezTo>
                    <a:pt x="1743" y="52"/>
                    <a:pt x="1743" y="52"/>
                    <a:pt x="1743" y="52"/>
                  </a:cubicBezTo>
                  <a:cubicBezTo>
                    <a:pt x="1743" y="52"/>
                    <a:pt x="1743" y="52"/>
                    <a:pt x="1743" y="52"/>
                  </a:cubicBezTo>
                  <a:cubicBezTo>
                    <a:pt x="1743" y="52"/>
                    <a:pt x="1743" y="52"/>
                    <a:pt x="1744" y="51"/>
                  </a:cubicBezTo>
                  <a:cubicBezTo>
                    <a:pt x="1744" y="51"/>
                    <a:pt x="1744" y="51"/>
                    <a:pt x="1744" y="51"/>
                  </a:cubicBezTo>
                  <a:cubicBezTo>
                    <a:pt x="1744" y="51"/>
                    <a:pt x="1744" y="51"/>
                    <a:pt x="1744" y="51"/>
                  </a:cubicBezTo>
                  <a:cubicBezTo>
                    <a:pt x="1744" y="51"/>
                    <a:pt x="1744" y="51"/>
                    <a:pt x="1744" y="51"/>
                  </a:cubicBezTo>
                  <a:cubicBezTo>
                    <a:pt x="1744" y="51"/>
                    <a:pt x="1744" y="51"/>
                    <a:pt x="1744" y="50"/>
                  </a:cubicBezTo>
                  <a:cubicBezTo>
                    <a:pt x="1744" y="50"/>
                    <a:pt x="1744" y="50"/>
                    <a:pt x="1744" y="50"/>
                  </a:cubicBezTo>
                  <a:cubicBezTo>
                    <a:pt x="1744" y="50"/>
                    <a:pt x="1745" y="50"/>
                    <a:pt x="1745" y="50"/>
                  </a:cubicBezTo>
                  <a:cubicBezTo>
                    <a:pt x="1745" y="50"/>
                    <a:pt x="1745" y="50"/>
                    <a:pt x="1745" y="50"/>
                  </a:cubicBezTo>
                  <a:cubicBezTo>
                    <a:pt x="1745" y="50"/>
                    <a:pt x="1745" y="49"/>
                    <a:pt x="1745" y="49"/>
                  </a:cubicBezTo>
                  <a:cubicBezTo>
                    <a:pt x="1745" y="49"/>
                    <a:pt x="1745" y="49"/>
                    <a:pt x="1745" y="49"/>
                  </a:cubicBezTo>
                  <a:cubicBezTo>
                    <a:pt x="1745" y="49"/>
                    <a:pt x="1745" y="49"/>
                    <a:pt x="1745" y="49"/>
                  </a:cubicBezTo>
                  <a:cubicBezTo>
                    <a:pt x="1745" y="49"/>
                    <a:pt x="1745" y="49"/>
                    <a:pt x="1745" y="49"/>
                  </a:cubicBezTo>
                  <a:cubicBezTo>
                    <a:pt x="1746" y="49"/>
                    <a:pt x="1745" y="48"/>
                    <a:pt x="1746" y="48"/>
                  </a:cubicBezTo>
                  <a:cubicBezTo>
                    <a:pt x="1746" y="48"/>
                    <a:pt x="1746" y="48"/>
                    <a:pt x="1746" y="48"/>
                  </a:cubicBezTo>
                  <a:cubicBezTo>
                    <a:pt x="1746" y="48"/>
                    <a:pt x="1746" y="48"/>
                    <a:pt x="1746" y="48"/>
                  </a:cubicBezTo>
                  <a:cubicBezTo>
                    <a:pt x="1746" y="48"/>
                    <a:pt x="1746" y="48"/>
                    <a:pt x="1746" y="48"/>
                  </a:cubicBezTo>
                  <a:cubicBezTo>
                    <a:pt x="1746" y="47"/>
                    <a:pt x="1746" y="47"/>
                    <a:pt x="1746" y="47"/>
                  </a:cubicBezTo>
                  <a:cubicBezTo>
                    <a:pt x="1746" y="47"/>
                    <a:pt x="1746" y="47"/>
                    <a:pt x="1746" y="47"/>
                  </a:cubicBezTo>
                  <a:cubicBezTo>
                    <a:pt x="1747" y="47"/>
                    <a:pt x="1746" y="46"/>
                    <a:pt x="1747" y="46"/>
                  </a:cubicBezTo>
                  <a:cubicBezTo>
                    <a:pt x="1747" y="46"/>
                    <a:pt x="1747" y="46"/>
                    <a:pt x="1747" y="46"/>
                  </a:cubicBezTo>
                  <a:cubicBezTo>
                    <a:pt x="1747" y="46"/>
                    <a:pt x="1747" y="46"/>
                    <a:pt x="1747" y="45"/>
                  </a:cubicBezTo>
                  <a:cubicBezTo>
                    <a:pt x="1747" y="45"/>
                    <a:pt x="1747" y="45"/>
                    <a:pt x="1747" y="45"/>
                  </a:cubicBezTo>
                  <a:cubicBezTo>
                    <a:pt x="1747" y="45"/>
                    <a:pt x="1747" y="45"/>
                    <a:pt x="1747" y="45"/>
                  </a:cubicBezTo>
                  <a:cubicBezTo>
                    <a:pt x="1747" y="45"/>
                    <a:pt x="1747" y="44"/>
                    <a:pt x="1747" y="44"/>
                  </a:cubicBezTo>
                  <a:cubicBezTo>
                    <a:pt x="1748" y="44"/>
                    <a:pt x="1748" y="44"/>
                    <a:pt x="1748" y="44"/>
                  </a:cubicBezTo>
                  <a:cubicBezTo>
                    <a:pt x="1748" y="44"/>
                    <a:pt x="1748" y="44"/>
                    <a:pt x="1748" y="44"/>
                  </a:cubicBezTo>
                  <a:cubicBezTo>
                    <a:pt x="1748" y="43"/>
                    <a:pt x="1748" y="43"/>
                    <a:pt x="1748" y="43"/>
                  </a:cubicBezTo>
                  <a:cubicBezTo>
                    <a:pt x="1748" y="43"/>
                    <a:pt x="1748" y="43"/>
                    <a:pt x="1748" y="43"/>
                  </a:cubicBezTo>
                  <a:cubicBezTo>
                    <a:pt x="1748" y="42"/>
                    <a:pt x="1748" y="42"/>
                    <a:pt x="1748" y="42"/>
                  </a:cubicBezTo>
                  <a:cubicBezTo>
                    <a:pt x="1748" y="42"/>
                    <a:pt x="1748" y="42"/>
                    <a:pt x="1748" y="42"/>
                  </a:cubicBezTo>
                  <a:cubicBezTo>
                    <a:pt x="1749" y="41"/>
                    <a:pt x="1749" y="41"/>
                    <a:pt x="1749" y="40"/>
                  </a:cubicBezTo>
                  <a:cubicBezTo>
                    <a:pt x="1749" y="40"/>
                    <a:pt x="1749" y="40"/>
                    <a:pt x="1749" y="40"/>
                  </a:cubicBezTo>
                  <a:cubicBezTo>
                    <a:pt x="1749" y="40"/>
                    <a:pt x="1749" y="40"/>
                    <a:pt x="1749" y="40"/>
                  </a:cubicBezTo>
                  <a:cubicBezTo>
                    <a:pt x="1749" y="40"/>
                    <a:pt x="1749" y="39"/>
                    <a:pt x="1749" y="39"/>
                  </a:cubicBezTo>
                  <a:cubicBezTo>
                    <a:pt x="1749" y="39"/>
                    <a:pt x="1749" y="39"/>
                    <a:pt x="1749" y="39"/>
                  </a:cubicBezTo>
                  <a:cubicBezTo>
                    <a:pt x="1749" y="38"/>
                    <a:pt x="1749" y="37"/>
                    <a:pt x="1749" y="37"/>
                  </a:cubicBezTo>
                  <a:close/>
                  <a:moveTo>
                    <a:pt x="1386" y="37"/>
                  </a:moveTo>
                  <a:cubicBezTo>
                    <a:pt x="1386" y="37"/>
                    <a:pt x="1386" y="38"/>
                    <a:pt x="1386" y="38"/>
                  </a:cubicBezTo>
                  <a:cubicBezTo>
                    <a:pt x="1385" y="38"/>
                    <a:pt x="1386" y="39"/>
                    <a:pt x="1385" y="39"/>
                  </a:cubicBezTo>
                  <a:cubicBezTo>
                    <a:pt x="1385" y="39"/>
                    <a:pt x="1385" y="39"/>
                    <a:pt x="1385" y="39"/>
                  </a:cubicBezTo>
                  <a:cubicBezTo>
                    <a:pt x="1385" y="40"/>
                    <a:pt x="1385" y="40"/>
                    <a:pt x="1385" y="40"/>
                  </a:cubicBezTo>
                  <a:cubicBezTo>
                    <a:pt x="1385" y="40"/>
                    <a:pt x="1385" y="40"/>
                    <a:pt x="1385" y="40"/>
                  </a:cubicBezTo>
                  <a:cubicBezTo>
                    <a:pt x="1385" y="41"/>
                    <a:pt x="1385" y="41"/>
                    <a:pt x="1385" y="41"/>
                  </a:cubicBezTo>
                  <a:cubicBezTo>
                    <a:pt x="1385" y="41"/>
                    <a:pt x="1385" y="41"/>
                    <a:pt x="1385" y="41"/>
                  </a:cubicBezTo>
                  <a:cubicBezTo>
                    <a:pt x="1384" y="42"/>
                    <a:pt x="1385" y="42"/>
                    <a:pt x="1384" y="42"/>
                  </a:cubicBezTo>
                  <a:cubicBezTo>
                    <a:pt x="1384" y="42"/>
                    <a:pt x="1384" y="42"/>
                    <a:pt x="1384" y="42"/>
                  </a:cubicBezTo>
                  <a:cubicBezTo>
                    <a:pt x="1384" y="43"/>
                    <a:pt x="1384" y="43"/>
                    <a:pt x="1384" y="43"/>
                  </a:cubicBezTo>
                  <a:cubicBezTo>
                    <a:pt x="1384" y="43"/>
                    <a:pt x="1384" y="43"/>
                    <a:pt x="1384" y="43"/>
                  </a:cubicBezTo>
                  <a:cubicBezTo>
                    <a:pt x="1384" y="43"/>
                    <a:pt x="1384" y="44"/>
                    <a:pt x="1384" y="44"/>
                  </a:cubicBezTo>
                  <a:cubicBezTo>
                    <a:pt x="1384" y="44"/>
                    <a:pt x="1384" y="44"/>
                    <a:pt x="1384" y="44"/>
                  </a:cubicBezTo>
                  <a:cubicBezTo>
                    <a:pt x="1383" y="44"/>
                    <a:pt x="1383" y="44"/>
                    <a:pt x="1383" y="44"/>
                  </a:cubicBezTo>
                  <a:cubicBezTo>
                    <a:pt x="1383" y="44"/>
                    <a:pt x="1383" y="44"/>
                    <a:pt x="1383" y="44"/>
                  </a:cubicBezTo>
                  <a:cubicBezTo>
                    <a:pt x="1383" y="45"/>
                    <a:pt x="1383" y="45"/>
                    <a:pt x="1383" y="45"/>
                  </a:cubicBezTo>
                  <a:cubicBezTo>
                    <a:pt x="1383" y="45"/>
                    <a:pt x="1383" y="45"/>
                    <a:pt x="1383" y="45"/>
                  </a:cubicBezTo>
                  <a:cubicBezTo>
                    <a:pt x="1383" y="45"/>
                    <a:pt x="1383" y="46"/>
                    <a:pt x="1383" y="46"/>
                  </a:cubicBezTo>
                  <a:cubicBezTo>
                    <a:pt x="1383" y="46"/>
                    <a:pt x="1383" y="46"/>
                    <a:pt x="1383" y="46"/>
                  </a:cubicBezTo>
                  <a:cubicBezTo>
                    <a:pt x="1382" y="46"/>
                    <a:pt x="1382" y="46"/>
                    <a:pt x="1382" y="46"/>
                  </a:cubicBezTo>
                  <a:cubicBezTo>
                    <a:pt x="1382" y="46"/>
                    <a:pt x="1382" y="46"/>
                    <a:pt x="1382" y="46"/>
                  </a:cubicBezTo>
                  <a:cubicBezTo>
                    <a:pt x="1382" y="46"/>
                    <a:pt x="1382" y="47"/>
                    <a:pt x="1382" y="47"/>
                  </a:cubicBezTo>
                  <a:cubicBezTo>
                    <a:pt x="1382" y="47"/>
                    <a:pt x="1382" y="47"/>
                    <a:pt x="1382" y="47"/>
                  </a:cubicBezTo>
                  <a:cubicBezTo>
                    <a:pt x="1382" y="47"/>
                    <a:pt x="1382" y="47"/>
                    <a:pt x="1382" y="47"/>
                  </a:cubicBezTo>
                  <a:cubicBezTo>
                    <a:pt x="1382" y="47"/>
                    <a:pt x="1382" y="47"/>
                    <a:pt x="1382" y="47"/>
                  </a:cubicBezTo>
                  <a:cubicBezTo>
                    <a:pt x="1381" y="47"/>
                    <a:pt x="1381" y="48"/>
                    <a:pt x="1381" y="48"/>
                  </a:cubicBezTo>
                  <a:cubicBezTo>
                    <a:pt x="1381" y="48"/>
                    <a:pt x="1381" y="48"/>
                    <a:pt x="1381" y="48"/>
                  </a:cubicBezTo>
                  <a:cubicBezTo>
                    <a:pt x="1381" y="48"/>
                    <a:pt x="1381" y="48"/>
                    <a:pt x="1381" y="48"/>
                  </a:cubicBezTo>
                  <a:cubicBezTo>
                    <a:pt x="1381" y="48"/>
                    <a:pt x="1381" y="48"/>
                    <a:pt x="1381" y="48"/>
                  </a:cubicBezTo>
                  <a:cubicBezTo>
                    <a:pt x="1381" y="48"/>
                    <a:pt x="1381" y="48"/>
                    <a:pt x="1381" y="49"/>
                  </a:cubicBezTo>
                  <a:cubicBezTo>
                    <a:pt x="1381" y="49"/>
                    <a:pt x="1381" y="49"/>
                    <a:pt x="1381" y="49"/>
                  </a:cubicBezTo>
                  <a:cubicBezTo>
                    <a:pt x="1380" y="49"/>
                    <a:pt x="1380" y="49"/>
                    <a:pt x="1380" y="50"/>
                  </a:cubicBezTo>
                  <a:cubicBezTo>
                    <a:pt x="1380" y="50"/>
                    <a:pt x="1380" y="50"/>
                    <a:pt x="1380" y="50"/>
                  </a:cubicBezTo>
                  <a:cubicBezTo>
                    <a:pt x="1380" y="50"/>
                    <a:pt x="1380" y="50"/>
                    <a:pt x="1379" y="50"/>
                  </a:cubicBezTo>
                  <a:cubicBezTo>
                    <a:pt x="1379" y="50"/>
                    <a:pt x="1379" y="50"/>
                    <a:pt x="1379" y="50"/>
                  </a:cubicBezTo>
                  <a:cubicBezTo>
                    <a:pt x="1379" y="50"/>
                    <a:pt x="1379" y="50"/>
                    <a:pt x="1379" y="50"/>
                  </a:cubicBezTo>
                  <a:cubicBezTo>
                    <a:pt x="1379" y="50"/>
                    <a:pt x="1379" y="50"/>
                    <a:pt x="1379" y="50"/>
                  </a:cubicBezTo>
                  <a:cubicBezTo>
                    <a:pt x="1379" y="50"/>
                    <a:pt x="1379" y="51"/>
                    <a:pt x="1379" y="51"/>
                  </a:cubicBezTo>
                  <a:cubicBezTo>
                    <a:pt x="1379" y="51"/>
                    <a:pt x="1379" y="51"/>
                    <a:pt x="1379" y="51"/>
                  </a:cubicBezTo>
                  <a:cubicBezTo>
                    <a:pt x="1379" y="51"/>
                    <a:pt x="1379" y="51"/>
                    <a:pt x="1378" y="51"/>
                  </a:cubicBezTo>
                  <a:cubicBezTo>
                    <a:pt x="1379" y="51"/>
                    <a:pt x="1379" y="51"/>
                    <a:pt x="1379" y="51"/>
                  </a:cubicBezTo>
                  <a:cubicBezTo>
                    <a:pt x="1378" y="51"/>
                    <a:pt x="1378" y="51"/>
                    <a:pt x="1378" y="51"/>
                  </a:cubicBezTo>
                  <a:cubicBezTo>
                    <a:pt x="1378" y="51"/>
                    <a:pt x="1378" y="51"/>
                    <a:pt x="1378" y="51"/>
                  </a:cubicBezTo>
                  <a:cubicBezTo>
                    <a:pt x="1378" y="51"/>
                    <a:pt x="1378" y="52"/>
                    <a:pt x="1378" y="52"/>
                  </a:cubicBezTo>
                  <a:cubicBezTo>
                    <a:pt x="1378" y="52"/>
                    <a:pt x="1378" y="52"/>
                    <a:pt x="1378" y="52"/>
                  </a:cubicBezTo>
                  <a:cubicBezTo>
                    <a:pt x="1378" y="52"/>
                    <a:pt x="1377" y="52"/>
                    <a:pt x="1377" y="52"/>
                  </a:cubicBezTo>
                  <a:cubicBezTo>
                    <a:pt x="1377" y="52"/>
                    <a:pt x="1377" y="52"/>
                    <a:pt x="1377" y="52"/>
                  </a:cubicBezTo>
                  <a:cubicBezTo>
                    <a:pt x="1377" y="52"/>
                    <a:pt x="1377" y="52"/>
                    <a:pt x="1377" y="53"/>
                  </a:cubicBezTo>
                  <a:cubicBezTo>
                    <a:pt x="1377" y="53"/>
                    <a:pt x="1377" y="53"/>
                    <a:pt x="1377" y="53"/>
                  </a:cubicBezTo>
                  <a:cubicBezTo>
                    <a:pt x="1377" y="53"/>
                    <a:pt x="1377" y="53"/>
                    <a:pt x="1377" y="53"/>
                  </a:cubicBezTo>
                  <a:cubicBezTo>
                    <a:pt x="1377" y="53"/>
                    <a:pt x="1377" y="53"/>
                    <a:pt x="1377" y="53"/>
                  </a:cubicBezTo>
                  <a:cubicBezTo>
                    <a:pt x="1377" y="53"/>
                    <a:pt x="1376" y="53"/>
                    <a:pt x="1376" y="53"/>
                  </a:cubicBezTo>
                  <a:cubicBezTo>
                    <a:pt x="1376" y="53"/>
                    <a:pt x="1376" y="53"/>
                    <a:pt x="1376" y="53"/>
                  </a:cubicBezTo>
                  <a:cubicBezTo>
                    <a:pt x="1376" y="53"/>
                    <a:pt x="1376" y="53"/>
                    <a:pt x="1376" y="54"/>
                  </a:cubicBezTo>
                  <a:cubicBezTo>
                    <a:pt x="1376" y="54"/>
                    <a:pt x="1376" y="54"/>
                    <a:pt x="1376" y="54"/>
                  </a:cubicBezTo>
                  <a:cubicBezTo>
                    <a:pt x="1376" y="54"/>
                    <a:pt x="1376" y="54"/>
                    <a:pt x="1376" y="54"/>
                  </a:cubicBezTo>
                  <a:cubicBezTo>
                    <a:pt x="1376" y="54"/>
                    <a:pt x="1376" y="54"/>
                    <a:pt x="1376" y="54"/>
                  </a:cubicBezTo>
                  <a:cubicBezTo>
                    <a:pt x="1376" y="54"/>
                    <a:pt x="1375" y="54"/>
                    <a:pt x="1375" y="54"/>
                  </a:cubicBezTo>
                  <a:cubicBezTo>
                    <a:pt x="1375" y="54"/>
                    <a:pt x="1375" y="54"/>
                    <a:pt x="1375" y="54"/>
                  </a:cubicBezTo>
                  <a:cubicBezTo>
                    <a:pt x="1375" y="54"/>
                    <a:pt x="1375" y="54"/>
                    <a:pt x="1375" y="55"/>
                  </a:cubicBezTo>
                  <a:cubicBezTo>
                    <a:pt x="1375" y="55"/>
                    <a:pt x="1375" y="55"/>
                    <a:pt x="1375" y="55"/>
                  </a:cubicBezTo>
                  <a:cubicBezTo>
                    <a:pt x="1375" y="55"/>
                    <a:pt x="1375" y="55"/>
                    <a:pt x="1375" y="55"/>
                  </a:cubicBezTo>
                  <a:cubicBezTo>
                    <a:pt x="1375" y="55"/>
                    <a:pt x="1375" y="55"/>
                    <a:pt x="1375" y="55"/>
                  </a:cubicBezTo>
                  <a:cubicBezTo>
                    <a:pt x="1374" y="55"/>
                    <a:pt x="1374" y="56"/>
                    <a:pt x="1373" y="56"/>
                  </a:cubicBezTo>
                  <a:cubicBezTo>
                    <a:pt x="1373" y="56"/>
                    <a:pt x="1373" y="56"/>
                    <a:pt x="1373" y="56"/>
                  </a:cubicBezTo>
                  <a:cubicBezTo>
                    <a:pt x="1373" y="56"/>
                    <a:pt x="1373" y="56"/>
                    <a:pt x="1373" y="56"/>
                  </a:cubicBezTo>
                  <a:cubicBezTo>
                    <a:pt x="1373" y="56"/>
                    <a:pt x="1373" y="56"/>
                    <a:pt x="1373" y="56"/>
                  </a:cubicBezTo>
                  <a:cubicBezTo>
                    <a:pt x="1373" y="56"/>
                    <a:pt x="1373" y="56"/>
                    <a:pt x="1373" y="57"/>
                  </a:cubicBezTo>
                  <a:cubicBezTo>
                    <a:pt x="1373" y="57"/>
                    <a:pt x="1373" y="57"/>
                    <a:pt x="1373" y="57"/>
                  </a:cubicBezTo>
                  <a:cubicBezTo>
                    <a:pt x="1372" y="57"/>
                    <a:pt x="1372" y="57"/>
                    <a:pt x="1372" y="57"/>
                  </a:cubicBezTo>
                  <a:cubicBezTo>
                    <a:pt x="1372" y="57"/>
                    <a:pt x="1372" y="57"/>
                    <a:pt x="1372" y="57"/>
                  </a:cubicBezTo>
                  <a:cubicBezTo>
                    <a:pt x="1371" y="57"/>
                    <a:pt x="1371" y="58"/>
                    <a:pt x="1371" y="58"/>
                  </a:cubicBezTo>
                  <a:cubicBezTo>
                    <a:pt x="1371" y="58"/>
                    <a:pt x="1371" y="58"/>
                    <a:pt x="1371" y="58"/>
                  </a:cubicBezTo>
                  <a:cubicBezTo>
                    <a:pt x="1371" y="58"/>
                    <a:pt x="1371" y="58"/>
                    <a:pt x="1371" y="58"/>
                  </a:cubicBezTo>
                  <a:cubicBezTo>
                    <a:pt x="1371" y="58"/>
                    <a:pt x="1371" y="58"/>
                    <a:pt x="1371" y="58"/>
                  </a:cubicBezTo>
                  <a:cubicBezTo>
                    <a:pt x="1371" y="58"/>
                    <a:pt x="1370" y="58"/>
                    <a:pt x="1370" y="58"/>
                  </a:cubicBezTo>
                  <a:cubicBezTo>
                    <a:pt x="1370" y="58"/>
                    <a:pt x="1370" y="58"/>
                    <a:pt x="1370" y="58"/>
                  </a:cubicBezTo>
                  <a:cubicBezTo>
                    <a:pt x="1370" y="58"/>
                    <a:pt x="1370" y="59"/>
                    <a:pt x="1370" y="59"/>
                  </a:cubicBezTo>
                  <a:cubicBezTo>
                    <a:pt x="1370" y="59"/>
                    <a:pt x="1370" y="59"/>
                    <a:pt x="1370" y="59"/>
                  </a:cubicBezTo>
                  <a:cubicBezTo>
                    <a:pt x="1370" y="59"/>
                    <a:pt x="1369" y="59"/>
                    <a:pt x="1369" y="59"/>
                  </a:cubicBezTo>
                  <a:cubicBezTo>
                    <a:pt x="1369" y="59"/>
                    <a:pt x="1369" y="59"/>
                    <a:pt x="1369" y="59"/>
                  </a:cubicBezTo>
                  <a:cubicBezTo>
                    <a:pt x="1369" y="59"/>
                    <a:pt x="1369" y="59"/>
                    <a:pt x="1369" y="59"/>
                  </a:cubicBezTo>
                  <a:cubicBezTo>
                    <a:pt x="1369" y="59"/>
                    <a:pt x="1369" y="59"/>
                    <a:pt x="1369" y="59"/>
                  </a:cubicBezTo>
                  <a:cubicBezTo>
                    <a:pt x="1369" y="59"/>
                    <a:pt x="1368" y="60"/>
                    <a:pt x="1368" y="60"/>
                  </a:cubicBezTo>
                  <a:cubicBezTo>
                    <a:pt x="1368" y="60"/>
                    <a:pt x="1368" y="60"/>
                    <a:pt x="1368" y="60"/>
                  </a:cubicBezTo>
                  <a:cubicBezTo>
                    <a:pt x="1368" y="60"/>
                    <a:pt x="1368" y="60"/>
                    <a:pt x="1368" y="60"/>
                  </a:cubicBezTo>
                  <a:cubicBezTo>
                    <a:pt x="1368" y="60"/>
                    <a:pt x="1368" y="60"/>
                    <a:pt x="1368" y="60"/>
                  </a:cubicBezTo>
                  <a:cubicBezTo>
                    <a:pt x="1368" y="60"/>
                    <a:pt x="1367" y="60"/>
                    <a:pt x="1367" y="61"/>
                  </a:cubicBezTo>
                  <a:cubicBezTo>
                    <a:pt x="1367" y="60"/>
                    <a:pt x="1367" y="60"/>
                    <a:pt x="1367" y="60"/>
                  </a:cubicBezTo>
                  <a:cubicBezTo>
                    <a:pt x="1367" y="61"/>
                    <a:pt x="1367" y="61"/>
                    <a:pt x="1367" y="61"/>
                  </a:cubicBezTo>
                  <a:cubicBezTo>
                    <a:pt x="1367" y="61"/>
                    <a:pt x="1367" y="61"/>
                    <a:pt x="1367" y="61"/>
                  </a:cubicBezTo>
                  <a:cubicBezTo>
                    <a:pt x="1367" y="61"/>
                    <a:pt x="1366" y="61"/>
                    <a:pt x="1366" y="62"/>
                  </a:cubicBezTo>
                  <a:cubicBezTo>
                    <a:pt x="1366" y="62"/>
                    <a:pt x="1366" y="62"/>
                    <a:pt x="1366" y="62"/>
                  </a:cubicBezTo>
                  <a:cubicBezTo>
                    <a:pt x="1366" y="62"/>
                    <a:pt x="1366" y="62"/>
                    <a:pt x="1366" y="62"/>
                  </a:cubicBezTo>
                  <a:cubicBezTo>
                    <a:pt x="1366" y="62"/>
                    <a:pt x="1366" y="62"/>
                    <a:pt x="1366" y="62"/>
                  </a:cubicBezTo>
                  <a:cubicBezTo>
                    <a:pt x="1365" y="62"/>
                    <a:pt x="1365" y="62"/>
                    <a:pt x="1365" y="63"/>
                  </a:cubicBezTo>
                  <a:cubicBezTo>
                    <a:pt x="1365" y="63"/>
                    <a:pt x="1365" y="63"/>
                    <a:pt x="1365" y="63"/>
                  </a:cubicBezTo>
                  <a:cubicBezTo>
                    <a:pt x="1364" y="63"/>
                    <a:pt x="1364" y="63"/>
                    <a:pt x="1364" y="63"/>
                  </a:cubicBezTo>
                  <a:cubicBezTo>
                    <a:pt x="1364" y="63"/>
                    <a:pt x="1364" y="63"/>
                    <a:pt x="1364" y="63"/>
                  </a:cubicBezTo>
                  <a:cubicBezTo>
                    <a:pt x="1364" y="63"/>
                    <a:pt x="1363" y="63"/>
                    <a:pt x="1363" y="64"/>
                  </a:cubicBezTo>
                  <a:cubicBezTo>
                    <a:pt x="1363" y="64"/>
                    <a:pt x="1363" y="64"/>
                    <a:pt x="1363" y="64"/>
                  </a:cubicBezTo>
                  <a:cubicBezTo>
                    <a:pt x="1363" y="64"/>
                    <a:pt x="1363" y="64"/>
                    <a:pt x="1363" y="64"/>
                  </a:cubicBezTo>
                  <a:cubicBezTo>
                    <a:pt x="1363" y="64"/>
                    <a:pt x="1363" y="64"/>
                    <a:pt x="1363" y="64"/>
                  </a:cubicBezTo>
                  <a:cubicBezTo>
                    <a:pt x="1363" y="64"/>
                    <a:pt x="1363" y="64"/>
                    <a:pt x="1362" y="64"/>
                  </a:cubicBezTo>
                  <a:cubicBezTo>
                    <a:pt x="1362" y="64"/>
                    <a:pt x="1362" y="64"/>
                    <a:pt x="1362" y="64"/>
                  </a:cubicBezTo>
                  <a:cubicBezTo>
                    <a:pt x="1362" y="64"/>
                    <a:pt x="1362" y="64"/>
                    <a:pt x="1362" y="65"/>
                  </a:cubicBezTo>
                  <a:cubicBezTo>
                    <a:pt x="1362" y="65"/>
                    <a:pt x="1362" y="65"/>
                    <a:pt x="1362" y="65"/>
                  </a:cubicBezTo>
                  <a:cubicBezTo>
                    <a:pt x="1362" y="65"/>
                    <a:pt x="1361" y="65"/>
                    <a:pt x="1361" y="65"/>
                  </a:cubicBezTo>
                  <a:cubicBezTo>
                    <a:pt x="1361" y="65"/>
                    <a:pt x="1361" y="65"/>
                    <a:pt x="1361" y="65"/>
                  </a:cubicBezTo>
                  <a:cubicBezTo>
                    <a:pt x="1361" y="65"/>
                    <a:pt x="1361" y="65"/>
                    <a:pt x="1361" y="65"/>
                  </a:cubicBezTo>
                  <a:cubicBezTo>
                    <a:pt x="1361" y="65"/>
                    <a:pt x="1361" y="65"/>
                    <a:pt x="1361" y="65"/>
                  </a:cubicBezTo>
                  <a:cubicBezTo>
                    <a:pt x="1361" y="66"/>
                    <a:pt x="1360" y="66"/>
                    <a:pt x="1360" y="66"/>
                  </a:cubicBezTo>
                  <a:cubicBezTo>
                    <a:pt x="1360" y="66"/>
                    <a:pt x="1360" y="66"/>
                    <a:pt x="1360" y="66"/>
                  </a:cubicBezTo>
                  <a:cubicBezTo>
                    <a:pt x="1360" y="66"/>
                    <a:pt x="1360" y="66"/>
                    <a:pt x="1360" y="66"/>
                  </a:cubicBezTo>
                  <a:cubicBezTo>
                    <a:pt x="1360" y="66"/>
                    <a:pt x="1360" y="66"/>
                    <a:pt x="1360" y="66"/>
                  </a:cubicBezTo>
                  <a:cubicBezTo>
                    <a:pt x="1360" y="66"/>
                    <a:pt x="1359" y="67"/>
                    <a:pt x="1359" y="67"/>
                  </a:cubicBezTo>
                  <a:cubicBezTo>
                    <a:pt x="1359" y="67"/>
                    <a:pt x="1359" y="67"/>
                    <a:pt x="1359" y="67"/>
                  </a:cubicBezTo>
                  <a:cubicBezTo>
                    <a:pt x="1359" y="67"/>
                    <a:pt x="1358" y="67"/>
                    <a:pt x="1358" y="68"/>
                  </a:cubicBezTo>
                  <a:cubicBezTo>
                    <a:pt x="1358" y="67"/>
                    <a:pt x="1358" y="67"/>
                    <a:pt x="1358" y="67"/>
                  </a:cubicBezTo>
                  <a:cubicBezTo>
                    <a:pt x="1358" y="67"/>
                    <a:pt x="1358" y="68"/>
                    <a:pt x="1358" y="68"/>
                  </a:cubicBezTo>
                  <a:cubicBezTo>
                    <a:pt x="1358" y="68"/>
                    <a:pt x="1358" y="68"/>
                    <a:pt x="1358" y="68"/>
                  </a:cubicBezTo>
                  <a:cubicBezTo>
                    <a:pt x="1358" y="68"/>
                    <a:pt x="1358" y="68"/>
                    <a:pt x="1358" y="68"/>
                  </a:cubicBezTo>
                  <a:cubicBezTo>
                    <a:pt x="1358" y="68"/>
                    <a:pt x="1358" y="68"/>
                    <a:pt x="1358" y="68"/>
                  </a:cubicBezTo>
                  <a:cubicBezTo>
                    <a:pt x="1357" y="68"/>
                    <a:pt x="1357" y="68"/>
                    <a:pt x="1357" y="68"/>
                  </a:cubicBezTo>
                  <a:cubicBezTo>
                    <a:pt x="1357" y="68"/>
                    <a:pt x="1357" y="68"/>
                    <a:pt x="1357" y="68"/>
                  </a:cubicBezTo>
                  <a:cubicBezTo>
                    <a:pt x="1357" y="69"/>
                    <a:pt x="1356" y="69"/>
                    <a:pt x="1356" y="69"/>
                  </a:cubicBezTo>
                  <a:cubicBezTo>
                    <a:pt x="1356" y="69"/>
                    <a:pt x="1356" y="69"/>
                    <a:pt x="1356" y="69"/>
                  </a:cubicBezTo>
                  <a:cubicBezTo>
                    <a:pt x="1356" y="69"/>
                    <a:pt x="1356" y="69"/>
                    <a:pt x="1356" y="70"/>
                  </a:cubicBezTo>
                  <a:cubicBezTo>
                    <a:pt x="1356" y="70"/>
                    <a:pt x="1356" y="70"/>
                    <a:pt x="1356" y="70"/>
                  </a:cubicBezTo>
                  <a:cubicBezTo>
                    <a:pt x="1356" y="70"/>
                    <a:pt x="1356" y="70"/>
                    <a:pt x="1355" y="70"/>
                  </a:cubicBezTo>
                  <a:cubicBezTo>
                    <a:pt x="1355" y="70"/>
                    <a:pt x="1355" y="70"/>
                    <a:pt x="1355" y="70"/>
                  </a:cubicBezTo>
                  <a:cubicBezTo>
                    <a:pt x="1355" y="70"/>
                    <a:pt x="1355" y="70"/>
                    <a:pt x="1355" y="70"/>
                  </a:cubicBezTo>
                  <a:cubicBezTo>
                    <a:pt x="1355" y="70"/>
                    <a:pt x="1355" y="70"/>
                    <a:pt x="1355" y="70"/>
                  </a:cubicBezTo>
                  <a:cubicBezTo>
                    <a:pt x="1355" y="70"/>
                    <a:pt x="1355" y="70"/>
                    <a:pt x="1355" y="71"/>
                  </a:cubicBezTo>
                  <a:cubicBezTo>
                    <a:pt x="1355" y="71"/>
                    <a:pt x="1355" y="71"/>
                    <a:pt x="1355" y="71"/>
                  </a:cubicBezTo>
                  <a:cubicBezTo>
                    <a:pt x="1355" y="71"/>
                    <a:pt x="1355" y="71"/>
                    <a:pt x="1354" y="71"/>
                  </a:cubicBezTo>
                  <a:cubicBezTo>
                    <a:pt x="1354" y="71"/>
                    <a:pt x="1354" y="71"/>
                    <a:pt x="1354" y="71"/>
                  </a:cubicBezTo>
                  <a:cubicBezTo>
                    <a:pt x="1353" y="72"/>
                    <a:pt x="1352" y="73"/>
                    <a:pt x="1351" y="74"/>
                  </a:cubicBezTo>
                  <a:cubicBezTo>
                    <a:pt x="1351" y="74"/>
                    <a:pt x="1351" y="74"/>
                    <a:pt x="1351" y="74"/>
                  </a:cubicBezTo>
                  <a:cubicBezTo>
                    <a:pt x="1351" y="74"/>
                    <a:pt x="1351" y="75"/>
                    <a:pt x="1351" y="75"/>
                  </a:cubicBezTo>
                  <a:cubicBezTo>
                    <a:pt x="1351" y="75"/>
                    <a:pt x="1351" y="75"/>
                    <a:pt x="1351" y="75"/>
                  </a:cubicBezTo>
                  <a:cubicBezTo>
                    <a:pt x="1350" y="75"/>
                    <a:pt x="1350" y="75"/>
                    <a:pt x="1350" y="75"/>
                  </a:cubicBezTo>
                  <a:cubicBezTo>
                    <a:pt x="1350" y="75"/>
                    <a:pt x="1350" y="75"/>
                    <a:pt x="1350" y="75"/>
                  </a:cubicBezTo>
                  <a:cubicBezTo>
                    <a:pt x="1350" y="75"/>
                    <a:pt x="1350" y="75"/>
                    <a:pt x="1350" y="75"/>
                  </a:cubicBezTo>
                  <a:cubicBezTo>
                    <a:pt x="1350" y="75"/>
                    <a:pt x="1350" y="75"/>
                    <a:pt x="1350" y="75"/>
                  </a:cubicBezTo>
                  <a:cubicBezTo>
                    <a:pt x="1350" y="76"/>
                    <a:pt x="1350" y="76"/>
                    <a:pt x="1350" y="76"/>
                  </a:cubicBezTo>
                  <a:cubicBezTo>
                    <a:pt x="1350" y="76"/>
                    <a:pt x="1350" y="76"/>
                    <a:pt x="1350" y="76"/>
                  </a:cubicBezTo>
                  <a:cubicBezTo>
                    <a:pt x="1349" y="76"/>
                    <a:pt x="1349" y="76"/>
                    <a:pt x="1349" y="76"/>
                  </a:cubicBezTo>
                  <a:cubicBezTo>
                    <a:pt x="1349" y="76"/>
                    <a:pt x="1349" y="76"/>
                    <a:pt x="1349" y="76"/>
                  </a:cubicBezTo>
                  <a:cubicBezTo>
                    <a:pt x="1349" y="77"/>
                    <a:pt x="1349" y="77"/>
                    <a:pt x="1349" y="77"/>
                  </a:cubicBezTo>
                  <a:cubicBezTo>
                    <a:pt x="1349" y="77"/>
                    <a:pt x="1349" y="77"/>
                    <a:pt x="1349" y="77"/>
                  </a:cubicBezTo>
                  <a:cubicBezTo>
                    <a:pt x="1349" y="77"/>
                    <a:pt x="1349" y="77"/>
                    <a:pt x="1349" y="77"/>
                  </a:cubicBezTo>
                  <a:cubicBezTo>
                    <a:pt x="1349" y="77"/>
                    <a:pt x="1349" y="77"/>
                    <a:pt x="1349" y="77"/>
                  </a:cubicBezTo>
                  <a:cubicBezTo>
                    <a:pt x="1348" y="77"/>
                    <a:pt x="1348" y="78"/>
                    <a:pt x="1348" y="78"/>
                  </a:cubicBezTo>
                  <a:cubicBezTo>
                    <a:pt x="1348" y="78"/>
                    <a:pt x="1348" y="78"/>
                    <a:pt x="1348" y="78"/>
                  </a:cubicBezTo>
                  <a:cubicBezTo>
                    <a:pt x="1348" y="78"/>
                    <a:pt x="1348" y="78"/>
                    <a:pt x="1348" y="78"/>
                  </a:cubicBezTo>
                  <a:cubicBezTo>
                    <a:pt x="1348" y="78"/>
                    <a:pt x="1348" y="78"/>
                    <a:pt x="1348" y="78"/>
                  </a:cubicBezTo>
                  <a:cubicBezTo>
                    <a:pt x="1348" y="78"/>
                    <a:pt x="1348" y="79"/>
                    <a:pt x="1347" y="79"/>
                  </a:cubicBezTo>
                  <a:cubicBezTo>
                    <a:pt x="1347" y="79"/>
                    <a:pt x="1347" y="79"/>
                    <a:pt x="1347" y="79"/>
                  </a:cubicBezTo>
                  <a:cubicBezTo>
                    <a:pt x="1347" y="79"/>
                    <a:pt x="1347" y="79"/>
                    <a:pt x="1347" y="79"/>
                  </a:cubicBezTo>
                  <a:cubicBezTo>
                    <a:pt x="1347" y="79"/>
                    <a:pt x="1347" y="79"/>
                    <a:pt x="1347" y="79"/>
                  </a:cubicBezTo>
                  <a:cubicBezTo>
                    <a:pt x="1347" y="79"/>
                    <a:pt x="1347" y="80"/>
                    <a:pt x="1347" y="80"/>
                  </a:cubicBezTo>
                  <a:cubicBezTo>
                    <a:pt x="1347" y="80"/>
                    <a:pt x="1347" y="80"/>
                    <a:pt x="1347" y="80"/>
                  </a:cubicBezTo>
                  <a:cubicBezTo>
                    <a:pt x="1347" y="80"/>
                    <a:pt x="1347" y="80"/>
                    <a:pt x="1346" y="81"/>
                  </a:cubicBezTo>
                  <a:cubicBezTo>
                    <a:pt x="1346" y="81"/>
                    <a:pt x="1346" y="81"/>
                    <a:pt x="1346" y="81"/>
                  </a:cubicBezTo>
                  <a:cubicBezTo>
                    <a:pt x="1346" y="81"/>
                    <a:pt x="1346" y="81"/>
                    <a:pt x="1346" y="81"/>
                  </a:cubicBezTo>
                  <a:cubicBezTo>
                    <a:pt x="1346" y="81"/>
                    <a:pt x="1346" y="81"/>
                    <a:pt x="1346" y="81"/>
                  </a:cubicBezTo>
                  <a:cubicBezTo>
                    <a:pt x="1346" y="81"/>
                    <a:pt x="1346" y="82"/>
                    <a:pt x="1346" y="82"/>
                  </a:cubicBezTo>
                  <a:cubicBezTo>
                    <a:pt x="1346" y="82"/>
                    <a:pt x="1346" y="82"/>
                    <a:pt x="1346" y="82"/>
                  </a:cubicBezTo>
                  <a:cubicBezTo>
                    <a:pt x="1346" y="82"/>
                    <a:pt x="1346" y="82"/>
                    <a:pt x="1346" y="82"/>
                  </a:cubicBezTo>
                  <a:cubicBezTo>
                    <a:pt x="1345" y="82"/>
                    <a:pt x="1346" y="83"/>
                    <a:pt x="1345" y="83"/>
                  </a:cubicBezTo>
                  <a:cubicBezTo>
                    <a:pt x="1345" y="83"/>
                    <a:pt x="1345" y="83"/>
                    <a:pt x="1345" y="83"/>
                  </a:cubicBezTo>
                  <a:cubicBezTo>
                    <a:pt x="1345" y="83"/>
                    <a:pt x="1345" y="83"/>
                    <a:pt x="1345" y="83"/>
                  </a:cubicBezTo>
                  <a:cubicBezTo>
                    <a:pt x="1345" y="83"/>
                    <a:pt x="1345" y="83"/>
                    <a:pt x="1345" y="83"/>
                  </a:cubicBezTo>
                  <a:cubicBezTo>
                    <a:pt x="1345" y="84"/>
                    <a:pt x="1345" y="84"/>
                    <a:pt x="1345" y="84"/>
                  </a:cubicBezTo>
                  <a:cubicBezTo>
                    <a:pt x="1345" y="84"/>
                    <a:pt x="1345" y="84"/>
                    <a:pt x="1345" y="84"/>
                  </a:cubicBezTo>
                  <a:cubicBezTo>
                    <a:pt x="1345" y="84"/>
                    <a:pt x="1345" y="84"/>
                    <a:pt x="1345" y="84"/>
                  </a:cubicBezTo>
                  <a:cubicBezTo>
                    <a:pt x="1344" y="85"/>
                    <a:pt x="1344" y="85"/>
                    <a:pt x="1344" y="85"/>
                  </a:cubicBezTo>
                  <a:cubicBezTo>
                    <a:pt x="1344" y="85"/>
                    <a:pt x="1344" y="85"/>
                    <a:pt x="1344" y="86"/>
                  </a:cubicBezTo>
                  <a:cubicBezTo>
                    <a:pt x="1344" y="86"/>
                    <a:pt x="1344" y="86"/>
                    <a:pt x="1344" y="87"/>
                  </a:cubicBezTo>
                  <a:cubicBezTo>
                    <a:pt x="1344" y="87"/>
                    <a:pt x="1344" y="87"/>
                    <a:pt x="1344" y="87"/>
                  </a:cubicBezTo>
                  <a:cubicBezTo>
                    <a:pt x="1344" y="87"/>
                    <a:pt x="1344" y="88"/>
                    <a:pt x="1344" y="88"/>
                  </a:cubicBezTo>
                  <a:cubicBezTo>
                    <a:pt x="1344" y="88"/>
                    <a:pt x="1344" y="88"/>
                    <a:pt x="1344" y="88"/>
                  </a:cubicBezTo>
                  <a:cubicBezTo>
                    <a:pt x="1343" y="89"/>
                    <a:pt x="1344" y="89"/>
                    <a:pt x="1343" y="90"/>
                  </a:cubicBezTo>
                  <a:cubicBezTo>
                    <a:pt x="1343" y="90"/>
                    <a:pt x="1343" y="90"/>
                    <a:pt x="1343" y="90"/>
                  </a:cubicBezTo>
                  <a:cubicBezTo>
                    <a:pt x="1343" y="91"/>
                    <a:pt x="1343" y="92"/>
                    <a:pt x="1343" y="92"/>
                  </a:cubicBezTo>
                  <a:cubicBezTo>
                    <a:pt x="1343" y="93"/>
                    <a:pt x="1343" y="93"/>
                    <a:pt x="1343" y="94"/>
                  </a:cubicBezTo>
                  <a:cubicBezTo>
                    <a:pt x="1343" y="96"/>
                    <a:pt x="1343" y="98"/>
                    <a:pt x="1343" y="100"/>
                  </a:cubicBezTo>
                  <a:cubicBezTo>
                    <a:pt x="1343" y="101"/>
                    <a:pt x="1343" y="102"/>
                    <a:pt x="1345" y="102"/>
                  </a:cubicBezTo>
                  <a:cubicBezTo>
                    <a:pt x="1363" y="102"/>
                    <a:pt x="1381" y="102"/>
                    <a:pt x="1399" y="102"/>
                  </a:cubicBezTo>
                  <a:cubicBezTo>
                    <a:pt x="1400" y="102"/>
                    <a:pt x="1401" y="102"/>
                    <a:pt x="1401" y="101"/>
                  </a:cubicBezTo>
                  <a:cubicBezTo>
                    <a:pt x="1401" y="98"/>
                    <a:pt x="1401" y="95"/>
                    <a:pt x="1401" y="92"/>
                  </a:cubicBezTo>
                  <a:cubicBezTo>
                    <a:pt x="1400" y="91"/>
                    <a:pt x="1400" y="92"/>
                    <a:pt x="1399" y="92"/>
                  </a:cubicBezTo>
                  <a:cubicBezTo>
                    <a:pt x="1385" y="92"/>
                    <a:pt x="1371" y="92"/>
                    <a:pt x="1356" y="92"/>
                  </a:cubicBezTo>
                  <a:cubicBezTo>
                    <a:pt x="1354" y="92"/>
                    <a:pt x="1354" y="92"/>
                    <a:pt x="1354" y="89"/>
                  </a:cubicBezTo>
                  <a:cubicBezTo>
                    <a:pt x="1354" y="89"/>
                    <a:pt x="1354" y="89"/>
                    <a:pt x="1354" y="89"/>
                  </a:cubicBezTo>
                  <a:cubicBezTo>
                    <a:pt x="1355" y="88"/>
                    <a:pt x="1354" y="88"/>
                    <a:pt x="1355" y="87"/>
                  </a:cubicBezTo>
                  <a:cubicBezTo>
                    <a:pt x="1355" y="87"/>
                    <a:pt x="1355" y="87"/>
                    <a:pt x="1355" y="87"/>
                  </a:cubicBezTo>
                  <a:cubicBezTo>
                    <a:pt x="1355" y="87"/>
                    <a:pt x="1355" y="87"/>
                    <a:pt x="1355" y="87"/>
                  </a:cubicBezTo>
                  <a:cubicBezTo>
                    <a:pt x="1355" y="87"/>
                    <a:pt x="1355" y="86"/>
                    <a:pt x="1355" y="86"/>
                  </a:cubicBezTo>
                  <a:cubicBezTo>
                    <a:pt x="1355" y="86"/>
                    <a:pt x="1355" y="86"/>
                    <a:pt x="1355" y="85"/>
                  </a:cubicBezTo>
                  <a:cubicBezTo>
                    <a:pt x="1355" y="85"/>
                    <a:pt x="1355" y="85"/>
                    <a:pt x="1355" y="85"/>
                  </a:cubicBezTo>
                  <a:cubicBezTo>
                    <a:pt x="1355" y="85"/>
                    <a:pt x="1355" y="85"/>
                    <a:pt x="1355" y="84"/>
                  </a:cubicBezTo>
                  <a:cubicBezTo>
                    <a:pt x="1356" y="84"/>
                    <a:pt x="1356" y="84"/>
                    <a:pt x="1356" y="84"/>
                  </a:cubicBezTo>
                  <a:cubicBezTo>
                    <a:pt x="1356" y="84"/>
                    <a:pt x="1356" y="84"/>
                    <a:pt x="1356" y="84"/>
                  </a:cubicBezTo>
                  <a:cubicBezTo>
                    <a:pt x="1356" y="84"/>
                    <a:pt x="1356" y="83"/>
                    <a:pt x="1356" y="83"/>
                  </a:cubicBezTo>
                  <a:cubicBezTo>
                    <a:pt x="1356" y="83"/>
                    <a:pt x="1356" y="83"/>
                    <a:pt x="1356" y="83"/>
                  </a:cubicBezTo>
                  <a:cubicBezTo>
                    <a:pt x="1356" y="83"/>
                    <a:pt x="1356" y="83"/>
                    <a:pt x="1356" y="83"/>
                  </a:cubicBezTo>
                  <a:cubicBezTo>
                    <a:pt x="1356" y="82"/>
                    <a:pt x="1356" y="82"/>
                    <a:pt x="1356" y="82"/>
                  </a:cubicBezTo>
                  <a:cubicBezTo>
                    <a:pt x="1357" y="82"/>
                    <a:pt x="1357" y="82"/>
                    <a:pt x="1357" y="82"/>
                  </a:cubicBezTo>
                  <a:cubicBezTo>
                    <a:pt x="1357" y="82"/>
                    <a:pt x="1357" y="82"/>
                    <a:pt x="1357" y="82"/>
                  </a:cubicBezTo>
                  <a:cubicBezTo>
                    <a:pt x="1357" y="82"/>
                    <a:pt x="1357" y="82"/>
                    <a:pt x="1357" y="82"/>
                  </a:cubicBezTo>
                  <a:cubicBezTo>
                    <a:pt x="1357" y="82"/>
                    <a:pt x="1357" y="81"/>
                    <a:pt x="1357" y="81"/>
                  </a:cubicBezTo>
                  <a:cubicBezTo>
                    <a:pt x="1357" y="81"/>
                    <a:pt x="1357" y="81"/>
                    <a:pt x="1357" y="81"/>
                  </a:cubicBezTo>
                  <a:cubicBezTo>
                    <a:pt x="1357" y="81"/>
                    <a:pt x="1357" y="81"/>
                    <a:pt x="1358" y="81"/>
                  </a:cubicBezTo>
                  <a:cubicBezTo>
                    <a:pt x="1357" y="81"/>
                    <a:pt x="1357" y="81"/>
                    <a:pt x="1357" y="81"/>
                  </a:cubicBezTo>
                  <a:cubicBezTo>
                    <a:pt x="1358" y="81"/>
                    <a:pt x="1358" y="81"/>
                    <a:pt x="1358" y="81"/>
                  </a:cubicBezTo>
                  <a:cubicBezTo>
                    <a:pt x="1358" y="81"/>
                    <a:pt x="1358" y="81"/>
                    <a:pt x="1358" y="81"/>
                  </a:cubicBezTo>
                  <a:cubicBezTo>
                    <a:pt x="1358" y="80"/>
                    <a:pt x="1358" y="80"/>
                    <a:pt x="1358" y="80"/>
                  </a:cubicBezTo>
                  <a:cubicBezTo>
                    <a:pt x="1358" y="80"/>
                    <a:pt x="1358" y="80"/>
                    <a:pt x="1358" y="80"/>
                  </a:cubicBezTo>
                  <a:cubicBezTo>
                    <a:pt x="1358" y="80"/>
                    <a:pt x="1358" y="80"/>
                    <a:pt x="1359" y="80"/>
                  </a:cubicBezTo>
                  <a:cubicBezTo>
                    <a:pt x="1359" y="80"/>
                    <a:pt x="1359" y="80"/>
                    <a:pt x="1359" y="80"/>
                  </a:cubicBezTo>
                  <a:cubicBezTo>
                    <a:pt x="1359" y="79"/>
                    <a:pt x="1359" y="79"/>
                    <a:pt x="1359" y="79"/>
                  </a:cubicBezTo>
                  <a:cubicBezTo>
                    <a:pt x="1359" y="79"/>
                    <a:pt x="1359" y="79"/>
                    <a:pt x="1359" y="79"/>
                  </a:cubicBezTo>
                  <a:cubicBezTo>
                    <a:pt x="1359" y="79"/>
                    <a:pt x="1359" y="79"/>
                    <a:pt x="1359" y="79"/>
                  </a:cubicBezTo>
                  <a:cubicBezTo>
                    <a:pt x="1359" y="79"/>
                    <a:pt x="1359" y="79"/>
                    <a:pt x="1359" y="79"/>
                  </a:cubicBezTo>
                  <a:cubicBezTo>
                    <a:pt x="1359" y="79"/>
                    <a:pt x="1360" y="79"/>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1" y="78"/>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2" y="77"/>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3" y="76"/>
                    <a:pt x="1363" y="76"/>
                    <a:pt x="1363" y="75"/>
                  </a:cubicBezTo>
                  <a:cubicBezTo>
                    <a:pt x="1363" y="75"/>
                    <a:pt x="1363" y="75"/>
                    <a:pt x="1363" y="75"/>
                  </a:cubicBezTo>
                  <a:cubicBezTo>
                    <a:pt x="1363" y="75"/>
                    <a:pt x="1364" y="75"/>
                    <a:pt x="1364" y="75"/>
                  </a:cubicBezTo>
                  <a:cubicBezTo>
                    <a:pt x="1364" y="75"/>
                    <a:pt x="1364" y="75"/>
                    <a:pt x="1364" y="75"/>
                  </a:cubicBezTo>
                  <a:cubicBezTo>
                    <a:pt x="1364" y="75"/>
                    <a:pt x="1364" y="74"/>
                    <a:pt x="1364" y="74"/>
                  </a:cubicBezTo>
                  <a:cubicBezTo>
                    <a:pt x="1364" y="74"/>
                    <a:pt x="1364" y="74"/>
                    <a:pt x="1364" y="74"/>
                  </a:cubicBezTo>
                  <a:cubicBezTo>
                    <a:pt x="1364" y="74"/>
                    <a:pt x="1364" y="74"/>
                    <a:pt x="1364" y="74"/>
                  </a:cubicBezTo>
                  <a:cubicBezTo>
                    <a:pt x="1364" y="74"/>
                    <a:pt x="1364" y="74"/>
                    <a:pt x="1364" y="74"/>
                  </a:cubicBezTo>
                  <a:cubicBezTo>
                    <a:pt x="1365" y="74"/>
                    <a:pt x="1365" y="74"/>
                    <a:pt x="1365" y="74"/>
                  </a:cubicBezTo>
                  <a:cubicBezTo>
                    <a:pt x="1365" y="74"/>
                    <a:pt x="1365" y="74"/>
                    <a:pt x="1365" y="74"/>
                  </a:cubicBezTo>
                  <a:cubicBezTo>
                    <a:pt x="1365" y="73"/>
                    <a:pt x="1365" y="74"/>
                    <a:pt x="1365" y="73"/>
                  </a:cubicBezTo>
                  <a:cubicBezTo>
                    <a:pt x="1365" y="73"/>
                    <a:pt x="1365" y="73"/>
                    <a:pt x="1365" y="73"/>
                  </a:cubicBezTo>
                  <a:cubicBezTo>
                    <a:pt x="1366" y="73"/>
                    <a:pt x="1366" y="73"/>
                    <a:pt x="1366" y="73"/>
                  </a:cubicBezTo>
                  <a:cubicBezTo>
                    <a:pt x="1366" y="73"/>
                    <a:pt x="1366" y="73"/>
                    <a:pt x="1366" y="73"/>
                  </a:cubicBezTo>
                  <a:cubicBezTo>
                    <a:pt x="1366" y="73"/>
                    <a:pt x="1366" y="73"/>
                    <a:pt x="1366" y="73"/>
                  </a:cubicBezTo>
                  <a:cubicBezTo>
                    <a:pt x="1366" y="73"/>
                    <a:pt x="1366" y="73"/>
                    <a:pt x="1366" y="73"/>
                  </a:cubicBezTo>
                  <a:cubicBezTo>
                    <a:pt x="1367" y="72"/>
                    <a:pt x="1367" y="72"/>
                    <a:pt x="1367" y="72"/>
                  </a:cubicBezTo>
                  <a:cubicBezTo>
                    <a:pt x="1367" y="72"/>
                    <a:pt x="1367" y="72"/>
                    <a:pt x="1367" y="72"/>
                  </a:cubicBezTo>
                  <a:cubicBezTo>
                    <a:pt x="1367" y="72"/>
                    <a:pt x="1368" y="72"/>
                    <a:pt x="1368" y="72"/>
                  </a:cubicBezTo>
                  <a:cubicBezTo>
                    <a:pt x="1368" y="72"/>
                    <a:pt x="1368" y="72"/>
                    <a:pt x="1368" y="72"/>
                  </a:cubicBezTo>
                  <a:cubicBezTo>
                    <a:pt x="1368" y="71"/>
                    <a:pt x="1368" y="71"/>
                    <a:pt x="1368" y="71"/>
                  </a:cubicBezTo>
                  <a:cubicBezTo>
                    <a:pt x="1368" y="71"/>
                    <a:pt x="1368" y="71"/>
                    <a:pt x="1368" y="71"/>
                  </a:cubicBezTo>
                  <a:cubicBezTo>
                    <a:pt x="1368" y="71"/>
                    <a:pt x="1369" y="71"/>
                    <a:pt x="1369" y="71"/>
                  </a:cubicBezTo>
                  <a:cubicBezTo>
                    <a:pt x="1369" y="71"/>
                    <a:pt x="1369" y="71"/>
                    <a:pt x="1369" y="71"/>
                  </a:cubicBezTo>
                  <a:cubicBezTo>
                    <a:pt x="1369" y="71"/>
                    <a:pt x="1369" y="71"/>
                    <a:pt x="1369" y="70"/>
                  </a:cubicBezTo>
                  <a:cubicBezTo>
                    <a:pt x="1369" y="71"/>
                    <a:pt x="1369" y="71"/>
                    <a:pt x="1369" y="71"/>
                  </a:cubicBezTo>
                  <a:cubicBezTo>
                    <a:pt x="1369" y="70"/>
                    <a:pt x="1369" y="70"/>
                    <a:pt x="1369" y="70"/>
                  </a:cubicBezTo>
                  <a:cubicBezTo>
                    <a:pt x="1369" y="70"/>
                    <a:pt x="1369" y="70"/>
                    <a:pt x="1369" y="70"/>
                  </a:cubicBezTo>
                  <a:cubicBezTo>
                    <a:pt x="1370" y="70"/>
                    <a:pt x="1370" y="70"/>
                    <a:pt x="1370" y="70"/>
                  </a:cubicBezTo>
                  <a:cubicBezTo>
                    <a:pt x="1370" y="70"/>
                    <a:pt x="1370" y="70"/>
                    <a:pt x="1370" y="70"/>
                  </a:cubicBezTo>
                  <a:cubicBezTo>
                    <a:pt x="1370" y="70"/>
                    <a:pt x="1370" y="70"/>
                    <a:pt x="1370" y="69"/>
                  </a:cubicBezTo>
                  <a:cubicBezTo>
                    <a:pt x="1370" y="69"/>
                    <a:pt x="1370" y="69"/>
                    <a:pt x="1370" y="69"/>
                  </a:cubicBezTo>
                  <a:cubicBezTo>
                    <a:pt x="1371" y="69"/>
                    <a:pt x="1371" y="69"/>
                    <a:pt x="1371" y="69"/>
                  </a:cubicBezTo>
                  <a:cubicBezTo>
                    <a:pt x="1371" y="69"/>
                    <a:pt x="1371" y="69"/>
                    <a:pt x="1371" y="69"/>
                  </a:cubicBezTo>
                  <a:cubicBezTo>
                    <a:pt x="1371" y="69"/>
                    <a:pt x="1371" y="69"/>
                    <a:pt x="1371" y="69"/>
                  </a:cubicBezTo>
                  <a:cubicBezTo>
                    <a:pt x="1371" y="69"/>
                    <a:pt x="1371" y="69"/>
                    <a:pt x="1371" y="69"/>
                  </a:cubicBezTo>
                  <a:cubicBezTo>
                    <a:pt x="1372" y="69"/>
                    <a:pt x="1372" y="69"/>
                    <a:pt x="1372" y="68"/>
                  </a:cubicBezTo>
                  <a:cubicBezTo>
                    <a:pt x="1372" y="68"/>
                    <a:pt x="1372" y="68"/>
                    <a:pt x="1372" y="68"/>
                  </a:cubicBezTo>
                  <a:cubicBezTo>
                    <a:pt x="1372" y="68"/>
                    <a:pt x="1373" y="68"/>
                    <a:pt x="1373" y="68"/>
                  </a:cubicBezTo>
                  <a:cubicBezTo>
                    <a:pt x="1373" y="68"/>
                    <a:pt x="1373" y="68"/>
                    <a:pt x="1373" y="68"/>
                  </a:cubicBezTo>
                  <a:cubicBezTo>
                    <a:pt x="1373" y="68"/>
                    <a:pt x="1373" y="68"/>
                    <a:pt x="1373" y="67"/>
                  </a:cubicBezTo>
                  <a:cubicBezTo>
                    <a:pt x="1373" y="67"/>
                    <a:pt x="1373" y="67"/>
                    <a:pt x="1373" y="67"/>
                  </a:cubicBezTo>
                  <a:cubicBezTo>
                    <a:pt x="1373" y="67"/>
                    <a:pt x="1374" y="67"/>
                    <a:pt x="1374" y="67"/>
                  </a:cubicBezTo>
                  <a:cubicBezTo>
                    <a:pt x="1374" y="67"/>
                    <a:pt x="1374" y="67"/>
                    <a:pt x="1374" y="67"/>
                  </a:cubicBezTo>
                  <a:cubicBezTo>
                    <a:pt x="1374" y="67"/>
                    <a:pt x="1374" y="67"/>
                    <a:pt x="1374" y="67"/>
                  </a:cubicBezTo>
                  <a:cubicBezTo>
                    <a:pt x="1374" y="67"/>
                    <a:pt x="1374" y="67"/>
                    <a:pt x="1374" y="67"/>
                  </a:cubicBezTo>
                  <a:cubicBezTo>
                    <a:pt x="1374" y="67"/>
                    <a:pt x="1374" y="66"/>
                    <a:pt x="1375" y="66"/>
                  </a:cubicBezTo>
                  <a:cubicBezTo>
                    <a:pt x="1375" y="66"/>
                    <a:pt x="1375" y="66"/>
                    <a:pt x="1375" y="66"/>
                  </a:cubicBezTo>
                  <a:cubicBezTo>
                    <a:pt x="1375" y="66"/>
                    <a:pt x="1375" y="66"/>
                    <a:pt x="1375" y="66"/>
                  </a:cubicBezTo>
                  <a:cubicBezTo>
                    <a:pt x="1375" y="66"/>
                    <a:pt x="1375" y="66"/>
                    <a:pt x="1375" y="66"/>
                  </a:cubicBezTo>
                  <a:cubicBezTo>
                    <a:pt x="1375" y="66"/>
                    <a:pt x="1376" y="66"/>
                    <a:pt x="1376" y="66"/>
                  </a:cubicBezTo>
                  <a:cubicBezTo>
                    <a:pt x="1376" y="66"/>
                    <a:pt x="1376" y="66"/>
                    <a:pt x="1376" y="66"/>
                  </a:cubicBezTo>
                  <a:cubicBezTo>
                    <a:pt x="1376" y="65"/>
                    <a:pt x="1376" y="66"/>
                    <a:pt x="1376" y="65"/>
                  </a:cubicBezTo>
                  <a:cubicBezTo>
                    <a:pt x="1376" y="65"/>
                    <a:pt x="1376" y="65"/>
                    <a:pt x="1376" y="65"/>
                  </a:cubicBezTo>
                  <a:cubicBezTo>
                    <a:pt x="1376" y="65"/>
                    <a:pt x="1377" y="65"/>
                    <a:pt x="1377" y="65"/>
                  </a:cubicBezTo>
                  <a:cubicBezTo>
                    <a:pt x="1377" y="65"/>
                    <a:pt x="1377" y="65"/>
                    <a:pt x="1377" y="65"/>
                  </a:cubicBezTo>
                  <a:cubicBezTo>
                    <a:pt x="1377" y="65"/>
                    <a:pt x="1377" y="65"/>
                    <a:pt x="1377" y="65"/>
                  </a:cubicBezTo>
                  <a:cubicBezTo>
                    <a:pt x="1377" y="65"/>
                    <a:pt x="1377" y="65"/>
                    <a:pt x="1377" y="65"/>
                  </a:cubicBezTo>
                  <a:cubicBezTo>
                    <a:pt x="1377"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9" y="63"/>
                    <a:pt x="1379" y="63"/>
                    <a:pt x="1379" y="63"/>
                  </a:cubicBezTo>
                  <a:cubicBezTo>
                    <a:pt x="1379" y="63"/>
                    <a:pt x="1379" y="63"/>
                    <a:pt x="1379" y="63"/>
                  </a:cubicBezTo>
                  <a:cubicBezTo>
                    <a:pt x="1379" y="63"/>
                    <a:pt x="1379" y="63"/>
                    <a:pt x="1379" y="63"/>
                  </a:cubicBezTo>
                  <a:cubicBezTo>
                    <a:pt x="1379" y="63"/>
                    <a:pt x="1379" y="63"/>
                    <a:pt x="1379" y="63"/>
                  </a:cubicBezTo>
                  <a:cubicBezTo>
                    <a:pt x="1380" y="63"/>
                    <a:pt x="1380" y="63"/>
                    <a:pt x="1380" y="63"/>
                  </a:cubicBezTo>
                  <a:cubicBezTo>
                    <a:pt x="1380" y="63"/>
                    <a:pt x="1380" y="63"/>
                    <a:pt x="1380" y="63"/>
                  </a:cubicBezTo>
                  <a:cubicBezTo>
                    <a:pt x="1380" y="62"/>
                    <a:pt x="1380" y="62"/>
                    <a:pt x="1380" y="62"/>
                  </a:cubicBezTo>
                  <a:cubicBezTo>
                    <a:pt x="1380" y="62"/>
                    <a:pt x="1380" y="62"/>
                    <a:pt x="1380" y="62"/>
                  </a:cubicBezTo>
                  <a:cubicBezTo>
                    <a:pt x="1381" y="62"/>
                    <a:pt x="1381" y="62"/>
                    <a:pt x="1381" y="62"/>
                  </a:cubicBezTo>
                  <a:cubicBezTo>
                    <a:pt x="1381" y="62"/>
                    <a:pt x="1381" y="62"/>
                    <a:pt x="1381" y="62"/>
                  </a:cubicBezTo>
                  <a:cubicBezTo>
                    <a:pt x="1381" y="62"/>
                    <a:pt x="1381" y="62"/>
                    <a:pt x="1381" y="61"/>
                  </a:cubicBezTo>
                  <a:cubicBezTo>
                    <a:pt x="1381" y="61"/>
                    <a:pt x="1381" y="61"/>
                    <a:pt x="1381" y="61"/>
                  </a:cubicBezTo>
                  <a:cubicBezTo>
                    <a:pt x="1381" y="61"/>
                    <a:pt x="1381" y="61"/>
                    <a:pt x="1382" y="61"/>
                  </a:cubicBezTo>
                  <a:cubicBezTo>
                    <a:pt x="1382" y="61"/>
                    <a:pt x="1382" y="61"/>
                    <a:pt x="1382" y="61"/>
                  </a:cubicBezTo>
                  <a:cubicBezTo>
                    <a:pt x="1382" y="61"/>
                    <a:pt x="1382" y="61"/>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4" y="60"/>
                    <a:pt x="1384" y="59"/>
                  </a:cubicBezTo>
                  <a:cubicBezTo>
                    <a:pt x="1384" y="59"/>
                    <a:pt x="1384" y="59"/>
                    <a:pt x="1384" y="59"/>
                  </a:cubicBezTo>
                  <a:cubicBezTo>
                    <a:pt x="1384" y="59"/>
                    <a:pt x="1384" y="59"/>
                    <a:pt x="1384" y="59"/>
                  </a:cubicBezTo>
                  <a:cubicBezTo>
                    <a:pt x="1384" y="59"/>
                    <a:pt x="1384" y="59"/>
                    <a:pt x="1384" y="59"/>
                  </a:cubicBezTo>
                  <a:cubicBezTo>
                    <a:pt x="1384" y="59"/>
                    <a:pt x="1385" y="58"/>
                    <a:pt x="1385" y="58"/>
                  </a:cubicBezTo>
                  <a:cubicBezTo>
                    <a:pt x="1385" y="58"/>
                    <a:pt x="1385" y="58"/>
                    <a:pt x="1385" y="58"/>
                  </a:cubicBezTo>
                  <a:cubicBezTo>
                    <a:pt x="1386" y="58"/>
                    <a:pt x="1386" y="58"/>
                    <a:pt x="1386" y="58"/>
                  </a:cubicBezTo>
                  <a:cubicBezTo>
                    <a:pt x="1386" y="58"/>
                    <a:pt x="1386" y="58"/>
                    <a:pt x="1386" y="58"/>
                  </a:cubicBezTo>
                  <a:cubicBezTo>
                    <a:pt x="1386" y="58"/>
                    <a:pt x="1386" y="57"/>
                    <a:pt x="1386" y="57"/>
                  </a:cubicBezTo>
                  <a:cubicBezTo>
                    <a:pt x="1386" y="57"/>
                    <a:pt x="1386" y="57"/>
                    <a:pt x="1386" y="57"/>
                  </a:cubicBezTo>
                  <a:cubicBezTo>
                    <a:pt x="1386" y="57"/>
                    <a:pt x="1386" y="57"/>
                    <a:pt x="1386" y="57"/>
                  </a:cubicBezTo>
                  <a:cubicBezTo>
                    <a:pt x="1386" y="57"/>
                    <a:pt x="1386" y="57"/>
                    <a:pt x="1386" y="57"/>
                  </a:cubicBezTo>
                  <a:cubicBezTo>
                    <a:pt x="1387" y="57"/>
                    <a:pt x="1387" y="57"/>
                    <a:pt x="1387" y="57"/>
                  </a:cubicBezTo>
                  <a:cubicBezTo>
                    <a:pt x="1387" y="57"/>
                    <a:pt x="1387" y="57"/>
                    <a:pt x="1387" y="57"/>
                  </a:cubicBezTo>
                  <a:cubicBezTo>
                    <a:pt x="1387" y="57"/>
                    <a:pt x="1387" y="56"/>
                    <a:pt x="1387" y="56"/>
                  </a:cubicBezTo>
                  <a:cubicBezTo>
                    <a:pt x="1387" y="56"/>
                    <a:pt x="1387" y="56"/>
                    <a:pt x="1387" y="56"/>
                  </a:cubicBezTo>
                  <a:cubicBezTo>
                    <a:pt x="1387" y="56"/>
                    <a:pt x="1387" y="56"/>
                    <a:pt x="1387" y="56"/>
                  </a:cubicBezTo>
                  <a:cubicBezTo>
                    <a:pt x="1387" y="56"/>
                    <a:pt x="1387" y="56"/>
                    <a:pt x="1387" y="56"/>
                  </a:cubicBezTo>
                  <a:cubicBezTo>
                    <a:pt x="1388" y="56"/>
                    <a:pt x="1388" y="56"/>
                    <a:pt x="1388" y="55"/>
                  </a:cubicBezTo>
                  <a:cubicBezTo>
                    <a:pt x="1388" y="55"/>
                    <a:pt x="1388" y="55"/>
                    <a:pt x="1388" y="55"/>
                  </a:cubicBezTo>
                  <a:cubicBezTo>
                    <a:pt x="1388" y="55"/>
                    <a:pt x="1388" y="55"/>
                    <a:pt x="1388" y="55"/>
                  </a:cubicBezTo>
                  <a:cubicBezTo>
                    <a:pt x="1388" y="55"/>
                    <a:pt x="1388" y="55"/>
                    <a:pt x="1388" y="55"/>
                  </a:cubicBezTo>
                  <a:cubicBezTo>
                    <a:pt x="1389" y="55"/>
                    <a:pt x="1389" y="54"/>
                    <a:pt x="1389" y="54"/>
                  </a:cubicBezTo>
                  <a:cubicBezTo>
                    <a:pt x="1389" y="54"/>
                    <a:pt x="1389" y="54"/>
                    <a:pt x="1389" y="54"/>
                  </a:cubicBezTo>
                  <a:cubicBezTo>
                    <a:pt x="1389" y="54"/>
                    <a:pt x="1389" y="54"/>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1" y="53"/>
                    <a:pt x="1391" y="52"/>
                    <a:pt x="1391" y="52"/>
                  </a:cubicBezTo>
                  <a:cubicBezTo>
                    <a:pt x="1391" y="52"/>
                    <a:pt x="1391" y="52"/>
                    <a:pt x="1391" y="52"/>
                  </a:cubicBezTo>
                  <a:cubicBezTo>
                    <a:pt x="1391" y="52"/>
                    <a:pt x="1391" y="51"/>
                    <a:pt x="1391" y="51"/>
                  </a:cubicBezTo>
                  <a:cubicBezTo>
                    <a:pt x="1391" y="51"/>
                    <a:pt x="1391" y="51"/>
                    <a:pt x="1391" y="51"/>
                  </a:cubicBezTo>
                  <a:cubicBezTo>
                    <a:pt x="1392" y="51"/>
                    <a:pt x="1391" y="51"/>
                    <a:pt x="1392" y="51"/>
                  </a:cubicBezTo>
                  <a:cubicBezTo>
                    <a:pt x="1392" y="51"/>
                    <a:pt x="1392" y="51"/>
                    <a:pt x="1392" y="51"/>
                  </a:cubicBezTo>
                  <a:cubicBezTo>
                    <a:pt x="1392" y="51"/>
                    <a:pt x="1392" y="50"/>
                    <a:pt x="1392" y="50"/>
                  </a:cubicBezTo>
                  <a:cubicBezTo>
                    <a:pt x="1392" y="50"/>
                    <a:pt x="1392" y="50"/>
                    <a:pt x="1392" y="50"/>
                  </a:cubicBezTo>
                  <a:cubicBezTo>
                    <a:pt x="1392" y="50"/>
                    <a:pt x="1392" y="50"/>
                    <a:pt x="1392" y="50"/>
                  </a:cubicBezTo>
                  <a:cubicBezTo>
                    <a:pt x="1392" y="50"/>
                    <a:pt x="1392" y="50"/>
                    <a:pt x="1392" y="50"/>
                  </a:cubicBezTo>
                  <a:cubicBezTo>
                    <a:pt x="1392" y="50"/>
                    <a:pt x="1393" y="49"/>
                    <a:pt x="1393" y="49"/>
                  </a:cubicBezTo>
                  <a:cubicBezTo>
                    <a:pt x="1393" y="49"/>
                    <a:pt x="1393" y="49"/>
                    <a:pt x="1393" y="49"/>
                  </a:cubicBezTo>
                  <a:cubicBezTo>
                    <a:pt x="1393" y="49"/>
                    <a:pt x="1393" y="49"/>
                    <a:pt x="1393" y="49"/>
                  </a:cubicBezTo>
                  <a:cubicBezTo>
                    <a:pt x="1393" y="49"/>
                    <a:pt x="1393" y="49"/>
                    <a:pt x="1393" y="49"/>
                  </a:cubicBezTo>
                  <a:cubicBezTo>
                    <a:pt x="1393" y="48"/>
                    <a:pt x="1393" y="48"/>
                    <a:pt x="1393" y="48"/>
                  </a:cubicBezTo>
                  <a:cubicBezTo>
                    <a:pt x="1393" y="48"/>
                    <a:pt x="1393" y="48"/>
                    <a:pt x="1393" y="48"/>
                  </a:cubicBezTo>
                  <a:cubicBezTo>
                    <a:pt x="1393" y="48"/>
                    <a:pt x="1393" y="48"/>
                    <a:pt x="1393" y="48"/>
                  </a:cubicBezTo>
                  <a:cubicBezTo>
                    <a:pt x="1394" y="48"/>
                    <a:pt x="1394" y="48"/>
                    <a:pt x="1394" y="47"/>
                  </a:cubicBezTo>
                  <a:cubicBezTo>
                    <a:pt x="1394" y="48"/>
                    <a:pt x="1394" y="48"/>
                    <a:pt x="1394" y="48"/>
                  </a:cubicBezTo>
                  <a:cubicBezTo>
                    <a:pt x="1394" y="47"/>
                    <a:pt x="1394" y="47"/>
                    <a:pt x="1394" y="47"/>
                  </a:cubicBezTo>
                  <a:cubicBezTo>
                    <a:pt x="1394" y="47"/>
                    <a:pt x="1394" y="47"/>
                    <a:pt x="1394" y="47"/>
                  </a:cubicBezTo>
                  <a:cubicBezTo>
                    <a:pt x="1394" y="47"/>
                    <a:pt x="1394" y="46"/>
                    <a:pt x="1394" y="46"/>
                  </a:cubicBezTo>
                  <a:cubicBezTo>
                    <a:pt x="1394" y="46"/>
                    <a:pt x="1394" y="46"/>
                    <a:pt x="1394" y="46"/>
                  </a:cubicBezTo>
                  <a:cubicBezTo>
                    <a:pt x="1395" y="46"/>
                    <a:pt x="1395" y="45"/>
                    <a:pt x="1395" y="45"/>
                  </a:cubicBezTo>
                  <a:cubicBezTo>
                    <a:pt x="1395" y="45"/>
                    <a:pt x="1395" y="45"/>
                    <a:pt x="1395" y="45"/>
                  </a:cubicBezTo>
                  <a:cubicBezTo>
                    <a:pt x="1395" y="45"/>
                    <a:pt x="1395" y="45"/>
                    <a:pt x="1395" y="44"/>
                  </a:cubicBezTo>
                  <a:cubicBezTo>
                    <a:pt x="1395" y="44"/>
                    <a:pt x="1395" y="44"/>
                    <a:pt x="1395" y="44"/>
                  </a:cubicBezTo>
                  <a:cubicBezTo>
                    <a:pt x="1395" y="44"/>
                    <a:pt x="1395" y="44"/>
                    <a:pt x="1395" y="43"/>
                  </a:cubicBezTo>
                  <a:cubicBezTo>
                    <a:pt x="1395" y="43"/>
                    <a:pt x="1395" y="43"/>
                    <a:pt x="1395" y="43"/>
                  </a:cubicBezTo>
                  <a:cubicBezTo>
                    <a:pt x="1396" y="43"/>
                    <a:pt x="1396" y="43"/>
                    <a:pt x="1396" y="43"/>
                  </a:cubicBezTo>
                  <a:cubicBezTo>
                    <a:pt x="1396" y="42"/>
                    <a:pt x="1396" y="42"/>
                    <a:pt x="1396" y="42"/>
                  </a:cubicBezTo>
                  <a:cubicBezTo>
                    <a:pt x="1396" y="42"/>
                    <a:pt x="1396" y="42"/>
                    <a:pt x="1396" y="42"/>
                  </a:cubicBezTo>
                  <a:cubicBezTo>
                    <a:pt x="1396" y="42"/>
                    <a:pt x="1396" y="42"/>
                    <a:pt x="1396" y="41"/>
                  </a:cubicBezTo>
                  <a:cubicBezTo>
                    <a:pt x="1396" y="41"/>
                    <a:pt x="1396" y="41"/>
                    <a:pt x="1396" y="41"/>
                  </a:cubicBezTo>
                  <a:cubicBezTo>
                    <a:pt x="1397" y="41"/>
                    <a:pt x="1396" y="40"/>
                    <a:pt x="1397" y="40"/>
                  </a:cubicBezTo>
                  <a:cubicBezTo>
                    <a:pt x="1397" y="40"/>
                    <a:pt x="1397" y="40"/>
                    <a:pt x="1397" y="40"/>
                  </a:cubicBezTo>
                  <a:cubicBezTo>
                    <a:pt x="1397" y="39"/>
                    <a:pt x="1397" y="39"/>
                    <a:pt x="1397" y="38"/>
                  </a:cubicBezTo>
                  <a:cubicBezTo>
                    <a:pt x="1397" y="38"/>
                    <a:pt x="1397" y="38"/>
                    <a:pt x="1397" y="38"/>
                  </a:cubicBezTo>
                  <a:cubicBezTo>
                    <a:pt x="1397" y="37"/>
                    <a:pt x="1397" y="37"/>
                    <a:pt x="1397" y="36"/>
                  </a:cubicBezTo>
                  <a:cubicBezTo>
                    <a:pt x="1397" y="36"/>
                    <a:pt x="1397" y="36"/>
                    <a:pt x="1397" y="35"/>
                  </a:cubicBezTo>
                  <a:cubicBezTo>
                    <a:pt x="1397" y="33"/>
                    <a:pt x="1397" y="30"/>
                    <a:pt x="1397" y="27"/>
                  </a:cubicBezTo>
                  <a:cubicBezTo>
                    <a:pt x="1397" y="27"/>
                    <a:pt x="1397" y="27"/>
                    <a:pt x="1397" y="27"/>
                  </a:cubicBezTo>
                  <a:cubicBezTo>
                    <a:pt x="1397" y="26"/>
                    <a:pt x="1397" y="25"/>
                    <a:pt x="1397" y="25"/>
                  </a:cubicBezTo>
                  <a:cubicBezTo>
                    <a:pt x="1397" y="25"/>
                    <a:pt x="1397" y="25"/>
                    <a:pt x="1397" y="25"/>
                  </a:cubicBezTo>
                  <a:cubicBezTo>
                    <a:pt x="1397" y="25"/>
                    <a:pt x="1397" y="25"/>
                    <a:pt x="1397" y="25"/>
                  </a:cubicBezTo>
                  <a:cubicBezTo>
                    <a:pt x="1397" y="24"/>
                    <a:pt x="1397" y="24"/>
                    <a:pt x="1397" y="24"/>
                  </a:cubicBezTo>
                  <a:cubicBezTo>
                    <a:pt x="1396" y="23"/>
                    <a:pt x="1396" y="23"/>
                    <a:pt x="1396" y="23"/>
                  </a:cubicBezTo>
                  <a:cubicBezTo>
                    <a:pt x="1396" y="23"/>
                    <a:pt x="1396" y="23"/>
                    <a:pt x="1396" y="23"/>
                  </a:cubicBezTo>
                  <a:cubicBezTo>
                    <a:pt x="1396" y="23"/>
                    <a:pt x="1396" y="22"/>
                    <a:pt x="1396" y="22"/>
                  </a:cubicBezTo>
                  <a:cubicBezTo>
                    <a:pt x="1396" y="22"/>
                    <a:pt x="1396" y="22"/>
                    <a:pt x="1396" y="22"/>
                  </a:cubicBezTo>
                  <a:cubicBezTo>
                    <a:pt x="1396" y="22"/>
                    <a:pt x="1396" y="21"/>
                    <a:pt x="1396" y="21"/>
                  </a:cubicBezTo>
                  <a:cubicBezTo>
                    <a:pt x="1396" y="21"/>
                    <a:pt x="1396" y="21"/>
                    <a:pt x="1396" y="21"/>
                  </a:cubicBezTo>
                  <a:cubicBezTo>
                    <a:pt x="1396" y="21"/>
                    <a:pt x="1396" y="21"/>
                    <a:pt x="1395" y="20"/>
                  </a:cubicBezTo>
                  <a:cubicBezTo>
                    <a:pt x="1395" y="20"/>
                    <a:pt x="1395" y="20"/>
                    <a:pt x="1395" y="20"/>
                  </a:cubicBezTo>
                  <a:cubicBezTo>
                    <a:pt x="1395" y="20"/>
                    <a:pt x="1395" y="20"/>
                    <a:pt x="1395" y="20"/>
                  </a:cubicBezTo>
                  <a:cubicBezTo>
                    <a:pt x="1395" y="20"/>
                    <a:pt x="1395" y="20"/>
                    <a:pt x="1395" y="20"/>
                  </a:cubicBezTo>
                  <a:cubicBezTo>
                    <a:pt x="1395" y="20"/>
                    <a:pt x="1395" y="20"/>
                    <a:pt x="1395" y="20"/>
                  </a:cubicBezTo>
                  <a:cubicBezTo>
                    <a:pt x="1395" y="19"/>
                    <a:pt x="1395" y="19"/>
                    <a:pt x="1395" y="19"/>
                  </a:cubicBezTo>
                  <a:cubicBezTo>
                    <a:pt x="1395" y="19"/>
                    <a:pt x="1395" y="19"/>
                    <a:pt x="1395" y="19"/>
                  </a:cubicBezTo>
                  <a:cubicBezTo>
                    <a:pt x="1395" y="19"/>
                    <a:pt x="1395" y="19"/>
                    <a:pt x="1395" y="19"/>
                  </a:cubicBezTo>
                  <a:cubicBezTo>
                    <a:pt x="1395" y="19"/>
                    <a:pt x="1395" y="18"/>
                    <a:pt x="1394" y="18"/>
                  </a:cubicBezTo>
                  <a:cubicBezTo>
                    <a:pt x="1394" y="18"/>
                    <a:pt x="1394" y="18"/>
                    <a:pt x="1394" y="18"/>
                  </a:cubicBezTo>
                  <a:cubicBezTo>
                    <a:pt x="1394" y="18"/>
                    <a:pt x="1394" y="18"/>
                    <a:pt x="1394" y="18"/>
                  </a:cubicBezTo>
                  <a:cubicBezTo>
                    <a:pt x="1394" y="18"/>
                    <a:pt x="1394" y="18"/>
                    <a:pt x="1394" y="18"/>
                  </a:cubicBezTo>
                  <a:cubicBezTo>
                    <a:pt x="1394" y="17"/>
                    <a:pt x="1394" y="17"/>
                    <a:pt x="1394" y="17"/>
                  </a:cubicBezTo>
                  <a:cubicBezTo>
                    <a:pt x="1394" y="17"/>
                    <a:pt x="1394" y="17"/>
                    <a:pt x="1394" y="17"/>
                  </a:cubicBezTo>
                  <a:cubicBezTo>
                    <a:pt x="1394" y="17"/>
                    <a:pt x="1393" y="17"/>
                    <a:pt x="1393" y="17"/>
                  </a:cubicBezTo>
                  <a:cubicBezTo>
                    <a:pt x="1393" y="17"/>
                    <a:pt x="1393" y="17"/>
                    <a:pt x="1393" y="17"/>
                  </a:cubicBezTo>
                  <a:cubicBezTo>
                    <a:pt x="1393" y="16"/>
                    <a:pt x="1393" y="16"/>
                    <a:pt x="1393" y="16"/>
                  </a:cubicBezTo>
                  <a:cubicBezTo>
                    <a:pt x="1393" y="16"/>
                    <a:pt x="1393" y="16"/>
                    <a:pt x="1393" y="16"/>
                  </a:cubicBezTo>
                  <a:cubicBezTo>
                    <a:pt x="1393" y="16"/>
                    <a:pt x="1393" y="16"/>
                    <a:pt x="1393" y="16"/>
                  </a:cubicBezTo>
                  <a:cubicBezTo>
                    <a:pt x="1393" y="16"/>
                    <a:pt x="1393" y="16"/>
                    <a:pt x="1393" y="16"/>
                  </a:cubicBezTo>
                  <a:cubicBezTo>
                    <a:pt x="1393" y="15"/>
                    <a:pt x="1392" y="15"/>
                    <a:pt x="1392" y="15"/>
                  </a:cubicBezTo>
                  <a:cubicBezTo>
                    <a:pt x="1392" y="15"/>
                    <a:pt x="1392" y="15"/>
                    <a:pt x="1392" y="15"/>
                  </a:cubicBezTo>
                  <a:cubicBezTo>
                    <a:pt x="1392" y="15"/>
                    <a:pt x="1392" y="15"/>
                    <a:pt x="1392" y="15"/>
                  </a:cubicBezTo>
                  <a:cubicBezTo>
                    <a:pt x="1392" y="15"/>
                    <a:pt x="1392" y="15"/>
                    <a:pt x="1392" y="15"/>
                  </a:cubicBezTo>
                  <a:cubicBezTo>
                    <a:pt x="1392" y="14"/>
                    <a:pt x="1392" y="14"/>
                    <a:pt x="1392" y="14"/>
                  </a:cubicBezTo>
                  <a:cubicBezTo>
                    <a:pt x="1392" y="14"/>
                    <a:pt x="1392" y="14"/>
                    <a:pt x="1392" y="14"/>
                  </a:cubicBezTo>
                  <a:cubicBezTo>
                    <a:pt x="1392" y="14"/>
                    <a:pt x="1391" y="14"/>
                    <a:pt x="1391" y="14"/>
                  </a:cubicBezTo>
                  <a:cubicBezTo>
                    <a:pt x="1391" y="14"/>
                    <a:pt x="1391" y="14"/>
                    <a:pt x="1391" y="14"/>
                  </a:cubicBezTo>
                  <a:cubicBezTo>
                    <a:pt x="1391" y="14"/>
                    <a:pt x="1391" y="14"/>
                    <a:pt x="1391" y="13"/>
                  </a:cubicBezTo>
                  <a:cubicBezTo>
                    <a:pt x="1391" y="14"/>
                    <a:pt x="1391" y="14"/>
                    <a:pt x="1391" y="14"/>
                  </a:cubicBezTo>
                  <a:cubicBezTo>
                    <a:pt x="1391" y="13"/>
                    <a:pt x="1391" y="13"/>
                    <a:pt x="1391" y="13"/>
                  </a:cubicBezTo>
                  <a:cubicBezTo>
                    <a:pt x="1391" y="13"/>
                    <a:pt x="1391" y="13"/>
                    <a:pt x="1391" y="13"/>
                  </a:cubicBezTo>
                  <a:cubicBezTo>
                    <a:pt x="1390" y="13"/>
                    <a:pt x="1390" y="13"/>
                    <a:pt x="1390" y="13"/>
                  </a:cubicBezTo>
                  <a:cubicBezTo>
                    <a:pt x="1390" y="13"/>
                    <a:pt x="1390" y="13"/>
                    <a:pt x="1390" y="13"/>
                  </a:cubicBezTo>
                  <a:cubicBezTo>
                    <a:pt x="1390" y="13"/>
                    <a:pt x="1390" y="12"/>
                    <a:pt x="1390" y="12"/>
                  </a:cubicBezTo>
                  <a:cubicBezTo>
                    <a:pt x="1390" y="12"/>
                    <a:pt x="1390" y="12"/>
                    <a:pt x="1390" y="12"/>
                  </a:cubicBezTo>
                  <a:cubicBezTo>
                    <a:pt x="1390" y="12"/>
                    <a:pt x="1390" y="12"/>
                    <a:pt x="1389" y="12"/>
                  </a:cubicBezTo>
                  <a:cubicBezTo>
                    <a:pt x="1389" y="12"/>
                    <a:pt x="1389" y="12"/>
                    <a:pt x="1389" y="12"/>
                  </a:cubicBezTo>
                  <a:cubicBezTo>
                    <a:pt x="1389" y="12"/>
                    <a:pt x="1389" y="12"/>
                    <a:pt x="1389" y="11"/>
                  </a:cubicBezTo>
                  <a:cubicBezTo>
                    <a:pt x="1389" y="11"/>
                    <a:pt x="1389" y="11"/>
                    <a:pt x="1389" y="11"/>
                  </a:cubicBezTo>
                  <a:cubicBezTo>
                    <a:pt x="1388" y="11"/>
                    <a:pt x="1388" y="11"/>
                    <a:pt x="1388" y="11"/>
                  </a:cubicBezTo>
                  <a:cubicBezTo>
                    <a:pt x="1388" y="11"/>
                    <a:pt x="1388" y="11"/>
                    <a:pt x="1388" y="11"/>
                  </a:cubicBezTo>
                  <a:cubicBezTo>
                    <a:pt x="1388" y="11"/>
                    <a:pt x="1388" y="11"/>
                    <a:pt x="1388" y="11"/>
                  </a:cubicBezTo>
                  <a:cubicBezTo>
                    <a:pt x="1388" y="11"/>
                    <a:pt x="1388" y="11"/>
                    <a:pt x="1388" y="11"/>
                  </a:cubicBezTo>
                  <a:cubicBezTo>
                    <a:pt x="1388" y="10"/>
                    <a:pt x="1387" y="11"/>
                    <a:pt x="1387" y="10"/>
                  </a:cubicBezTo>
                  <a:cubicBezTo>
                    <a:pt x="1387" y="10"/>
                    <a:pt x="1387" y="10"/>
                    <a:pt x="1387" y="10"/>
                  </a:cubicBezTo>
                  <a:cubicBezTo>
                    <a:pt x="1387" y="10"/>
                    <a:pt x="1387" y="10"/>
                    <a:pt x="1387" y="10"/>
                  </a:cubicBezTo>
                  <a:cubicBezTo>
                    <a:pt x="1387" y="10"/>
                    <a:pt x="1387" y="10"/>
                    <a:pt x="1387" y="10"/>
                  </a:cubicBezTo>
                  <a:cubicBezTo>
                    <a:pt x="1387" y="10"/>
                    <a:pt x="1386" y="10"/>
                    <a:pt x="1386" y="10"/>
                  </a:cubicBezTo>
                  <a:cubicBezTo>
                    <a:pt x="1386" y="10"/>
                    <a:pt x="1386" y="10"/>
                    <a:pt x="1386" y="10"/>
                  </a:cubicBezTo>
                  <a:cubicBezTo>
                    <a:pt x="1386" y="9"/>
                    <a:pt x="1386" y="9"/>
                    <a:pt x="1385" y="9"/>
                  </a:cubicBezTo>
                  <a:cubicBezTo>
                    <a:pt x="1385" y="9"/>
                    <a:pt x="1385" y="9"/>
                    <a:pt x="1385" y="9"/>
                  </a:cubicBezTo>
                  <a:cubicBezTo>
                    <a:pt x="1385" y="9"/>
                    <a:pt x="1385" y="9"/>
                    <a:pt x="1385" y="9"/>
                  </a:cubicBezTo>
                  <a:cubicBezTo>
                    <a:pt x="1385" y="9"/>
                    <a:pt x="1385" y="9"/>
                    <a:pt x="1385" y="9"/>
                  </a:cubicBezTo>
                  <a:cubicBezTo>
                    <a:pt x="1385" y="9"/>
                    <a:pt x="1384" y="9"/>
                    <a:pt x="1384" y="9"/>
                  </a:cubicBezTo>
                  <a:cubicBezTo>
                    <a:pt x="1384" y="9"/>
                    <a:pt x="1384" y="9"/>
                    <a:pt x="1384" y="9"/>
                  </a:cubicBezTo>
                  <a:cubicBezTo>
                    <a:pt x="1384" y="9"/>
                    <a:pt x="1384" y="9"/>
                    <a:pt x="1384" y="9"/>
                  </a:cubicBezTo>
                  <a:cubicBezTo>
                    <a:pt x="1384" y="8"/>
                    <a:pt x="1383" y="8"/>
                    <a:pt x="1383" y="8"/>
                  </a:cubicBezTo>
                  <a:cubicBezTo>
                    <a:pt x="1383" y="8"/>
                    <a:pt x="1383" y="8"/>
                    <a:pt x="1383" y="8"/>
                  </a:cubicBezTo>
                  <a:cubicBezTo>
                    <a:pt x="1383" y="8"/>
                    <a:pt x="1383" y="8"/>
                    <a:pt x="1383" y="8"/>
                  </a:cubicBezTo>
                  <a:cubicBezTo>
                    <a:pt x="1383" y="8"/>
                    <a:pt x="1383" y="8"/>
                    <a:pt x="1383" y="8"/>
                  </a:cubicBezTo>
                  <a:cubicBezTo>
                    <a:pt x="1382" y="8"/>
                    <a:pt x="1382" y="8"/>
                    <a:pt x="1382" y="8"/>
                  </a:cubicBezTo>
                  <a:cubicBezTo>
                    <a:pt x="1382" y="8"/>
                    <a:pt x="1382" y="8"/>
                    <a:pt x="1382" y="8"/>
                  </a:cubicBezTo>
                  <a:cubicBezTo>
                    <a:pt x="1382" y="8"/>
                    <a:pt x="1382" y="8"/>
                    <a:pt x="1382" y="8"/>
                  </a:cubicBezTo>
                  <a:cubicBezTo>
                    <a:pt x="1381" y="7"/>
                    <a:pt x="1381" y="7"/>
                    <a:pt x="1381" y="7"/>
                  </a:cubicBezTo>
                  <a:cubicBezTo>
                    <a:pt x="1381" y="7"/>
                    <a:pt x="1381" y="7"/>
                    <a:pt x="1381" y="7"/>
                  </a:cubicBezTo>
                  <a:cubicBezTo>
                    <a:pt x="1381" y="7"/>
                    <a:pt x="1381" y="7"/>
                    <a:pt x="1381" y="7"/>
                  </a:cubicBezTo>
                  <a:cubicBezTo>
                    <a:pt x="1380" y="7"/>
                    <a:pt x="1380" y="7"/>
                    <a:pt x="1379" y="7"/>
                  </a:cubicBezTo>
                  <a:cubicBezTo>
                    <a:pt x="1379" y="7"/>
                    <a:pt x="1379" y="7"/>
                    <a:pt x="1379" y="7"/>
                  </a:cubicBezTo>
                  <a:cubicBezTo>
                    <a:pt x="1379" y="6"/>
                    <a:pt x="1378" y="7"/>
                    <a:pt x="1378" y="7"/>
                  </a:cubicBezTo>
                  <a:cubicBezTo>
                    <a:pt x="1378" y="7"/>
                    <a:pt x="1378" y="7"/>
                    <a:pt x="1378" y="6"/>
                  </a:cubicBezTo>
                  <a:cubicBezTo>
                    <a:pt x="1377" y="6"/>
                    <a:pt x="1377" y="6"/>
                    <a:pt x="1376" y="6"/>
                  </a:cubicBezTo>
                  <a:cubicBezTo>
                    <a:pt x="1376" y="6"/>
                    <a:pt x="1376" y="6"/>
                    <a:pt x="1376" y="6"/>
                  </a:cubicBezTo>
                  <a:cubicBezTo>
                    <a:pt x="1375" y="6"/>
                    <a:pt x="1374" y="6"/>
                    <a:pt x="1373" y="6"/>
                  </a:cubicBezTo>
                  <a:cubicBezTo>
                    <a:pt x="1373" y="6"/>
                    <a:pt x="1372" y="6"/>
                    <a:pt x="1371" y="6"/>
                  </a:cubicBezTo>
                  <a:cubicBezTo>
                    <a:pt x="1371" y="6"/>
                    <a:pt x="1370" y="6"/>
                    <a:pt x="1369" y="6"/>
                  </a:cubicBezTo>
                  <a:cubicBezTo>
                    <a:pt x="1368" y="6"/>
                    <a:pt x="1368" y="6"/>
                    <a:pt x="1367" y="6"/>
                  </a:cubicBezTo>
                  <a:cubicBezTo>
                    <a:pt x="1366" y="6"/>
                    <a:pt x="1365" y="6"/>
                    <a:pt x="1364" y="6"/>
                  </a:cubicBezTo>
                  <a:cubicBezTo>
                    <a:pt x="1364" y="6"/>
                    <a:pt x="1364" y="6"/>
                    <a:pt x="1364" y="6"/>
                  </a:cubicBezTo>
                  <a:cubicBezTo>
                    <a:pt x="1363" y="7"/>
                    <a:pt x="1363" y="6"/>
                    <a:pt x="1362" y="6"/>
                  </a:cubicBezTo>
                  <a:cubicBezTo>
                    <a:pt x="1362" y="7"/>
                    <a:pt x="1362" y="7"/>
                    <a:pt x="1362" y="7"/>
                  </a:cubicBezTo>
                  <a:cubicBezTo>
                    <a:pt x="1361" y="7"/>
                    <a:pt x="1361" y="6"/>
                    <a:pt x="1360" y="7"/>
                  </a:cubicBezTo>
                  <a:cubicBezTo>
                    <a:pt x="1360" y="7"/>
                    <a:pt x="1360" y="7"/>
                    <a:pt x="1360" y="7"/>
                  </a:cubicBezTo>
                  <a:cubicBezTo>
                    <a:pt x="1360" y="7"/>
                    <a:pt x="1360" y="7"/>
                    <a:pt x="1359" y="7"/>
                  </a:cubicBezTo>
                  <a:cubicBezTo>
                    <a:pt x="1359" y="7"/>
                    <a:pt x="1359" y="7"/>
                    <a:pt x="1359" y="7"/>
                  </a:cubicBezTo>
                  <a:cubicBezTo>
                    <a:pt x="1359" y="7"/>
                    <a:pt x="1358" y="7"/>
                    <a:pt x="1358" y="7"/>
                  </a:cubicBezTo>
                  <a:cubicBezTo>
                    <a:pt x="1358" y="8"/>
                    <a:pt x="1358" y="8"/>
                    <a:pt x="1358" y="8"/>
                  </a:cubicBezTo>
                  <a:cubicBezTo>
                    <a:pt x="1358" y="8"/>
                    <a:pt x="1357" y="8"/>
                    <a:pt x="1357" y="8"/>
                  </a:cubicBezTo>
                  <a:cubicBezTo>
                    <a:pt x="1357" y="8"/>
                    <a:pt x="1357" y="8"/>
                    <a:pt x="1357" y="8"/>
                  </a:cubicBezTo>
                  <a:cubicBezTo>
                    <a:pt x="1357" y="8"/>
                    <a:pt x="1357" y="8"/>
                    <a:pt x="1357" y="8"/>
                  </a:cubicBezTo>
                  <a:cubicBezTo>
                    <a:pt x="1357" y="8"/>
                    <a:pt x="1356" y="8"/>
                    <a:pt x="1356" y="8"/>
                  </a:cubicBezTo>
                  <a:cubicBezTo>
                    <a:pt x="1356" y="8"/>
                    <a:pt x="1356" y="8"/>
                    <a:pt x="1356" y="8"/>
                  </a:cubicBezTo>
                  <a:cubicBezTo>
                    <a:pt x="1356" y="8"/>
                    <a:pt x="1356" y="8"/>
                    <a:pt x="1355" y="9"/>
                  </a:cubicBezTo>
                  <a:cubicBezTo>
                    <a:pt x="1355" y="9"/>
                    <a:pt x="1355" y="9"/>
                    <a:pt x="1355" y="9"/>
                  </a:cubicBezTo>
                  <a:cubicBezTo>
                    <a:pt x="1355" y="9"/>
                    <a:pt x="1355" y="9"/>
                    <a:pt x="1355" y="9"/>
                  </a:cubicBezTo>
                  <a:cubicBezTo>
                    <a:pt x="1355" y="9"/>
                    <a:pt x="1355" y="9"/>
                    <a:pt x="1355" y="9"/>
                  </a:cubicBezTo>
                  <a:cubicBezTo>
                    <a:pt x="1355" y="9"/>
                    <a:pt x="1354" y="9"/>
                    <a:pt x="1354" y="9"/>
                  </a:cubicBezTo>
                  <a:cubicBezTo>
                    <a:pt x="1354" y="9"/>
                    <a:pt x="1354" y="9"/>
                    <a:pt x="1354" y="9"/>
                  </a:cubicBezTo>
                  <a:cubicBezTo>
                    <a:pt x="1354" y="9"/>
                    <a:pt x="1354" y="9"/>
                    <a:pt x="1353" y="10"/>
                  </a:cubicBezTo>
                  <a:cubicBezTo>
                    <a:pt x="1353" y="10"/>
                    <a:pt x="1353" y="10"/>
                    <a:pt x="1353" y="10"/>
                  </a:cubicBezTo>
                  <a:cubicBezTo>
                    <a:pt x="1353" y="10"/>
                    <a:pt x="1353" y="10"/>
                    <a:pt x="1353" y="10"/>
                  </a:cubicBezTo>
                  <a:cubicBezTo>
                    <a:pt x="1353" y="10"/>
                    <a:pt x="1353" y="10"/>
                    <a:pt x="1353" y="10"/>
                  </a:cubicBezTo>
                  <a:cubicBezTo>
                    <a:pt x="1353" y="10"/>
                    <a:pt x="1352" y="10"/>
                    <a:pt x="1352" y="10"/>
                  </a:cubicBezTo>
                  <a:cubicBezTo>
                    <a:pt x="1352" y="10"/>
                    <a:pt x="1352" y="10"/>
                    <a:pt x="1352" y="10"/>
                  </a:cubicBezTo>
                  <a:cubicBezTo>
                    <a:pt x="1352" y="11"/>
                    <a:pt x="1352" y="10"/>
                    <a:pt x="1352" y="11"/>
                  </a:cubicBezTo>
                  <a:cubicBezTo>
                    <a:pt x="1352" y="11"/>
                    <a:pt x="1352" y="11"/>
                    <a:pt x="1352" y="11"/>
                  </a:cubicBezTo>
                  <a:cubicBezTo>
                    <a:pt x="1351" y="11"/>
                    <a:pt x="1351" y="11"/>
                    <a:pt x="1351" y="11"/>
                  </a:cubicBezTo>
                  <a:cubicBezTo>
                    <a:pt x="1351" y="11"/>
                    <a:pt x="1351" y="11"/>
                    <a:pt x="1351" y="11"/>
                  </a:cubicBezTo>
                  <a:cubicBezTo>
                    <a:pt x="1350" y="11"/>
                    <a:pt x="1350" y="12"/>
                    <a:pt x="1350" y="12"/>
                  </a:cubicBezTo>
                  <a:cubicBezTo>
                    <a:pt x="1350" y="12"/>
                    <a:pt x="1350" y="12"/>
                    <a:pt x="1350" y="12"/>
                  </a:cubicBezTo>
                  <a:cubicBezTo>
                    <a:pt x="1350" y="12"/>
                    <a:pt x="1350" y="12"/>
                    <a:pt x="1350" y="12"/>
                  </a:cubicBezTo>
                  <a:cubicBezTo>
                    <a:pt x="1350" y="12"/>
                    <a:pt x="1350" y="12"/>
                    <a:pt x="1350" y="12"/>
                  </a:cubicBezTo>
                  <a:cubicBezTo>
                    <a:pt x="1349" y="12"/>
                    <a:pt x="1349" y="12"/>
                    <a:pt x="1349" y="12"/>
                  </a:cubicBezTo>
                  <a:cubicBezTo>
                    <a:pt x="1349" y="12"/>
                    <a:pt x="1349" y="12"/>
                    <a:pt x="1349" y="12"/>
                  </a:cubicBezTo>
                  <a:cubicBezTo>
                    <a:pt x="1349" y="13"/>
                    <a:pt x="1349" y="13"/>
                    <a:pt x="1349" y="13"/>
                  </a:cubicBezTo>
                  <a:cubicBezTo>
                    <a:pt x="1349" y="13"/>
                    <a:pt x="1349" y="13"/>
                    <a:pt x="1349" y="13"/>
                  </a:cubicBezTo>
                  <a:cubicBezTo>
                    <a:pt x="1349" y="13"/>
                    <a:pt x="1348" y="13"/>
                    <a:pt x="1348" y="14"/>
                  </a:cubicBezTo>
                  <a:cubicBezTo>
                    <a:pt x="1348" y="14"/>
                    <a:pt x="1348" y="14"/>
                    <a:pt x="1348" y="14"/>
                  </a:cubicBezTo>
                  <a:cubicBezTo>
                    <a:pt x="1348" y="14"/>
                    <a:pt x="1348" y="14"/>
                    <a:pt x="1347" y="14"/>
                  </a:cubicBezTo>
                  <a:cubicBezTo>
                    <a:pt x="1348" y="14"/>
                    <a:pt x="1348" y="14"/>
                    <a:pt x="1348" y="14"/>
                  </a:cubicBezTo>
                  <a:cubicBezTo>
                    <a:pt x="1347" y="14"/>
                    <a:pt x="1347" y="14"/>
                    <a:pt x="1347" y="14"/>
                  </a:cubicBezTo>
                  <a:cubicBezTo>
                    <a:pt x="1347" y="14"/>
                    <a:pt x="1347" y="14"/>
                    <a:pt x="1347" y="14"/>
                  </a:cubicBezTo>
                  <a:cubicBezTo>
                    <a:pt x="1347" y="14"/>
                    <a:pt x="1347" y="14"/>
                    <a:pt x="1347" y="15"/>
                  </a:cubicBezTo>
                  <a:cubicBezTo>
                    <a:pt x="1347" y="15"/>
                    <a:pt x="1347" y="15"/>
                    <a:pt x="1347" y="15"/>
                  </a:cubicBezTo>
                  <a:cubicBezTo>
                    <a:pt x="1346" y="17"/>
                    <a:pt x="1347" y="19"/>
                    <a:pt x="1347" y="22"/>
                  </a:cubicBezTo>
                  <a:cubicBezTo>
                    <a:pt x="1347" y="23"/>
                    <a:pt x="1346" y="25"/>
                    <a:pt x="1347" y="26"/>
                  </a:cubicBezTo>
                  <a:cubicBezTo>
                    <a:pt x="1348" y="25"/>
                    <a:pt x="1349" y="24"/>
                    <a:pt x="1350" y="23"/>
                  </a:cubicBezTo>
                  <a:cubicBezTo>
                    <a:pt x="1350" y="23"/>
                    <a:pt x="1350" y="23"/>
                    <a:pt x="1350" y="23"/>
                  </a:cubicBezTo>
                  <a:cubicBezTo>
                    <a:pt x="1350" y="23"/>
                    <a:pt x="1350" y="23"/>
                    <a:pt x="1350" y="23"/>
                  </a:cubicBezTo>
                  <a:cubicBezTo>
                    <a:pt x="1350" y="23"/>
                    <a:pt x="1350" y="23"/>
                    <a:pt x="1350" y="23"/>
                  </a:cubicBezTo>
                  <a:cubicBezTo>
                    <a:pt x="1350" y="23"/>
                    <a:pt x="1350" y="23"/>
                    <a:pt x="1351" y="23"/>
                  </a:cubicBezTo>
                  <a:cubicBezTo>
                    <a:pt x="1351" y="23"/>
                    <a:pt x="1351" y="23"/>
                    <a:pt x="1351" y="23"/>
                  </a:cubicBezTo>
                  <a:cubicBezTo>
                    <a:pt x="1351" y="23"/>
                    <a:pt x="1351" y="23"/>
                    <a:pt x="1351" y="22"/>
                  </a:cubicBezTo>
                  <a:cubicBezTo>
                    <a:pt x="1351" y="22"/>
                    <a:pt x="1351" y="22"/>
                    <a:pt x="1351" y="22"/>
                  </a:cubicBezTo>
                  <a:cubicBezTo>
                    <a:pt x="1351" y="22"/>
                    <a:pt x="1351" y="22"/>
                    <a:pt x="1351" y="22"/>
                  </a:cubicBezTo>
                  <a:cubicBezTo>
                    <a:pt x="1351" y="22"/>
                    <a:pt x="1351" y="22"/>
                    <a:pt x="1351" y="22"/>
                  </a:cubicBezTo>
                  <a:cubicBezTo>
                    <a:pt x="1351" y="22"/>
                    <a:pt x="1352" y="22"/>
                    <a:pt x="1352" y="22"/>
                  </a:cubicBezTo>
                  <a:cubicBezTo>
                    <a:pt x="1352" y="22"/>
                    <a:pt x="1352" y="22"/>
                    <a:pt x="1352" y="22"/>
                  </a:cubicBezTo>
                  <a:cubicBezTo>
                    <a:pt x="1352" y="22"/>
                    <a:pt x="1352" y="22"/>
                    <a:pt x="1352" y="21"/>
                  </a:cubicBezTo>
                  <a:cubicBezTo>
                    <a:pt x="1352" y="21"/>
                    <a:pt x="1352" y="21"/>
                    <a:pt x="1352" y="21"/>
                  </a:cubicBezTo>
                  <a:cubicBezTo>
                    <a:pt x="1352" y="21"/>
                    <a:pt x="1353" y="21"/>
                    <a:pt x="1353" y="21"/>
                  </a:cubicBezTo>
                  <a:cubicBezTo>
                    <a:pt x="1353" y="21"/>
                    <a:pt x="1353" y="21"/>
                    <a:pt x="1353" y="21"/>
                  </a:cubicBezTo>
                  <a:cubicBezTo>
                    <a:pt x="1353" y="21"/>
                    <a:pt x="1353" y="21"/>
                    <a:pt x="1353" y="21"/>
                  </a:cubicBezTo>
                  <a:cubicBezTo>
                    <a:pt x="1353" y="21"/>
                    <a:pt x="1353" y="21"/>
                    <a:pt x="1353" y="21"/>
                  </a:cubicBezTo>
                  <a:cubicBezTo>
                    <a:pt x="1353" y="21"/>
                    <a:pt x="1354" y="21"/>
                    <a:pt x="1354" y="20"/>
                  </a:cubicBezTo>
                  <a:cubicBezTo>
                    <a:pt x="1354" y="20"/>
                    <a:pt x="1354" y="20"/>
                    <a:pt x="1354" y="20"/>
                  </a:cubicBezTo>
                  <a:cubicBezTo>
                    <a:pt x="1354" y="20"/>
                    <a:pt x="1354" y="20"/>
                    <a:pt x="1355" y="20"/>
                  </a:cubicBezTo>
                  <a:cubicBezTo>
                    <a:pt x="1355" y="20"/>
                    <a:pt x="1355" y="20"/>
                    <a:pt x="1355" y="20"/>
                  </a:cubicBezTo>
                  <a:cubicBezTo>
                    <a:pt x="1355" y="20"/>
                    <a:pt x="1355" y="20"/>
                    <a:pt x="1355" y="19"/>
                  </a:cubicBezTo>
                  <a:cubicBezTo>
                    <a:pt x="1355" y="19"/>
                    <a:pt x="1355" y="19"/>
                    <a:pt x="1355" y="19"/>
                  </a:cubicBezTo>
                  <a:cubicBezTo>
                    <a:pt x="1356" y="19"/>
                    <a:pt x="1356" y="19"/>
                    <a:pt x="1356" y="19"/>
                  </a:cubicBezTo>
                  <a:cubicBezTo>
                    <a:pt x="1356" y="19"/>
                    <a:pt x="1356" y="19"/>
                    <a:pt x="1356" y="19"/>
                  </a:cubicBezTo>
                  <a:cubicBezTo>
                    <a:pt x="1356" y="19"/>
                    <a:pt x="1356" y="19"/>
                    <a:pt x="1356" y="19"/>
                  </a:cubicBezTo>
                  <a:cubicBezTo>
                    <a:pt x="1356" y="19"/>
                    <a:pt x="1356" y="19"/>
                    <a:pt x="1356" y="19"/>
                  </a:cubicBezTo>
                  <a:cubicBezTo>
                    <a:pt x="1357" y="18"/>
                    <a:pt x="1357" y="19"/>
                    <a:pt x="1357" y="18"/>
                  </a:cubicBezTo>
                  <a:cubicBezTo>
                    <a:pt x="1357" y="18"/>
                    <a:pt x="1357" y="18"/>
                    <a:pt x="1357" y="18"/>
                  </a:cubicBezTo>
                  <a:cubicBezTo>
                    <a:pt x="1357" y="18"/>
                    <a:pt x="1358" y="18"/>
                    <a:pt x="1358" y="18"/>
                  </a:cubicBezTo>
                  <a:cubicBezTo>
                    <a:pt x="1358" y="18"/>
                    <a:pt x="1358" y="18"/>
                    <a:pt x="1358" y="18"/>
                  </a:cubicBezTo>
                  <a:cubicBezTo>
                    <a:pt x="1358" y="18"/>
                    <a:pt x="1358" y="18"/>
                    <a:pt x="1359" y="18"/>
                  </a:cubicBezTo>
                  <a:cubicBezTo>
                    <a:pt x="1359" y="18"/>
                    <a:pt x="1359" y="18"/>
                    <a:pt x="1359" y="18"/>
                  </a:cubicBezTo>
                  <a:cubicBezTo>
                    <a:pt x="1359" y="17"/>
                    <a:pt x="1359" y="17"/>
                    <a:pt x="1359" y="17"/>
                  </a:cubicBezTo>
                  <a:cubicBezTo>
                    <a:pt x="1359" y="17"/>
                    <a:pt x="1359" y="17"/>
                    <a:pt x="1359" y="17"/>
                  </a:cubicBezTo>
                  <a:cubicBezTo>
                    <a:pt x="1359" y="17"/>
                    <a:pt x="1360" y="17"/>
                    <a:pt x="1360" y="17"/>
                  </a:cubicBezTo>
                  <a:cubicBezTo>
                    <a:pt x="1360" y="17"/>
                    <a:pt x="1360" y="17"/>
                    <a:pt x="1360" y="17"/>
                  </a:cubicBezTo>
                  <a:cubicBezTo>
                    <a:pt x="1360" y="17"/>
                    <a:pt x="1360" y="17"/>
                    <a:pt x="1360" y="17"/>
                  </a:cubicBezTo>
                  <a:cubicBezTo>
                    <a:pt x="1360" y="17"/>
                    <a:pt x="1361" y="17"/>
                    <a:pt x="1361" y="17"/>
                  </a:cubicBezTo>
                  <a:cubicBezTo>
                    <a:pt x="1361" y="17"/>
                    <a:pt x="1361" y="17"/>
                    <a:pt x="1361" y="17"/>
                  </a:cubicBezTo>
                  <a:cubicBezTo>
                    <a:pt x="1361" y="16"/>
                    <a:pt x="1362" y="17"/>
                    <a:pt x="1362" y="16"/>
                  </a:cubicBezTo>
                  <a:cubicBezTo>
                    <a:pt x="1362" y="16"/>
                    <a:pt x="1362" y="16"/>
                    <a:pt x="1362" y="16"/>
                  </a:cubicBezTo>
                  <a:cubicBezTo>
                    <a:pt x="1362" y="16"/>
                    <a:pt x="1363" y="16"/>
                    <a:pt x="1363" y="16"/>
                  </a:cubicBezTo>
                  <a:cubicBezTo>
                    <a:pt x="1363" y="16"/>
                    <a:pt x="1363" y="16"/>
                    <a:pt x="1363" y="16"/>
                  </a:cubicBezTo>
                  <a:cubicBezTo>
                    <a:pt x="1363" y="16"/>
                    <a:pt x="1363" y="16"/>
                    <a:pt x="1363" y="16"/>
                  </a:cubicBezTo>
                  <a:cubicBezTo>
                    <a:pt x="1364" y="16"/>
                    <a:pt x="1364" y="16"/>
                    <a:pt x="1364" y="16"/>
                  </a:cubicBezTo>
                  <a:cubicBezTo>
                    <a:pt x="1365" y="15"/>
                    <a:pt x="1365" y="15"/>
                    <a:pt x="1365" y="15"/>
                  </a:cubicBezTo>
                  <a:cubicBezTo>
                    <a:pt x="1366" y="15"/>
                    <a:pt x="1366" y="16"/>
                    <a:pt x="1367" y="15"/>
                  </a:cubicBezTo>
                  <a:cubicBezTo>
                    <a:pt x="1367" y="15"/>
                    <a:pt x="1368" y="15"/>
                    <a:pt x="1368" y="15"/>
                  </a:cubicBezTo>
                  <a:cubicBezTo>
                    <a:pt x="1369" y="15"/>
                    <a:pt x="1369" y="15"/>
                    <a:pt x="1370" y="15"/>
                  </a:cubicBezTo>
                  <a:cubicBezTo>
                    <a:pt x="1371" y="15"/>
                    <a:pt x="1371" y="15"/>
                    <a:pt x="1371" y="15"/>
                  </a:cubicBezTo>
                  <a:cubicBezTo>
                    <a:pt x="1372" y="16"/>
                    <a:pt x="1373" y="15"/>
                    <a:pt x="1373" y="15"/>
                  </a:cubicBezTo>
                  <a:cubicBezTo>
                    <a:pt x="1373" y="15"/>
                    <a:pt x="1373" y="15"/>
                    <a:pt x="1373" y="15"/>
                  </a:cubicBezTo>
                  <a:cubicBezTo>
                    <a:pt x="1374" y="16"/>
                    <a:pt x="1374" y="16"/>
                    <a:pt x="1374" y="16"/>
                  </a:cubicBezTo>
                  <a:cubicBezTo>
                    <a:pt x="1374" y="16"/>
                    <a:pt x="1375" y="16"/>
                    <a:pt x="1375" y="16"/>
                  </a:cubicBezTo>
                  <a:cubicBezTo>
                    <a:pt x="1375" y="16"/>
                    <a:pt x="1375" y="16"/>
                    <a:pt x="1375" y="16"/>
                  </a:cubicBezTo>
                  <a:cubicBezTo>
                    <a:pt x="1375" y="16"/>
                    <a:pt x="1376" y="16"/>
                    <a:pt x="1376" y="16"/>
                  </a:cubicBezTo>
                  <a:cubicBezTo>
                    <a:pt x="1376" y="16"/>
                    <a:pt x="1376" y="16"/>
                    <a:pt x="1376" y="16"/>
                  </a:cubicBezTo>
                  <a:cubicBezTo>
                    <a:pt x="1376" y="17"/>
                    <a:pt x="1377" y="16"/>
                    <a:pt x="1377" y="17"/>
                  </a:cubicBezTo>
                  <a:cubicBezTo>
                    <a:pt x="1377" y="17"/>
                    <a:pt x="1377" y="17"/>
                    <a:pt x="1377" y="17"/>
                  </a:cubicBezTo>
                  <a:cubicBezTo>
                    <a:pt x="1377" y="17"/>
                    <a:pt x="1378" y="17"/>
                    <a:pt x="1378" y="17"/>
                  </a:cubicBezTo>
                  <a:cubicBezTo>
                    <a:pt x="1378" y="17"/>
                    <a:pt x="1378" y="17"/>
                    <a:pt x="1378" y="17"/>
                  </a:cubicBezTo>
                  <a:cubicBezTo>
                    <a:pt x="1378" y="17"/>
                    <a:pt x="1378" y="17"/>
                    <a:pt x="1378" y="17"/>
                  </a:cubicBezTo>
                  <a:cubicBezTo>
                    <a:pt x="1378" y="17"/>
                    <a:pt x="1378" y="17"/>
                    <a:pt x="1378" y="17"/>
                  </a:cubicBezTo>
                  <a:cubicBezTo>
                    <a:pt x="1379" y="17"/>
                    <a:pt x="1379" y="17"/>
                    <a:pt x="1379" y="18"/>
                  </a:cubicBezTo>
                  <a:cubicBezTo>
                    <a:pt x="1379" y="18"/>
                    <a:pt x="1379" y="18"/>
                    <a:pt x="1379" y="18"/>
                  </a:cubicBezTo>
                  <a:cubicBezTo>
                    <a:pt x="1379" y="18"/>
                    <a:pt x="1379" y="18"/>
                    <a:pt x="1380" y="18"/>
                  </a:cubicBezTo>
                  <a:cubicBezTo>
                    <a:pt x="1379" y="18"/>
                    <a:pt x="1379" y="18"/>
                    <a:pt x="1379" y="18"/>
                  </a:cubicBezTo>
                  <a:cubicBezTo>
                    <a:pt x="1380" y="18"/>
                    <a:pt x="1380" y="18"/>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1"/>
                    <a:pt x="1382" y="21"/>
                    <a:pt x="1383" y="21"/>
                  </a:cubicBezTo>
                  <a:cubicBezTo>
                    <a:pt x="1383" y="21"/>
                    <a:pt x="1383" y="21"/>
                    <a:pt x="1383" y="21"/>
                  </a:cubicBezTo>
                  <a:cubicBezTo>
                    <a:pt x="1383" y="21"/>
                    <a:pt x="1383" y="21"/>
                    <a:pt x="1383" y="21"/>
                  </a:cubicBezTo>
                  <a:cubicBezTo>
                    <a:pt x="1383" y="21"/>
                    <a:pt x="1383" y="21"/>
                    <a:pt x="1383" y="21"/>
                  </a:cubicBezTo>
                  <a:cubicBezTo>
                    <a:pt x="1383" y="21"/>
                    <a:pt x="1383" y="22"/>
                    <a:pt x="1383" y="22"/>
                  </a:cubicBezTo>
                  <a:cubicBezTo>
                    <a:pt x="1383" y="22"/>
                    <a:pt x="1383" y="22"/>
                    <a:pt x="1383" y="22"/>
                  </a:cubicBezTo>
                  <a:cubicBezTo>
                    <a:pt x="1383" y="22"/>
                    <a:pt x="1384" y="22"/>
                    <a:pt x="1384" y="22"/>
                  </a:cubicBezTo>
                  <a:cubicBezTo>
                    <a:pt x="1384" y="22"/>
                    <a:pt x="1384" y="22"/>
                    <a:pt x="1384" y="22"/>
                  </a:cubicBezTo>
                  <a:cubicBezTo>
                    <a:pt x="1384" y="22"/>
                    <a:pt x="1384" y="23"/>
                    <a:pt x="1384" y="23"/>
                  </a:cubicBezTo>
                  <a:cubicBezTo>
                    <a:pt x="1384" y="23"/>
                    <a:pt x="1384" y="23"/>
                    <a:pt x="1384" y="23"/>
                  </a:cubicBezTo>
                  <a:cubicBezTo>
                    <a:pt x="1384" y="23"/>
                    <a:pt x="1384" y="23"/>
                    <a:pt x="1384" y="24"/>
                  </a:cubicBezTo>
                  <a:cubicBezTo>
                    <a:pt x="1384" y="23"/>
                    <a:pt x="1384" y="23"/>
                    <a:pt x="1384" y="23"/>
                  </a:cubicBezTo>
                  <a:cubicBezTo>
                    <a:pt x="1385" y="24"/>
                    <a:pt x="1384" y="24"/>
                    <a:pt x="1385" y="24"/>
                  </a:cubicBezTo>
                  <a:cubicBezTo>
                    <a:pt x="1385" y="24"/>
                    <a:pt x="1385" y="24"/>
                    <a:pt x="1385" y="24"/>
                  </a:cubicBezTo>
                  <a:cubicBezTo>
                    <a:pt x="1385" y="24"/>
                    <a:pt x="1385" y="25"/>
                    <a:pt x="1385" y="25"/>
                  </a:cubicBezTo>
                  <a:cubicBezTo>
                    <a:pt x="1385" y="25"/>
                    <a:pt x="1385" y="25"/>
                    <a:pt x="1385" y="25"/>
                  </a:cubicBezTo>
                  <a:cubicBezTo>
                    <a:pt x="1385" y="25"/>
                    <a:pt x="1385" y="26"/>
                    <a:pt x="1385" y="26"/>
                  </a:cubicBezTo>
                  <a:cubicBezTo>
                    <a:pt x="1385" y="26"/>
                    <a:pt x="1385" y="26"/>
                    <a:pt x="1385" y="26"/>
                  </a:cubicBezTo>
                  <a:cubicBezTo>
                    <a:pt x="1386" y="26"/>
                    <a:pt x="1385" y="27"/>
                    <a:pt x="1386" y="27"/>
                  </a:cubicBezTo>
                  <a:cubicBezTo>
                    <a:pt x="1386" y="27"/>
                    <a:pt x="1386" y="27"/>
                    <a:pt x="1386" y="27"/>
                  </a:cubicBezTo>
                  <a:cubicBezTo>
                    <a:pt x="1386" y="28"/>
                    <a:pt x="1386" y="29"/>
                    <a:pt x="1386" y="29"/>
                  </a:cubicBezTo>
                  <a:cubicBezTo>
                    <a:pt x="1386" y="29"/>
                    <a:pt x="1386" y="29"/>
                    <a:pt x="1386" y="30"/>
                  </a:cubicBezTo>
                  <a:cubicBezTo>
                    <a:pt x="1386" y="31"/>
                    <a:pt x="1386" y="33"/>
                    <a:pt x="1386" y="35"/>
                  </a:cubicBezTo>
                  <a:cubicBezTo>
                    <a:pt x="1386" y="35"/>
                    <a:pt x="1386" y="35"/>
                    <a:pt x="1386" y="35"/>
                  </a:cubicBezTo>
                  <a:cubicBezTo>
                    <a:pt x="1386" y="36"/>
                    <a:pt x="1386" y="37"/>
                    <a:pt x="1386" y="37"/>
                  </a:cubicBezTo>
                  <a:close/>
                  <a:moveTo>
                    <a:pt x="603" y="123"/>
                  </a:moveTo>
                  <a:cubicBezTo>
                    <a:pt x="603" y="124"/>
                    <a:pt x="603" y="124"/>
                    <a:pt x="603" y="123"/>
                  </a:cubicBezTo>
                  <a:cubicBezTo>
                    <a:pt x="601" y="124"/>
                    <a:pt x="600" y="124"/>
                    <a:pt x="599" y="123"/>
                  </a:cubicBezTo>
                  <a:cubicBezTo>
                    <a:pt x="599" y="124"/>
                    <a:pt x="599" y="124"/>
                    <a:pt x="598" y="123"/>
                  </a:cubicBezTo>
                  <a:cubicBezTo>
                    <a:pt x="598" y="123"/>
                    <a:pt x="597" y="123"/>
                    <a:pt x="597" y="123"/>
                  </a:cubicBezTo>
                  <a:cubicBezTo>
                    <a:pt x="597" y="123"/>
                    <a:pt x="597" y="123"/>
                    <a:pt x="597" y="123"/>
                  </a:cubicBezTo>
                  <a:cubicBezTo>
                    <a:pt x="596" y="123"/>
                    <a:pt x="596" y="123"/>
                    <a:pt x="596" y="123"/>
                  </a:cubicBezTo>
                  <a:cubicBezTo>
                    <a:pt x="596" y="123"/>
                    <a:pt x="596" y="123"/>
                    <a:pt x="596" y="123"/>
                  </a:cubicBezTo>
                  <a:cubicBezTo>
                    <a:pt x="595" y="122"/>
                    <a:pt x="594" y="123"/>
                    <a:pt x="594" y="123"/>
                  </a:cubicBezTo>
                  <a:cubicBezTo>
                    <a:pt x="594" y="126"/>
                    <a:pt x="594" y="129"/>
                    <a:pt x="594" y="132"/>
                  </a:cubicBezTo>
                  <a:cubicBezTo>
                    <a:pt x="594" y="132"/>
                    <a:pt x="594" y="132"/>
                    <a:pt x="595" y="132"/>
                  </a:cubicBezTo>
                  <a:cubicBezTo>
                    <a:pt x="595" y="132"/>
                    <a:pt x="595" y="132"/>
                    <a:pt x="595" y="132"/>
                  </a:cubicBezTo>
                  <a:cubicBezTo>
                    <a:pt x="595" y="133"/>
                    <a:pt x="595" y="133"/>
                    <a:pt x="595" y="133"/>
                  </a:cubicBezTo>
                  <a:cubicBezTo>
                    <a:pt x="596" y="133"/>
                    <a:pt x="596" y="133"/>
                    <a:pt x="597" y="133"/>
                  </a:cubicBezTo>
                  <a:cubicBezTo>
                    <a:pt x="597" y="133"/>
                    <a:pt x="597" y="133"/>
                    <a:pt x="597" y="133"/>
                  </a:cubicBezTo>
                  <a:cubicBezTo>
                    <a:pt x="600" y="133"/>
                    <a:pt x="602" y="133"/>
                    <a:pt x="605" y="133"/>
                  </a:cubicBezTo>
                  <a:cubicBezTo>
                    <a:pt x="605" y="133"/>
                    <a:pt x="605" y="133"/>
                    <a:pt x="605" y="133"/>
                  </a:cubicBezTo>
                  <a:cubicBezTo>
                    <a:pt x="605" y="133"/>
                    <a:pt x="605" y="133"/>
                    <a:pt x="605" y="133"/>
                  </a:cubicBezTo>
                  <a:cubicBezTo>
                    <a:pt x="606" y="132"/>
                    <a:pt x="606" y="133"/>
                    <a:pt x="607" y="132"/>
                  </a:cubicBezTo>
                  <a:cubicBezTo>
                    <a:pt x="607" y="132"/>
                    <a:pt x="607" y="132"/>
                    <a:pt x="607" y="132"/>
                  </a:cubicBezTo>
                  <a:cubicBezTo>
                    <a:pt x="607" y="132"/>
                    <a:pt x="607" y="132"/>
                    <a:pt x="608" y="132"/>
                  </a:cubicBezTo>
                  <a:cubicBezTo>
                    <a:pt x="608" y="132"/>
                    <a:pt x="608" y="132"/>
                    <a:pt x="608" y="132"/>
                  </a:cubicBezTo>
                  <a:cubicBezTo>
                    <a:pt x="608" y="132"/>
                    <a:pt x="608" y="132"/>
                    <a:pt x="608" y="132"/>
                  </a:cubicBezTo>
                  <a:cubicBezTo>
                    <a:pt x="608" y="132"/>
                    <a:pt x="609" y="132"/>
                    <a:pt x="609" y="132"/>
                  </a:cubicBezTo>
                  <a:cubicBezTo>
                    <a:pt x="609" y="132"/>
                    <a:pt x="609" y="132"/>
                    <a:pt x="609" y="132"/>
                  </a:cubicBezTo>
                  <a:cubicBezTo>
                    <a:pt x="609" y="132"/>
                    <a:pt x="609" y="132"/>
                    <a:pt x="609" y="131"/>
                  </a:cubicBezTo>
                  <a:cubicBezTo>
                    <a:pt x="610" y="131"/>
                    <a:pt x="610" y="131"/>
                    <a:pt x="610" y="131"/>
                  </a:cubicBezTo>
                  <a:cubicBezTo>
                    <a:pt x="610" y="131"/>
                    <a:pt x="610" y="131"/>
                    <a:pt x="610" y="131"/>
                  </a:cubicBezTo>
                  <a:cubicBezTo>
                    <a:pt x="610" y="131"/>
                    <a:pt x="610" y="131"/>
                    <a:pt x="610" y="131"/>
                  </a:cubicBezTo>
                  <a:cubicBezTo>
                    <a:pt x="610" y="131"/>
                    <a:pt x="610" y="131"/>
                    <a:pt x="610" y="131"/>
                  </a:cubicBezTo>
                  <a:cubicBezTo>
                    <a:pt x="611" y="131"/>
                    <a:pt x="611" y="131"/>
                    <a:pt x="611" y="131"/>
                  </a:cubicBezTo>
                  <a:cubicBezTo>
                    <a:pt x="611" y="131"/>
                    <a:pt x="611" y="131"/>
                    <a:pt x="611" y="131"/>
                  </a:cubicBezTo>
                  <a:cubicBezTo>
                    <a:pt x="611" y="131"/>
                    <a:pt x="611" y="131"/>
                    <a:pt x="611" y="131"/>
                  </a:cubicBezTo>
                  <a:cubicBezTo>
                    <a:pt x="611" y="131"/>
                    <a:pt x="611" y="131"/>
                    <a:pt x="612" y="130"/>
                  </a:cubicBezTo>
                  <a:cubicBezTo>
                    <a:pt x="612" y="130"/>
                    <a:pt x="612" y="130"/>
                    <a:pt x="612" y="130"/>
                  </a:cubicBezTo>
                  <a:cubicBezTo>
                    <a:pt x="612" y="130"/>
                    <a:pt x="612" y="130"/>
                    <a:pt x="612" y="130"/>
                  </a:cubicBezTo>
                  <a:cubicBezTo>
                    <a:pt x="612" y="130"/>
                    <a:pt x="612" y="130"/>
                    <a:pt x="612" y="130"/>
                  </a:cubicBezTo>
                  <a:cubicBezTo>
                    <a:pt x="612" y="130"/>
                    <a:pt x="612" y="130"/>
                    <a:pt x="613" y="130"/>
                  </a:cubicBezTo>
                  <a:cubicBezTo>
                    <a:pt x="613" y="130"/>
                    <a:pt x="613" y="130"/>
                    <a:pt x="613" y="130"/>
                  </a:cubicBezTo>
                  <a:cubicBezTo>
                    <a:pt x="613" y="129"/>
                    <a:pt x="613" y="130"/>
                    <a:pt x="613" y="129"/>
                  </a:cubicBezTo>
                  <a:cubicBezTo>
                    <a:pt x="613" y="129"/>
                    <a:pt x="613" y="129"/>
                    <a:pt x="613" y="129"/>
                  </a:cubicBezTo>
                  <a:cubicBezTo>
                    <a:pt x="613" y="129"/>
                    <a:pt x="614" y="129"/>
                    <a:pt x="614" y="129"/>
                  </a:cubicBezTo>
                  <a:cubicBezTo>
                    <a:pt x="614" y="129"/>
                    <a:pt x="614" y="129"/>
                    <a:pt x="614" y="129"/>
                  </a:cubicBezTo>
                  <a:cubicBezTo>
                    <a:pt x="614" y="129"/>
                    <a:pt x="614" y="129"/>
                    <a:pt x="614" y="129"/>
                  </a:cubicBezTo>
                  <a:cubicBezTo>
                    <a:pt x="614" y="129"/>
                    <a:pt x="614" y="129"/>
                    <a:pt x="614" y="129"/>
                  </a:cubicBezTo>
                  <a:cubicBezTo>
                    <a:pt x="614" y="128"/>
                    <a:pt x="615" y="128"/>
                    <a:pt x="615" y="128"/>
                  </a:cubicBezTo>
                  <a:cubicBezTo>
                    <a:pt x="615" y="128"/>
                    <a:pt x="615" y="128"/>
                    <a:pt x="615" y="128"/>
                  </a:cubicBezTo>
                  <a:cubicBezTo>
                    <a:pt x="615" y="128"/>
                    <a:pt x="615" y="128"/>
                    <a:pt x="615" y="128"/>
                  </a:cubicBezTo>
                  <a:cubicBezTo>
                    <a:pt x="615" y="128"/>
                    <a:pt x="615" y="128"/>
                    <a:pt x="615" y="128"/>
                  </a:cubicBezTo>
                  <a:cubicBezTo>
                    <a:pt x="616" y="128"/>
                    <a:pt x="616" y="127"/>
                    <a:pt x="616" y="127"/>
                  </a:cubicBezTo>
                  <a:cubicBezTo>
                    <a:pt x="616" y="127"/>
                    <a:pt x="616" y="127"/>
                    <a:pt x="616" y="127"/>
                  </a:cubicBezTo>
                  <a:cubicBezTo>
                    <a:pt x="616" y="127"/>
                    <a:pt x="616" y="127"/>
                    <a:pt x="616" y="127"/>
                  </a:cubicBezTo>
                  <a:cubicBezTo>
                    <a:pt x="616" y="127"/>
                    <a:pt x="616" y="127"/>
                    <a:pt x="616" y="127"/>
                  </a:cubicBezTo>
                  <a:cubicBezTo>
                    <a:pt x="616" y="127"/>
                    <a:pt x="616" y="127"/>
                    <a:pt x="616" y="126"/>
                  </a:cubicBezTo>
                  <a:cubicBezTo>
                    <a:pt x="616" y="127"/>
                    <a:pt x="616" y="127"/>
                    <a:pt x="616" y="127"/>
                  </a:cubicBezTo>
                  <a:cubicBezTo>
                    <a:pt x="617" y="126"/>
                    <a:pt x="617" y="126"/>
                    <a:pt x="617" y="126"/>
                  </a:cubicBezTo>
                  <a:cubicBezTo>
                    <a:pt x="617" y="126"/>
                    <a:pt x="617" y="126"/>
                    <a:pt x="617" y="126"/>
                  </a:cubicBezTo>
                  <a:cubicBezTo>
                    <a:pt x="617" y="126"/>
                    <a:pt x="617" y="126"/>
                    <a:pt x="617" y="126"/>
                  </a:cubicBezTo>
                  <a:cubicBezTo>
                    <a:pt x="617" y="126"/>
                    <a:pt x="617" y="126"/>
                    <a:pt x="617" y="126"/>
                  </a:cubicBezTo>
                  <a:cubicBezTo>
                    <a:pt x="617" y="126"/>
                    <a:pt x="618" y="125"/>
                    <a:pt x="618" y="125"/>
                  </a:cubicBezTo>
                  <a:cubicBezTo>
                    <a:pt x="618" y="125"/>
                    <a:pt x="618" y="125"/>
                    <a:pt x="618" y="125"/>
                  </a:cubicBezTo>
                  <a:cubicBezTo>
                    <a:pt x="618" y="125"/>
                    <a:pt x="618" y="125"/>
                    <a:pt x="618" y="124"/>
                  </a:cubicBezTo>
                  <a:cubicBezTo>
                    <a:pt x="618" y="124"/>
                    <a:pt x="618" y="124"/>
                    <a:pt x="618" y="124"/>
                  </a:cubicBezTo>
                  <a:cubicBezTo>
                    <a:pt x="618" y="124"/>
                    <a:pt x="618" y="124"/>
                    <a:pt x="618" y="124"/>
                  </a:cubicBezTo>
                  <a:cubicBezTo>
                    <a:pt x="618" y="124"/>
                    <a:pt x="618" y="124"/>
                    <a:pt x="618" y="124"/>
                  </a:cubicBezTo>
                  <a:cubicBezTo>
                    <a:pt x="619" y="124"/>
                    <a:pt x="619" y="123"/>
                    <a:pt x="619" y="123"/>
                  </a:cubicBezTo>
                  <a:cubicBezTo>
                    <a:pt x="619" y="123"/>
                    <a:pt x="619" y="123"/>
                    <a:pt x="619" y="123"/>
                  </a:cubicBezTo>
                  <a:cubicBezTo>
                    <a:pt x="619" y="123"/>
                    <a:pt x="619" y="123"/>
                    <a:pt x="620" y="123"/>
                  </a:cubicBezTo>
                  <a:cubicBezTo>
                    <a:pt x="619" y="123"/>
                    <a:pt x="619" y="123"/>
                    <a:pt x="619" y="123"/>
                  </a:cubicBezTo>
                  <a:cubicBezTo>
                    <a:pt x="620" y="123"/>
                    <a:pt x="620" y="122"/>
                    <a:pt x="620" y="122"/>
                  </a:cubicBezTo>
                  <a:cubicBezTo>
                    <a:pt x="620" y="122"/>
                    <a:pt x="620" y="122"/>
                    <a:pt x="620" y="122"/>
                  </a:cubicBezTo>
                  <a:cubicBezTo>
                    <a:pt x="620" y="122"/>
                    <a:pt x="620" y="122"/>
                    <a:pt x="620" y="122"/>
                  </a:cubicBezTo>
                  <a:cubicBezTo>
                    <a:pt x="620" y="122"/>
                    <a:pt x="620" y="122"/>
                    <a:pt x="620" y="122"/>
                  </a:cubicBezTo>
                  <a:cubicBezTo>
                    <a:pt x="621" y="122"/>
                    <a:pt x="620" y="121"/>
                    <a:pt x="621" y="121"/>
                  </a:cubicBezTo>
                  <a:cubicBezTo>
                    <a:pt x="621" y="121"/>
                    <a:pt x="621" y="121"/>
                    <a:pt x="621" y="121"/>
                  </a:cubicBezTo>
                  <a:cubicBezTo>
                    <a:pt x="621" y="121"/>
                    <a:pt x="621" y="120"/>
                    <a:pt x="621" y="120"/>
                  </a:cubicBezTo>
                  <a:cubicBezTo>
                    <a:pt x="621" y="120"/>
                    <a:pt x="621" y="120"/>
                    <a:pt x="621" y="120"/>
                  </a:cubicBezTo>
                  <a:cubicBezTo>
                    <a:pt x="621" y="120"/>
                    <a:pt x="621" y="120"/>
                    <a:pt x="621" y="120"/>
                  </a:cubicBezTo>
                  <a:cubicBezTo>
                    <a:pt x="621" y="120"/>
                    <a:pt x="621" y="120"/>
                    <a:pt x="621" y="120"/>
                  </a:cubicBezTo>
                  <a:cubicBezTo>
                    <a:pt x="622" y="120"/>
                    <a:pt x="621" y="119"/>
                    <a:pt x="622" y="119"/>
                  </a:cubicBezTo>
                  <a:cubicBezTo>
                    <a:pt x="622" y="119"/>
                    <a:pt x="622" y="119"/>
                    <a:pt x="622" y="119"/>
                  </a:cubicBezTo>
                  <a:cubicBezTo>
                    <a:pt x="622" y="119"/>
                    <a:pt x="622" y="119"/>
                    <a:pt x="622" y="119"/>
                  </a:cubicBezTo>
                  <a:cubicBezTo>
                    <a:pt x="622" y="119"/>
                    <a:pt x="622" y="119"/>
                    <a:pt x="622" y="119"/>
                  </a:cubicBezTo>
                  <a:cubicBezTo>
                    <a:pt x="622" y="118"/>
                    <a:pt x="622" y="118"/>
                    <a:pt x="622" y="118"/>
                  </a:cubicBezTo>
                  <a:cubicBezTo>
                    <a:pt x="622" y="118"/>
                    <a:pt x="622" y="118"/>
                    <a:pt x="622" y="118"/>
                  </a:cubicBezTo>
                  <a:cubicBezTo>
                    <a:pt x="623" y="118"/>
                    <a:pt x="622" y="117"/>
                    <a:pt x="623" y="117"/>
                  </a:cubicBezTo>
                  <a:cubicBezTo>
                    <a:pt x="623" y="117"/>
                    <a:pt x="623" y="117"/>
                    <a:pt x="623" y="117"/>
                  </a:cubicBezTo>
                  <a:cubicBezTo>
                    <a:pt x="623" y="117"/>
                    <a:pt x="623" y="117"/>
                    <a:pt x="623" y="116"/>
                  </a:cubicBezTo>
                  <a:cubicBezTo>
                    <a:pt x="623" y="116"/>
                    <a:pt x="623" y="116"/>
                    <a:pt x="623" y="116"/>
                  </a:cubicBezTo>
                  <a:cubicBezTo>
                    <a:pt x="623" y="116"/>
                    <a:pt x="623" y="116"/>
                    <a:pt x="623" y="116"/>
                  </a:cubicBezTo>
                  <a:cubicBezTo>
                    <a:pt x="623" y="116"/>
                    <a:pt x="623" y="116"/>
                    <a:pt x="623" y="116"/>
                  </a:cubicBezTo>
                  <a:cubicBezTo>
                    <a:pt x="624" y="116"/>
                    <a:pt x="624" y="115"/>
                    <a:pt x="624" y="115"/>
                  </a:cubicBezTo>
                  <a:cubicBezTo>
                    <a:pt x="624" y="115"/>
                    <a:pt x="624" y="115"/>
                    <a:pt x="624" y="115"/>
                  </a:cubicBezTo>
                  <a:cubicBezTo>
                    <a:pt x="624" y="115"/>
                    <a:pt x="624" y="115"/>
                    <a:pt x="624" y="114"/>
                  </a:cubicBezTo>
                  <a:cubicBezTo>
                    <a:pt x="624" y="114"/>
                    <a:pt x="624" y="114"/>
                    <a:pt x="624" y="114"/>
                  </a:cubicBezTo>
                  <a:cubicBezTo>
                    <a:pt x="624" y="114"/>
                    <a:pt x="624" y="114"/>
                    <a:pt x="624" y="114"/>
                  </a:cubicBezTo>
                  <a:cubicBezTo>
                    <a:pt x="624" y="113"/>
                    <a:pt x="624" y="113"/>
                    <a:pt x="624" y="113"/>
                  </a:cubicBezTo>
                  <a:cubicBezTo>
                    <a:pt x="624" y="113"/>
                    <a:pt x="624" y="113"/>
                    <a:pt x="624" y="113"/>
                  </a:cubicBezTo>
                  <a:cubicBezTo>
                    <a:pt x="625" y="113"/>
                    <a:pt x="625" y="113"/>
                    <a:pt x="625" y="113"/>
                  </a:cubicBezTo>
                  <a:cubicBezTo>
                    <a:pt x="625" y="113"/>
                    <a:pt x="625" y="113"/>
                    <a:pt x="625" y="113"/>
                  </a:cubicBezTo>
                  <a:cubicBezTo>
                    <a:pt x="625" y="112"/>
                    <a:pt x="625" y="112"/>
                    <a:pt x="625" y="112"/>
                  </a:cubicBezTo>
                  <a:cubicBezTo>
                    <a:pt x="625" y="112"/>
                    <a:pt x="625" y="112"/>
                    <a:pt x="625" y="112"/>
                  </a:cubicBezTo>
                  <a:cubicBezTo>
                    <a:pt x="625" y="112"/>
                    <a:pt x="625" y="112"/>
                    <a:pt x="625" y="112"/>
                  </a:cubicBezTo>
                  <a:cubicBezTo>
                    <a:pt x="625" y="111"/>
                    <a:pt x="625" y="111"/>
                    <a:pt x="625" y="111"/>
                  </a:cubicBezTo>
                  <a:cubicBezTo>
                    <a:pt x="625" y="111"/>
                    <a:pt x="625" y="111"/>
                    <a:pt x="625" y="111"/>
                  </a:cubicBezTo>
                  <a:cubicBezTo>
                    <a:pt x="626" y="111"/>
                    <a:pt x="626" y="110"/>
                    <a:pt x="626" y="110"/>
                  </a:cubicBezTo>
                  <a:cubicBezTo>
                    <a:pt x="626" y="110"/>
                    <a:pt x="626" y="110"/>
                    <a:pt x="626" y="110"/>
                  </a:cubicBezTo>
                  <a:cubicBezTo>
                    <a:pt x="626" y="110"/>
                    <a:pt x="626" y="110"/>
                    <a:pt x="626" y="110"/>
                  </a:cubicBezTo>
                  <a:cubicBezTo>
                    <a:pt x="626" y="110"/>
                    <a:pt x="626" y="109"/>
                    <a:pt x="626" y="109"/>
                  </a:cubicBezTo>
                  <a:cubicBezTo>
                    <a:pt x="626" y="109"/>
                    <a:pt x="626" y="109"/>
                    <a:pt x="626" y="109"/>
                  </a:cubicBezTo>
                  <a:cubicBezTo>
                    <a:pt x="626" y="109"/>
                    <a:pt x="626" y="109"/>
                    <a:pt x="626" y="108"/>
                  </a:cubicBezTo>
                  <a:cubicBezTo>
                    <a:pt x="626" y="108"/>
                    <a:pt x="626" y="108"/>
                    <a:pt x="626" y="108"/>
                  </a:cubicBezTo>
                  <a:cubicBezTo>
                    <a:pt x="627" y="108"/>
                    <a:pt x="627" y="108"/>
                    <a:pt x="627" y="108"/>
                  </a:cubicBezTo>
                  <a:cubicBezTo>
                    <a:pt x="627" y="108"/>
                    <a:pt x="627" y="108"/>
                    <a:pt x="627" y="107"/>
                  </a:cubicBezTo>
                  <a:cubicBezTo>
                    <a:pt x="627" y="107"/>
                    <a:pt x="627" y="107"/>
                    <a:pt x="627" y="107"/>
                  </a:cubicBezTo>
                  <a:cubicBezTo>
                    <a:pt x="627" y="107"/>
                    <a:pt x="627" y="107"/>
                    <a:pt x="627" y="106"/>
                  </a:cubicBezTo>
                  <a:cubicBezTo>
                    <a:pt x="627" y="106"/>
                    <a:pt x="627" y="106"/>
                    <a:pt x="627" y="106"/>
                  </a:cubicBezTo>
                  <a:cubicBezTo>
                    <a:pt x="627" y="106"/>
                    <a:pt x="627" y="106"/>
                    <a:pt x="628" y="106"/>
                  </a:cubicBezTo>
                  <a:cubicBezTo>
                    <a:pt x="628" y="106"/>
                    <a:pt x="628" y="106"/>
                    <a:pt x="628" y="106"/>
                  </a:cubicBezTo>
                  <a:cubicBezTo>
                    <a:pt x="628" y="105"/>
                    <a:pt x="628" y="105"/>
                    <a:pt x="628" y="105"/>
                  </a:cubicBezTo>
                  <a:cubicBezTo>
                    <a:pt x="628" y="105"/>
                    <a:pt x="628" y="105"/>
                    <a:pt x="628" y="105"/>
                  </a:cubicBezTo>
                  <a:cubicBezTo>
                    <a:pt x="628" y="104"/>
                    <a:pt x="628" y="104"/>
                    <a:pt x="628" y="104"/>
                  </a:cubicBezTo>
                  <a:cubicBezTo>
                    <a:pt x="628" y="104"/>
                    <a:pt x="628" y="104"/>
                    <a:pt x="628" y="104"/>
                  </a:cubicBezTo>
                  <a:cubicBezTo>
                    <a:pt x="629" y="104"/>
                    <a:pt x="628" y="103"/>
                    <a:pt x="629" y="103"/>
                  </a:cubicBezTo>
                  <a:cubicBezTo>
                    <a:pt x="629" y="103"/>
                    <a:pt x="629" y="103"/>
                    <a:pt x="629" y="103"/>
                  </a:cubicBezTo>
                  <a:cubicBezTo>
                    <a:pt x="629" y="103"/>
                    <a:pt x="629" y="102"/>
                    <a:pt x="629" y="102"/>
                  </a:cubicBezTo>
                  <a:cubicBezTo>
                    <a:pt x="629" y="102"/>
                    <a:pt x="629" y="102"/>
                    <a:pt x="629" y="102"/>
                  </a:cubicBezTo>
                  <a:cubicBezTo>
                    <a:pt x="629" y="102"/>
                    <a:pt x="629" y="101"/>
                    <a:pt x="629" y="101"/>
                  </a:cubicBezTo>
                  <a:cubicBezTo>
                    <a:pt x="629" y="101"/>
                    <a:pt x="629" y="101"/>
                    <a:pt x="629" y="101"/>
                  </a:cubicBezTo>
                  <a:cubicBezTo>
                    <a:pt x="630" y="101"/>
                    <a:pt x="630" y="101"/>
                    <a:pt x="630" y="100"/>
                  </a:cubicBezTo>
                  <a:cubicBezTo>
                    <a:pt x="630" y="100"/>
                    <a:pt x="630" y="100"/>
                    <a:pt x="630" y="100"/>
                  </a:cubicBezTo>
                  <a:cubicBezTo>
                    <a:pt x="630" y="100"/>
                    <a:pt x="630" y="100"/>
                    <a:pt x="630" y="99"/>
                  </a:cubicBezTo>
                  <a:cubicBezTo>
                    <a:pt x="630" y="99"/>
                    <a:pt x="630" y="99"/>
                    <a:pt x="630" y="99"/>
                  </a:cubicBezTo>
                  <a:cubicBezTo>
                    <a:pt x="630" y="99"/>
                    <a:pt x="630" y="99"/>
                    <a:pt x="630" y="99"/>
                  </a:cubicBezTo>
                  <a:cubicBezTo>
                    <a:pt x="630" y="99"/>
                    <a:pt x="630" y="98"/>
                    <a:pt x="630" y="98"/>
                  </a:cubicBezTo>
                  <a:cubicBezTo>
                    <a:pt x="631" y="98"/>
                    <a:pt x="631" y="98"/>
                    <a:pt x="631" y="98"/>
                  </a:cubicBezTo>
                  <a:cubicBezTo>
                    <a:pt x="631" y="98"/>
                    <a:pt x="631" y="98"/>
                    <a:pt x="631" y="98"/>
                  </a:cubicBezTo>
                  <a:cubicBezTo>
                    <a:pt x="631" y="97"/>
                    <a:pt x="631" y="97"/>
                    <a:pt x="631" y="97"/>
                  </a:cubicBezTo>
                  <a:cubicBezTo>
                    <a:pt x="631" y="97"/>
                    <a:pt x="631" y="97"/>
                    <a:pt x="631" y="97"/>
                  </a:cubicBezTo>
                  <a:cubicBezTo>
                    <a:pt x="631" y="96"/>
                    <a:pt x="631" y="96"/>
                    <a:pt x="631" y="96"/>
                  </a:cubicBezTo>
                  <a:cubicBezTo>
                    <a:pt x="631" y="96"/>
                    <a:pt x="631" y="96"/>
                    <a:pt x="631" y="96"/>
                  </a:cubicBezTo>
                  <a:cubicBezTo>
                    <a:pt x="632" y="96"/>
                    <a:pt x="632" y="95"/>
                    <a:pt x="632" y="95"/>
                  </a:cubicBezTo>
                  <a:cubicBezTo>
                    <a:pt x="632" y="95"/>
                    <a:pt x="632" y="95"/>
                    <a:pt x="632" y="95"/>
                  </a:cubicBezTo>
                  <a:cubicBezTo>
                    <a:pt x="632" y="95"/>
                    <a:pt x="632" y="95"/>
                    <a:pt x="632" y="95"/>
                  </a:cubicBezTo>
                  <a:cubicBezTo>
                    <a:pt x="632" y="95"/>
                    <a:pt x="632" y="94"/>
                    <a:pt x="632" y="94"/>
                  </a:cubicBezTo>
                  <a:cubicBezTo>
                    <a:pt x="632" y="94"/>
                    <a:pt x="632" y="94"/>
                    <a:pt x="632" y="94"/>
                  </a:cubicBezTo>
                  <a:cubicBezTo>
                    <a:pt x="632" y="94"/>
                    <a:pt x="632" y="94"/>
                    <a:pt x="632" y="93"/>
                  </a:cubicBezTo>
                  <a:cubicBezTo>
                    <a:pt x="632" y="93"/>
                    <a:pt x="632" y="93"/>
                    <a:pt x="632" y="93"/>
                  </a:cubicBezTo>
                  <a:cubicBezTo>
                    <a:pt x="632" y="93"/>
                    <a:pt x="632" y="93"/>
                    <a:pt x="632" y="93"/>
                  </a:cubicBezTo>
                  <a:cubicBezTo>
                    <a:pt x="633" y="93"/>
                    <a:pt x="633" y="93"/>
                    <a:pt x="633" y="92"/>
                  </a:cubicBezTo>
                  <a:cubicBezTo>
                    <a:pt x="633" y="92"/>
                    <a:pt x="633" y="92"/>
                    <a:pt x="633" y="92"/>
                  </a:cubicBezTo>
                  <a:cubicBezTo>
                    <a:pt x="633" y="92"/>
                    <a:pt x="633" y="92"/>
                    <a:pt x="633" y="92"/>
                  </a:cubicBezTo>
                  <a:cubicBezTo>
                    <a:pt x="633" y="91"/>
                    <a:pt x="633" y="91"/>
                    <a:pt x="633" y="91"/>
                  </a:cubicBezTo>
                  <a:cubicBezTo>
                    <a:pt x="633" y="91"/>
                    <a:pt x="633" y="91"/>
                    <a:pt x="633" y="91"/>
                  </a:cubicBezTo>
                  <a:cubicBezTo>
                    <a:pt x="633" y="91"/>
                    <a:pt x="633" y="91"/>
                    <a:pt x="633" y="91"/>
                  </a:cubicBezTo>
                  <a:cubicBezTo>
                    <a:pt x="633" y="91"/>
                    <a:pt x="633" y="91"/>
                    <a:pt x="633" y="91"/>
                  </a:cubicBezTo>
                  <a:cubicBezTo>
                    <a:pt x="634" y="90"/>
                    <a:pt x="634" y="90"/>
                    <a:pt x="634" y="90"/>
                  </a:cubicBezTo>
                  <a:cubicBezTo>
                    <a:pt x="634" y="90"/>
                    <a:pt x="634" y="90"/>
                    <a:pt x="634" y="90"/>
                  </a:cubicBezTo>
                  <a:cubicBezTo>
                    <a:pt x="634" y="90"/>
                    <a:pt x="634" y="90"/>
                    <a:pt x="634" y="90"/>
                  </a:cubicBezTo>
                  <a:cubicBezTo>
                    <a:pt x="634" y="89"/>
                    <a:pt x="634" y="89"/>
                    <a:pt x="634" y="89"/>
                  </a:cubicBezTo>
                  <a:cubicBezTo>
                    <a:pt x="634" y="89"/>
                    <a:pt x="634" y="89"/>
                    <a:pt x="634" y="89"/>
                  </a:cubicBezTo>
                  <a:cubicBezTo>
                    <a:pt x="634" y="89"/>
                    <a:pt x="634" y="88"/>
                    <a:pt x="634" y="88"/>
                  </a:cubicBezTo>
                  <a:cubicBezTo>
                    <a:pt x="634" y="88"/>
                    <a:pt x="634" y="88"/>
                    <a:pt x="634" y="88"/>
                  </a:cubicBezTo>
                  <a:cubicBezTo>
                    <a:pt x="635" y="88"/>
                    <a:pt x="635" y="88"/>
                    <a:pt x="635" y="88"/>
                  </a:cubicBezTo>
                  <a:cubicBezTo>
                    <a:pt x="635" y="88"/>
                    <a:pt x="635" y="87"/>
                    <a:pt x="635" y="87"/>
                  </a:cubicBezTo>
                  <a:cubicBezTo>
                    <a:pt x="635" y="87"/>
                    <a:pt x="635" y="87"/>
                    <a:pt x="635" y="87"/>
                  </a:cubicBezTo>
                  <a:cubicBezTo>
                    <a:pt x="635" y="87"/>
                    <a:pt x="635" y="86"/>
                    <a:pt x="635" y="86"/>
                  </a:cubicBezTo>
                  <a:cubicBezTo>
                    <a:pt x="635" y="86"/>
                    <a:pt x="635" y="86"/>
                    <a:pt x="635" y="86"/>
                  </a:cubicBezTo>
                  <a:cubicBezTo>
                    <a:pt x="635" y="86"/>
                    <a:pt x="635" y="86"/>
                    <a:pt x="636" y="85"/>
                  </a:cubicBezTo>
                  <a:cubicBezTo>
                    <a:pt x="636" y="85"/>
                    <a:pt x="636" y="85"/>
                    <a:pt x="636" y="85"/>
                  </a:cubicBezTo>
                  <a:cubicBezTo>
                    <a:pt x="636" y="85"/>
                    <a:pt x="636" y="85"/>
                    <a:pt x="636" y="84"/>
                  </a:cubicBezTo>
                  <a:cubicBezTo>
                    <a:pt x="636" y="84"/>
                    <a:pt x="636" y="84"/>
                    <a:pt x="636" y="84"/>
                  </a:cubicBezTo>
                  <a:cubicBezTo>
                    <a:pt x="636" y="84"/>
                    <a:pt x="636" y="84"/>
                    <a:pt x="636" y="84"/>
                  </a:cubicBezTo>
                  <a:cubicBezTo>
                    <a:pt x="636" y="84"/>
                    <a:pt x="636" y="84"/>
                    <a:pt x="636" y="84"/>
                  </a:cubicBezTo>
                  <a:cubicBezTo>
                    <a:pt x="637" y="83"/>
                    <a:pt x="636" y="83"/>
                    <a:pt x="637" y="83"/>
                  </a:cubicBezTo>
                  <a:cubicBezTo>
                    <a:pt x="637" y="83"/>
                    <a:pt x="637" y="83"/>
                    <a:pt x="637" y="83"/>
                  </a:cubicBezTo>
                  <a:cubicBezTo>
                    <a:pt x="637" y="83"/>
                    <a:pt x="637" y="82"/>
                    <a:pt x="637" y="82"/>
                  </a:cubicBezTo>
                  <a:cubicBezTo>
                    <a:pt x="637" y="82"/>
                    <a:pt x="637" y="82"/>
                    <a:pt x="637" y="82"/>
                  </a:cubicBezTo>
                  <a:cubicBezTo>
                    <a:pt x="637" y="82"/>
                    <a:pt x="637" y="81"/>
                    <a:pt x="637" y="81"/>
                  </a:cubicBezTo>
                  <a:cubicBezTo>
                    <a:pt x="637" y="81"/>
                    <a:pt x="637" y="81"/>
                    <a:pt x="637" y="81"/>
                  </a:cubicBezTo>
                  <a:cubicBezTo>
                    <a:pt x="638" y="81"/>
                    <a:pt x="638" y="80"/>
                    <a:pt x="638" y="80"/>
                  </a:cubicBezTo>
                  <a:cubicBezTo>
                    <a:pt x="638" y="80"/>
                    <a:pt x="638" y="80"/>
                    <a:pt x="638" y="80"/>
                  </a:cubicBezTo>
                  <a:cubicBezTo>
                    <a:pt x="638" y="80"/>
                    <a:pt x="638" y="79"/>
                    <a:pt x="638" y="79"/>
                  </a:cubicBezTo>
                  <a:cubicBezTo>
                    <a:pt x="638" y="79"/>
                    <a:pt x="638" y="79"/>
                    <a:pt x="638" y="79"/>
                  </a:cubicBezTo>
                  <a:cubicBezTo>
                    <a:pt x="638" y="79"/>
                    <a:pt x="638" y="79"/>
                    <a:pt x="638" y="78"/>
                  </a:cubicBezTo>
                  <a:cubicBezTo>
                    <a:pt x="638" y="78"/>
                    <a:pt x="638" y="78"/>
                    <a:pt x="638" y="78"/>
                  </a:cubicBezTo>
                  <a:cubicBezTo>
                    <a:pt x="639" y="78"/>
                    <a:pt x="639" y="78"/>
                    <a:pt x="639" y="77"/>
                  </a:cubicBezTo>
                  <a:cubicBezTo>
                    <a:pt x="639" y="77"/>
                    <a:pt x="639" y="77"/>
                    <a:pt x="639" y="77"/>
                  </a:cubicBezTo>
                  <a:cubicBezTo>
                    <a:pt x="639" y="77"/>
                    <a:pt x="639" y="77"/>
                    <a:pt x="639" y="77"/>
                  </a:cubicBezTo>
                  <a:cubicBezTo>
                    <a:pt x="639" y="77"/>
                    <a:pt x="639" y="76"/>
                    <a:pt x="639" y="76"/>
                  </a:cubicBezTo>
                  <a:cubicBezTo>
                    <a:pt x="639" y="76"/>
                    <a:pt x="639" y="76"/>
                    <a:pt x="639" y="76"/>
                  </a:cubicBezTo>
                  <a:cubicBezTo>
                    <a:pt x="639" y="76"/>
                    <a:pt x="639" y="76"/>
                    <a:pt x="639" y="76"/>
                  </a:cubicBezTo>
                  <a:cubicBezTo>
                    <a:pt x="640" y="76"/>
                    <a:pt x="640" y="75"/>
                    <a:pt x="640" y="75"/>
                  </a:cubicBezTo>
                  <a:cubicBezTo>
                    <a:pt x="640" y="75"/>
                    <a:pt x="640" y="75"/>
                    <a:pt x="640" y="75"/>
                  </a:cubicBezTo>
                  <a:cubicBezTo>
                    <a:pt x="640" y="75"/>
                    <a:pt x="640" y="75"/>
                    <a:pt x="640" y="75"/>
                  </a:cubicBezTo>
                  <a:cubicBezTo>
                    <a:pt x="640" y="74"/>
                    <a:pt x="640" y="74"/>
                    <a:pt x="640" y="74"/>
                  </a:cubicBezTo>
                  <a:cubicBezTo>
                    <a:pt x="640" y="74"/>
                    <a:pt x="640" y="74"/>
                    <a:pt x="640" y="74"/>
                  </a:cubicBezTo>
                  <a:cubicBezTo>
                    <a:pt x="640" y="74"/>
                    <a:pt x="640" y="73"/>
                    <a:pt x="640" y="73"/>
                  </a:cubicBezTo>
                  <a:cubicBezTo>
                    <a:pt x="640" y="73"/>
                    <a:pt x="640" y="73"/>
                    <a:pt x="640" y="73"/>
                  </a:cubicBezTo>
                  <a:cubicBezTo>
                    <a:pt x="640" y="73"/>
                    <a:pt x="640" y="73"/>
                    <a:pt x="640" y="73"/>
                  </a:cubicBezTo>
                  <a:cubicBezTo>
                    <a:pt x="641" y="73"/>
                    <a:pt x="641" y="72"/>
                    <a:pt x="641" y="72"/>
                  </a:cubicBezTo>
                  <a:cubicBezTo>
                    <a:pt x="641" y="72"/>
                    <a:pt x="641" y="72"/>
                    <a:pt x="641" y="72"/>
                  </a:cubicBezTo>
                  <a:cubicBezTo>
                    <a:pt x="641" y="72"/>
                    <a:pt x="641" y="72"/>
                    <a:pt x="641" y="71"/>
                  </a:cubicBezTo>
                  <a:cubicBezTo>
                    <a:pt x="641" y="71"/>
                    <a:pt x="641" y="71"/>
                    <a:pt x="641" y="71"/>
                  </a:cubicBezTo>
                  <a:cubicBezTo>
                    <a:pt x="641" y="71"/>
                    <a:pt x="641" y="71"/>
                    <a:pt x="641" y="71"/>
                  </a:cubicBezTo>
                  <a:cubicBezTo>
                    <a:pt x="641" y="71"/>
                    <a:pt x="641" y="71"/>
                    <a:pt x="641" y="70"/>
                  </a:cubicBezTo>
                  <a:cubicBezTo>
                    <a:pt x="641" y="71"/>
                    <a:pt x="641" y="71"/>
                    <a:pt x="641" y="71"/>
                  </a:cubicBezTo>
                  <a:cubicBezTo>
                    <a:pt x="642" y="70"/>
                    <a:pt x="642" y="70"/>
                    <a:pt x="642" y="70"/>
                  </a:cubicBezTo>
                  <a:cubicBezTo>
                    <a:pt x="642" y="70"/>
                    <a:pt x="642" y="70"/>
                    <a:pt x="642" y="70"/>
                  </a:cubicBezTo>
                  <a:cubicBezTo>
                    <a:pt x="642" y="69"/>
                    <a:pt x="642" y="69"/>
                    <a:pt x="642" y="69"/>
                  </a:cubicBezTo>
                  <a:cubicBezTo>
                    <a:pt x="642" y="69"/>
                    <a:pt x="642" y="69"/>
                    <a:pt x="642" y="69"/>
                  </a:cubicBezTo>
                  <a:cubicBezTo>
                    <a:pt x="642" y="69"/>
                    <a:pt x="642" y="69"/>
                    <a:pt x="642" y="69"/>
                  </a:cubicBezTo>
                  <a:cubicBezTo>
                    <a:pt x="643" y="69"/>
                    <a:pt x="642" y="68"/>
                    <a:pt x="643" y="68"/>
                  </a:cubicBezTo>
                  <a:cubicBezTo>
                    <a:pt x="643" y="68"/>
                    <a:pt x="643" y="68"/>
                    <a:pt x="643" y="68"/>
                  </a:cubicBezTo>
                  <a:cubicBezTo>
                    <a:pt x="643" y="68"/>
                    <a:pt x="643" y="67"/>
                    <a:pt x="643" y="67"/>
                  </a:cubicBezTo>
                  <a:cubicBezTo>
                    <a:pt x="643" y="67"/>
                    <a:pt x="643" y="67"/>
                    <a:pt x="643" y="67"/>
                  </a:cubicBezTo>
                  <a:cubicBezTo>
                    <a:pt x="643" y="67"/>
                    <a:pt x="643" y="66"/>
                    <a:pt x="643" y="66"/>
                  </a:cubicBezTo>
                  <a:cubicBezTo>
                    <a:pt x="643" y="66"/>
                    <a:pt x="643" y="66"/>
                    <a:pt x="643" y="66"/>
                  </a:cubicBezTo>
                  <a:cubicBezTo>
                    <a:pt x="643" y="66"/>
                    <a:pt x="643" y="65"/>
                    <a:pt x="644" y="65"/>
                  </a:cubicBezTo>
                  <a:cubicBezTo>
                    <a:pt x="644" y="65"/>
                    <a:pt x="644" y="65"/>
                    <a:pt x="644" y="65"/>
                  </a:cubicBezTo>
                  <a:cubicBezTo>
                    <a:pt x="644" y="65"/>
                    <a:pt x="644" y="65"/>
                    <a:pt x="644" y="64"/>
                  </a:cubicBezTo>
                  <a:cubicBezTo>
                    <a:pt x="644" y="64"/>
                    <a:pt x="644" y="64"/>
                    <a:pt x="644" y="64"/>
                  </a:cubicBezTo>
                  <a:cubicBezTo>
                    <a:pt x="644" y="64"/>
                    <a:pt x="644" y="64"/>
                    <a:pt x="644" y="64"/>
                  </a:cubicBezTo>
                  <a:cubicBezTo>
                    <a:pt x="644" y="64"/>
                    <a:pt x="644" y="64"/>
                    <a:pt x="644" y="64"/>
                  </a:cubicBezTo>
                  <a:cubicBezTo>
                    <a:pt x="645" y="63"/>
                    <a:pt x="644" y="63"/>
                    <a:pt x="645" y="63"/>
                  </a:cubicBezTo>
                  <a:cubicBezTo>
                    <a:pt x="645" y="63"/>
                    <a:pt x="645" y="63"/>
                    <a:pt x="645" y="63"/>
                  </a:cubicBezTo>
                  <a:cubicBezTo>
                    <a:pt x="645" y="62"/>
                    <a:pt x="645" y="62"/>
                    <a:pt x="645" y="62"/>
                  </a:cubicBezTo>
                  <a:cubicBezTo>
                    <a:pt x="645" y="62"/>
                    <a:pt x="645" y="62"/>
                    <a:pt x="645" y="62"/>
                  </a:cubicBezTo>
                  <a:cubicBezTo>
                    <a:pt x="645" y="62"/>
                    <a:pt x="645" y="61"/>
                    <a:pt x="645" y="61"/>
                  </a:cubicBezTo>
                  <a:cubicBezTo>
                    <a:pt x="645" y="61"/>
                    <a:pt x="645" y="61"/>
                    <a:pt x="645" y="61"/>
                  </a:cubicBezTo>
                  <a:cubicBezTo>
                    <a:pt x="646" y="61"/>
                    <a:pt x="646" y="60"/>
                    <a:pt x="646" y="60"/>
                  </a:cubicBezTo>
                  <a:cubicBezTo>
                    <a:pt x="646" y="60"/>
                    <a:pt x="646" y="60"/>
                    <a:pt x="646" y="60"/>
                  </a:cubicBezTo>
                  <a:cubicBezTo>
                    <a:pt x="646" y="60"/>
                    <a:pt x="646" y="59"/>
                    <a:pt x="646" y="59"/>
                  </a:cubicBezTo>
                  <a:cubicBezTo>
                    <a:pt x="646" y="59"/>
                    <a:pt x="646" y="59"/>
                    <a:pt x="646" y="59"/>
                  </a:cubicBezTo>
                  <a:cubicBezTo>
                    <a:pt x="646" y="59"/>
                    <a:pt x="646" y="58"/>
                    <a:pt x="646" y="58"/>
                  </a:cubicBezTo>
                  <a:cubicBezTo>
                    <a:pt x="646" y="58"/>
                    <a:pt x="646" y="58"/>
                    <a:pt x="646" y="58"/>
                  </a:cubicBezTo>
                  <a:cubicBezTo>
                    <a:pt x="647" y="58"/>
                    <a:pt x="647" y="57"/>
                    <a:pt x="647" y="57"/>
                  </a:cubicBezTo>
                  <a:cubicBezTo>
                    <a:pt x="647" y="57"/>
                    <a:pt x="647" y="57"/>
                    <a:pt x="647" y="57"/>
                  </a:cubicBezTo>
                  <a:cubicBezTo>
                    <a:pt x="647" y="57"/>
                    <a:pt x="647" y="57"/>
                    <a:pt x="647" y="56"/>
                  </a:cubicBezTo>
                  <a:cubicBezTo>
                    <a:pt x="647" y="56"/>
                    <a:pt x="647" y="56"/>
                    <a:pt x="647" y="56"/>
                  </a:cubicBezTo>
                  <a:cubicBezTo>
                    <a:pt x="647" y="56"/>
                    <a:pt x="647" y="56"/>
                    <a:pt x="647" y="56"/>
                  </a:cubicBezTo>
                  <a:cubicBezTo>
                    <a:pt x="647" y="56"/>
                    <a:pt x="647" y="56"/>
                    <a:pt x="647" y="56"/>
                  </a:cubicBezTo>
                  <a:cubicBezTo>
                    <a:pt x="648" y="55"/>
                    <a:pt x="648" y="55"/>
                    <a:pt x="648" y="55"/>
                  </a:cubicBezTo>
                  <a:cubicBezTo>
                    <a:pt x="648" y="55"/>
                    <a:pt x="648" y="55"/>
                    <a:pt x="648" y="55"/>
                  </a:cubicBezTo>
                  <a:cubicBezTo>
                    <a:pt x="648" y="55"/>
                    <a:pt x="648" y="55"/>
                    <a:pt x="648" y="55"/>
                  </a:cubicBezTo>
                  <a:cubicBezTo>
                    <a:pt x="648" y="54"/>
                    <a:pt x="648" y="54"/>
                    <a:pt x="648" y="54"/>
                  </a:cubicBezTo>
                  <a:cubicBezTo>
                    <a:pt x="648" y="54"/>
                    <a:pt x="648" y="54"/>
                    <a:pt x="648" y="54"/>
                  </a:cubicBezTo>
                  <a:cubicBezTo>
                    <a:pt x="648" y="54"/>
                    <a:pt x="648" y="53"/>
                    <a:pt x="648" y="53"/>
                  </a:cubicBezTo>
                  <a:cubicBezTo>
                    <a:pt x="648" y="53"/>
                    <a:pt x="648" y="53"/>
                    <a:pt x="648" y="53"/>
                  </a:cubicBezTo>
                  <a:cubicBezTo>
                    <a:pt x="648" y="53"/>
                    <a:pt x="648" y="53"/>
                    <a:pt x="648" y="53"/>
                  </a:cubicBezTo>
                  <a:cubicBezTo>
                    <a:pt x="649" y="53"/>
                    <a:pt x="649" y="52"/>
                    <a:pt x="649" y="52"/>
                  </a:cubicBezTo>
                  <a:cubicBezTo>
                    <a:pt x="649" y="52"/>
                    <a:pt x="649" y="52"/>
                    <a:pt x="649" y="52"/>
                  </a:cubicBezTo>
                  <a:cubicBezTo>
                    <a:pt x="649" y="52"/>
                    <a:pt x="649" y="52"/>
                    <a:pt x="649" y="51"/>
                  </a:cubicBezTo>
                  <a:cubicBezTo>
                    <a:pt x="649" y="51"/>
                    <a:pt x="649" y="51"/>
                    <a:pt x="649" y="51"/>
                  </a:cubicBezTo>
                  <a:cubicBezTo>
                    <a:pt x="649" y="51"/>
                    <a:pt x="649" y="51"/>
                    <a:pt x="649" y="51"/>
                  </a:cubicBezTo>
                  <a:cubicBezTo>
                    <a:pt x="649" y="51"/>
                    <a:pt x="649" y="51"/>
                    <a:pt x="649" y="50"/>
                  </a:cubicBezTo>
                  <a:cubicBezTo>
                    <a:pt x="649" y="50"/>
                    <a:pt x="649" y="50"/>
                    <a:pt x="649" y="50"/>
                  </a:cubicBezTo>
                  <a:cubicBezTo>
                    <a:pt x="650" y="50"/>
                    <a:pt x="650" y="50"/>
                    <a:pt x="650" y="49"/>
                  </a:cubicBezTo>
                  <a:cubicBezTo>
                    <a:pt x="650" y="49"/>
                    <a:pt x="650" y="49"/>
                    <a:pt x="650" y="49"/>
                  </a:cubicBezTo>
                  <a:cubicBezTo>
                    <a:pt x="650" y="49"/>
                    <a:pt x="650" y="49"/>
                    <a:pt x="650" y="49"/>
                  </a:cubicBezTo>
                  <a:cubicBezTo>
                    <a:pt x="650" y="49"/>
                    <a:pt x="650" y="49"/>
                    <a:pt x="650" y="49"/>
                  </a:cubicBezTo>
                  <a:cubicBezTo>
                    <a:pt x="650" y="49"/>
                    <a:pt x="650" y="49"/>
                    <a:pt x="650" y="49"/>
                  </a:cubicBezTo>
                  <a:cubicBezTo>
                    <a:pt x="651" y="48"/>
                    <a:pt x="650" y="48"/>
                    <a:pt x="651" y="48"/>
                  </a:cubicBezTo>
                  <a:cubicBezTo>
                    <a:pt x="651" y="48"/>
                    <a:pt x="651" y="48"/>
                    <a:pt x="651" y="48"/>
                  </a:cubicBezTo>
                  <a:cubicBezTo>
                    <a:pt x="651" y="47"/>
                    <a:pt x="651" y="47"/>
                    <a:pt x="651" y="47"/>
                  </a:cubicBezTo>
                  <a:cubicBezTo>
                    <a:pt x="651" y="47"/>
                    <a:pt x="651" y="47"/>
                    <a:pt x="651" y="47"/>
                  </a:cubicBezTo>
                  <a:cubicBezTo>
                    <a:pt x="651" y="47"/>
                    <a:pt x="651" y="46"/>
                    <a:pt x="651" y="46"/>
                  </a:cubicBezTo>
                  <a:cubicBezTo>
                    <a:pt x="651" y="46"/>
                    <a:pt x="651" y="46"/>
                    <a:pt x="651" y="46"/>
                  </a:cubicBezTo>
                  <a:cubicBezTo>
                    <a:pt x="651" y="46"/>
                    <a:pt x="651" y="45"/>
                    <a:pt x="652" y="45"/>
                  </a:cubicBezTo>
                  <a:cubicBezTo>
                    <a:pt x="652" y="45"/>
                    <a:pt x="652" y="45"/>
                    <a:pt x="652" y="45"/>
                  </a:cubicBezTo>
                  <a:cubicBezTo>
                    <a:pt x="652" y="45"/>
                    <a:pt x="652" y="44"/>
                    <a:pt x="652" y="44"/>
                  </a:cubicBezTo>
                  <a:cubicBezTo>
                    <a:pt x="652" y="44"/>
                    <a:pt x="652" y="44"/>
                    <a:pt x="652" y="44"/>
                  </a:cubicBezTo>
                  <a:cubicBezTo>
                    <a:pt x="652" y="44"/>
                    <a:pt x="652" y="44"/>
                    <a:pt x="652" y="43"/>
                  </a:cubicBezTo>
                  <a:cubicBezTo>
                    <a:pt x="652" y="43"/>
                    <a:pt x="652" y="43"/>
                    <a:pt x="652" y="43"/>
                  </a:cubicBezTo>
                  <a:cubicBezTo>
                    <a:pt x="653" y="43"/>
                    <a:pt x="652" y="43"/>
                    <a:pt x="653" y="42"/>
                  </a:cubicBezTo>
                  <a:cubicBezTo>
                    <a:pt x="653" y="42"/>
                    <a:pt x="653" y="42"/>
                    <a:pt x="653" y="42"/>
                  </a:cubicBezTo>
                  <a:cubicBezTo>
                    <a:pt x="653" y="42"/>
                    <a:pt x="653" y="42"/>
                    <a:pt x="653" y="42"/>
                  </a:cubicBezTo>
                  <a:cubicBezTo>
                    <a:pt x="653" y="42"/>
                    <a:pt x="653" y="42"/>
                    <a:pt x="653" y="42"/>
                  </a:cubicBezTo>
                  <a:cubicBezTo>
                    <a:pt x="653" y="41"/>
                    <a:pt x="653" y="41"/>
                    <a:pt x="653" y="41"/>
                  </a:cubicBezTo>
                  <a:cubicBezTo>
                    <a:pt x="653" y="41"/>
                    <a:pt x="653" y="41"/>
                    <a:pt x="653" y="41"/>
                  </a:cubicBezTo>
                  <a:cubicBezTo>
                    <a:pt x="654" y="40"/>
                    <a:pt x="654" y="40"/>
                    <a:pt x="654" y="40"/>
                  </a:cubicBezTo>
                  <a:cubicBezTo>
                    <a:pt x="654" y="40"/>
                    <a:pt x="654" y="40"/>
                    <a:pt x="654" y="40"/>
                  </a:cubicBezTo>
                  <a:cubicBezTo>
                    <a:pt x="654" y="39"/>
                    <a:pt x="654" y="39"/>
                    <a:pt x="654" y="39"/>
                  </a:cubicBezTo>
                  <a:cubicBezTo>
                    <a:pt x="654" y="39"/>
                    <a:pt x="654" y="39"/>
                    <a:pt x="654" y="39"/>
                  </a:cubicBezTo>
                  <a:cubicBezTo>
                    <a:pt x="654" y="39"/>
                    <a:pt x="654" y="38"/>
                    <a:pt x="654" y="38"/>
                  </a:cubicBezTo>
                  <a:cubicBezTo>
                    <a:pt x="654" y="38"/>
                    <a:pt x="654" y="38"/>
                    <a:pt x="654" y="38"/>
                  </a:cubicBezTo>
                  <a:cubicBezTo>
                    <a:pt x="655" y="38"/>
                    <a:pt x="655" y="37"/>
                    <a:pt x="655" y="37"/>
                  </a:cubicBezTo>
                  <a:cubicBezTo>
                    <a:pt x="655" y="37"/>
                    <a:pt x="655" y="37"/>
                    <a:pt x="655" y="37"/>
                  </a:cubicBezTo>
                  <a:cubicBezTo>
                    <a:pt x="655" y="37"/>
                    <a:pt x="655" y="37"/>
                    <a:pt x="655" y="36"/>
                  </a:cubicBezTo>
                  <a:cubicBezTo>
                    <a:pt x="655" y="36"/>
                    <a:pt x="655" y="36"/>
                    <a:pt x="655" y="36"/>
                  </a:cubicBezTo>
                  <a:cubicBezTo>
                    <a:pt x="655" y="36"/>
                    <a:pt x="655" y="36"/>
                    <a:pt x="655" y="36"/>
                  </a:cubicBezTo>
                  <a:cubicBezTo>
                    <a:pt x="655" y="36"/>
                    <a:pt x="655" y="36"/>
                    <a:pt x="655" y="35"/>
                  </a:cubicBezTo>
                  <a:cubicBezTo>
                    <a:pt x="655" y="35"/>
                    <a:pt x="655" y="35"/>
                    <a:pt x="655" y="35"/>
                  </a:cubicBezTo>
                  <a:cubicBezTo>
                    <a:pt x="656" y="35"/>
                    <a:pt x="656" y="35"/>
                    <a:pt x="656" y="35"/>
                  </a:cubicBezTo>
                  <a:cubicBezTo>
                    <a:pt x="656" y="35"/>
                    <a:pt x="656" y="35"/>
                    <a:pt x="656" y="35"/>
                  </a:cubicBezTo>
                  <a:cubicBezTo>
                    <a:pt x="656" y="34"/>
                    <a:pt x="655" y="34"/>
                    <a:pt x="655" y="34"/>
                  </a:cubicBezTo>
                  <a:cubicBezTo>
                    <a:pt x="652" y="34"/>
                    <a:pt x="648" y="34"/>
                    <a:pt x="645" y="34"/>
                  </a:cubicBezTo>
                  <a:cubicBezTo>
                    <a:pt x="645" y="34"/>
                    <a:pt x="644" y="34"/>
                    <a:pt x="644" y="34"/>
                  </a:cubicBezTo>
                  <a:cubicBezTo>
                    <a:pt x="644" y="35"/>
                    <a:pt x="644" y="35"/>
                    <a:pt x="644" y="35"/>
                  </a:cubicBezTo>
                  <a:cubicBezTo>
                    <a:pt x="644" y="35"/>
                    <a:pt x="644" y="35"/>
                    <a:pt x="644" y="35"/>
                  </a:cubicBezTo>
                  <a:cubicBezTo>
                    <a:pt x="644" y="35"/>
                    <a:pt x="644" y="35"/>
                    <a:pt x="644" y="35"/>
                  </a:cubicBezTo>
                  <a:cubicBezTo>
                    <a:pt x="644" y="35"/>
                    <a:pt x="644" y="35"/>
                    <a:pt x="644" y="35"/>
                  </a:cubicBezTo>
                  <a:cubicBezTo>
                    <a:pt x="644" y="36"/>
                    <a:pt x="644" y="36"/>
                    <a:pt x="644" y="36"/>
                  </a:cubicBezTo>
                  <a:cubicBezTo>
                    <a:pt x="644" y="36"/>
                    <a:pt x="644" y="36"/>
                    <a:pt x="644" y="36"/>
                  </a:cubicBezTo>
                  <a:cubicBezTo>
                    <a:pt x="643" y="37"/>
                    <a:pt x="643" y="37"/>
                    <a:pt x="643" y="37"/>
                  </a:cubicBezTo>
                  <a:cubicBezTo>
                    <a:pt x="643" y="37"/>
                    <a:pt x="643" y="37"/>
                    <a:pt x="643" y="37"/>
                  </a:cubicBezTo>
                  <a:cubicBezTo>
                    <a:pt x="643" y="37"/>
                    <a:pt x="643" y="37"/>
                    <a:pt x="643" y="37"/>
                  </a:cubicBezTo>
                  <a:cubicBezTo>
                    <a:pt x="643" y="38"/>
                    <a:pt x="643" y="38"/>
                    <a:pt x="643" y="38"/>
                  </a:cubicBezTo>
                  <a:cubicBezTo>
                    <a:pt x="643" y="38"/>
                    <a:pt x="643" y="38"/>
                    <a:pt x="643" y="39"/>
                  </a:cubicBezTo>
                  <a:cubicBezTo>
                    <a:pt x="643" y="39"/>
                    <a:pt x="643" y="39"/>
                    <a:pt x="643" y="39"/>
                  </a:cubicBezTo>
                  <a:cubicBezTo>
                    <a:pt x="643" y="39"/>
                    <a:pt x="643" y="39"/>
                    <a:pt x="643" y="39"/>
                  </a:cubicBezTo>
                  <a:cubicBezTo>
                    <a:pt x="642" y="39"/>
                    <a:pt x="643" y="40"/>
                    <a:pt x="642" y="40"/>
                  </a:cubicBezTo>
                  <a:cubicBezTo>
                    <a:pt x="642" y="40"/>
                    <a:pt x="642" y="40"/>
                    <a:pt x="642" y="40"/>
                  </a:cubicBezTo>
                  <a:cubicBezTo>
                    <a:pt x="642" y="40"/>
                    <a:pt x="642" y="41"/>
                    <a:pt x="642" y="41"/>
                  </a:cubicBezTo>
                  <a:cubicBezTo>
                    <a:pt x="642" y="41"/>
                    <a:pt x="642" y="41"/>
                    <a:pt x="642" y="41"/>
                  </a:cubicBezTo>
                  <a:cubicBezTo>
                    <a:pt x="642" y="42"/>
                    <a:pt x="642" y="42"/>
                    <a:pt x="642" y="42"/>
                  </a:cubicBezTo>
                  <a:cubicBezTo>
                    <a:pt x="642" y="42"/>
                    <a:pt x="642" y="42"/>
                    <a:pt x="642" y="42"/>
                  </a:cubicBezTo>
                  <a:cubicBezTo>
                    <a:pt x="641" y="42"/>
                    <a:pt x="641" y="43"/>
                    <a:pt x="641" y="43"/>
                  </a:cubicBezTo>
                  <a:cubicBezTo>
                    <a:pt x="641" y="43"/>
                    <a:pt x="641" y="43"/>
                    <a:pt x="641" y="43"/>
                  </a:cubicBezTo>
                  <a:cubicBezTo>
                    <a:pt x="641" y="43"/>
                    <a:pt x="641" y="44"/>
                    <a:pt x="641" y="44"/>
                  </a:cubicBezTo>
                  <a:cubicBezTo>
                    <a:pt x="641" y="44"/>
                    <a:pt x="641" y="44"/>
                    <a:pt x="641" y="44"/>
                  </a:cubicBezTo>
                  <a:cubicBezTo>
                    <a:pt x="641" y="44"/>
                    <a:pt x="641" y="44"/>
                    <a:pt x="641" y="44"/>
                  </a:cubicBezTo>
                  <a:cubicBezTo>
                    <a:pt x="641" y="44"/>
                    <a:pt x="641" y="45"/>
                    <a:pt x="640" y="45"/>
                  </a:cubicBezTo>
                  <a:cubicBezTo>
                    <a:pt x="641" y="45"/>
                    <a:pt x="641" y="45"/>
                    <a:pt x="640" y="45"/>
                  </a:cubicBezTo>
                  <a:cubicBezTo>
                    <a:pt x="640" y="45"/>
                    <a:pt x="640" y="46"/>
                    <a:pt x="640" y="46"/>
                  </a:cubicBezTo>
                  <a:cubicBezTo>
                    <a:pt x="640" y="46"/>
                    <a:pt x="640" y="46"/>
                    <a:pt x="640" y="46"/>
                  </a:cubicBezTo>
                  <a:cubicBezTo>
                    <a:pt x="640" y="46"/>
                    <a:pt x="640" y="47"/>
                    <a:pt x="640" y="47"/>
                  </a:cubicBezTo>
                  <a:cubicBezTo>
                    <a:pt x="640" y="47"/>
                    <a:pt x="640" y="47"/>
                    <a:pt x="640" y="47"/>
                  </a:cubicBezTo>
                  <a:cubicBezTo>
                    <a:pt x="640" y="47"/>
                    <a:pt x="640" y="47"/>
                    <a:pt x="639" y="48"/>
                  </a:cubicBezTo>
                  <a:cubicBezTo>
                    <a:pt x="639" y="48"/>
                    <a:pt x="639" y="48"/>
                    <a:pt x="639" y="48"/>
                  </a:cubicBezTo>
                  <a:cubicBezTo>
                    <a:pt x="639" y="48"/>
                    <a:pt x="639" y="48"/>
                    <a:pt x="639" y="48"/>
                  </a:cubicBezTo>
                  <a:cubicBezTo>
                    <a:pt x="639" y="48"/>
                    <a:pt x="639" y="48"/>
                    <a:pt x="639" y="49"/>
                  </a:cubicBezTo>
                  <a:cubicBezTo>
                    <a:pt x="639" y="49"/>
                    <a:pt x="639" y="49"/>
                    <a:pt x="639" y="49"/>
                  </a:cubicBezTo>
                  <a:cubicBezTo>
                    <a:pt x="639" y="49"/>
                    <a:pt x="639" y="49"/>
                    <a:pt x="639" y="50"/>
                  </a:cubicBezTo>
                  <a:cubicBezTo>
                    <a:pt x="639" y="50"/>
                    <a:pt x="639" y="50"/>
                    <a:pt x="639" y="50"/>
                  </a:cubicBezTo>
                  <a:cubicBezTo>
                    <a:pt x="638" y="50"/>
                    <a:pt x="639" y="50"/>
                    <a:pt x="638" y="51"/>
                  </a:cubicBezTo>
                  <a:cubicBezTo>
                    <a:pt x="638" y="51"/>
                    <a:pt x="638" y="51"/>
                    <a:pt x="638" y="51"/>
                  </a:cubicBezTo>
                  <a:cubicBezTo>
                    <a:pt x="638" y="51"/>
                    <a:pt x="638" y="51"/>
                    <a:pt x="638" y="52"/>
                  </a:cubicBezTo>
                  <a:cubicBezTo>
                    <a:pt x="638" y="52"/>
                    <a:pt x="638" y="52"/>
                    <a:pt x="638" y="52"/>
                  </a:cubicBezTo>
                  <a:cubicBezTo>
                    <a:pt x="638" y="52"/>
                    <a:pt x="638" y="52"/>
                    <a:pt x="638" y="52"/>
                  </a:cubicBezTo>
                  <a:cubicBezTo>
                    <a:pt x="638" y="52"/>
                    <a:pt x="638" y="52"/>
                    <a:pt x="638" y="52"/>
                  </a:cubicBezTo>
                  <a:cubicBezTo>
                    <a:pt x="637" y="53"/>
                    <a:pt x="638" y="53"/>
                    <a:pt x="637" y="53"/>
                  </a:cubicBezTo>
                  <a:cubicBezTo>
                    <a:pt x="637" y="53"/>
                    <a:pt x="637" y="53"/>
                    <a:pt x="637" y="53"/>
                  </a:cubicBezTo>
                  <a:cubicBezTo>
                    <a:pt x="637" y="54"/>
                    <a:pt x="637" y="54"/>
                    <a:pt x="637" y="54"/>
                  </a:cubicBezTo>
                  <a:cubicBezTo>
                    <a:pt x="637" y="54"/>
                    <a:pt x="637" y="54"/>
                    <a:pt x="637" y="54"/>
                  </a:cubicBezTo>
                  <a:cubicBezTo>
                    <a:pt x="637" y="55"/>
                    <a:pt x="637" y="55"/>
                    <a:pt x="637" y="55"/>
                  </a:cubicBezTo>
                  <a:cubicBezTo>
                    <a:pt x="637" y="55"/>
                    <a:pt x="637" y="55"/>
                    <a:pt x="637" y="55"/>
                  </a:cubicBezTo>
                  <a:cubicBezTo>
                    <a:pt x="637" y="55"/>
                    <a:pt x="637" y="56"/>
                    <a:pt x="637" y="56"/>
                  </a:cubicBezTo>
                  <a:cubicBezTo>
                    <a:pt x="636" y="56"/>
                    <a:pt x="636" y="56"/>
                    <a:pt x="636" y="56"/>
                  </a:cubicBezTo>
                  <a:cubicBezTo>
                    <a:pt x="636" y="56"/>
                    <a:pt x="636" y="56"/>
                    <a:pt x="636" y="56"/>
                  </a:cubicBezTo>
                  <a:cubicBezTo>
                    <a:pt x="636" y="57"/>
                    <a:pt x="636" y="57"/>
                    <a:pt x="636" y="57"/>
                  </a:cubicBezTo>
                  <a:cubicBezTo>
                    <a:pt x="636" y="57"/>
                    <a:pt x="636" y="57"/>
                    <a:pt x="636" y="57"/>
                  </a:cubicBezTo>
                  <a:cubicBezTo>
                    <a:pt x="636" y="58"/>
                    <a:pt x="636" y="58"/>
                    <a:pt x="636" y="58"/>
                  </a:cubicBezTo>
                  <a:cubicBezTo>
                    <a:pt x="636" y="58"/>
                    <a:pt x="636" y="58"/>
                    <a:pt x="636" y="58"/>
                  </a:cubicBezTo>
                  <a:cubicBezTo>
                    <a:pt x="636" y="58"/>
                    <a:pt x="636" y="58"/>
                    <a:pt x="636" y="58"/>
                  </a:cubicBezTo>
                  <a:cubicBezTo>
                    <a:pt x="635" y="59"/>
                    <a:pt x="635" y="59"/>
                    <a:pt x="635" y="59"/>
                  </a:cubicBezTo>
                  <a:cubicBezTo>
                    <a:pt x="635" y="59"/>
                    <a:pt x="635" y="59"/>
                    <a:pt x="635" y="59"/>
                  </a:cubicBezTo>
                  <a:cubicBezTo>
                    <a:pt x="635" y="59"/>
                    <a:pt x="635" y="60"/>
                    <a:pt x="635" y="60"/>
                  </a:cubicBezTo>
                  <a:cubicBezTo>
                    <a:pt x="635" y="60"/>
                    <a:pt x="635" y="60"/>
                    <a:pt x="635" y="60"/>
                  </a:cubicBezTo>
                  <a:cubicBezTo>
                    <a:pt x="635" y="60"/>
                    <a:pt x="635" y="61"/>
                    <a:pt x="635" y="61"/>
                  </a:cubicBezTo>
                  <a:cubicBezTo>
                    <a:pt x="635" y="61"/>
                    <a:pt x="635" y="61"/>
                    <a:pt x="635" y="61"/>
                  </a:cubicBezTo>
                  <a:cubicBezTo>
                    <a:pt x="635" y="61"/>
                    <a:pt x="635" y="61"/>
                    <a:pt x="635" y="61"/>
                  </a:cubicBezTo>
                  <a:cubicBezTo>
                    <a:pt x="634" y="61"/>
                    <a:pt x="634" y="62"/>
                    <a:pt x="634" y="62"/>
                  </a:cubicBezTo>
                  <a:cubicBezTo>
                    <a:pt x="634" y="62"/>
                    <a:pt x="634" y="62"/>
                    <a:pt x="634" y="62"/>
                  </a:cubicBezTo>
                  <a:cubicBezTo>
                    <a:pt x="634" y="62"/>
                    <a:pt x="634" y="63"/>
                    <a:pt x="634" y="63"/>
                  </a:cubicBezTo>
                  <a:cubicBezTo>
                    <a:pt x="634" y="63"/>
                    <a:pt x="634" y="63"/>
                    <a:pt x="634" y="63"/>
                  </a:cubicBezTo>
                  <a:cubicBezTo>
                    <a:pt x="634" y="63"/>
                    <a:pt x="634" y="64"/>
                    <a:pt x="634" y="64"/>
                  </a:cubicBezTo>
                  <a:cubicBezTo>
                    <a:pt x="634" y="64"/>
                    <a:pt x="634" y="64"/>
                    <a:pt x="634" y="64"/>
                  </a:cubicBezTo>
                  <a:cubicBezTo>
                    <a:pt x="633" y="64"/>
                    <a:pt x="633" y="64"/>
                    <a:pt x="633" y="65"/>
                  </a:cubicBezTo>
                  <a:cubicBezTo>
                    <a:pt x="633" y="65"/>
                    <a:pt x="633" y="65"/>
                    <a:pt x="633" y="65"/>
                  </a:cubicBezTo>
                  <a:cubicBezTo>
                    <a:pt x="633" y="65"/>
                    <a:pt x="633" y="65"/>
                    <a:pt x="633" y="65"/>
                  </a:cubicBezTo>
                  <a:cubicBezTo>
                    <a:pt x="633" y="65"/>
                    <a:pt x="633" y="65"/>
                    <a:pt x="633" y="66"/>
                  </a:cubicBezTo>
                  <a:cubicBezTo>
                    <a:pt x="633" y="66"/>
                    <a:pt x="633" y="66"/>
                    <a:pt x="633" y="66"/>
                  </a:cubicBezTo>
                  <a:cubicBezTo>
                    <a:pt x="632" y="66"/>
                    <a:pt x="633" y="66"/>
                    <a:pt x="632" y="67"/>
                  </a:cubicBezTo>
                  <a:cubicBezTo>
                    <a:pt x="632" y="67"/>
                    <a:pt x="632" y="67"/>
                    <a:pt x="632" y="67"/>
                  </a:cubicBezTo>
                  <a:cubicBezTo>
                    <a:pt x="632" y="67"/>
                    <a:pt x="632" y="67"/>
                    <a:pt x="632" y="68"/>
                  </a:cubicBezTo>
                  <a:cubicBezTo>
                    <a:pt x="632" y="68"/>
                    <a:pt x="632" y="68"/>
                    <a:pt x="632" y="68"/>
                  </a:cubicBezTo>
                  <a:cubicBezTo>
                    <a:pt x="632" y="68"/>
                    <a:pt x="632" y="68"/>
                    <a:pt x="632" y="69"/>
                  </a:cubicBezTo>
                  <a:cubicBezTo>
                    <a:pt x="632" y="69"/>
                    <a:pt x="632" y="69"/>
                    <a:pt x="632" y="69"/>
                  </a:cubicBezTo>
                  <a:cubicBezTo>
                    <a:pt x="632" y="69"/>
                    <a:pt x="632" y="69"/>
                    <a:pt x="631" y="70"/>
                  </a:cubicBezTo>
                  <a:cubicBezTo>
                    <a:pt x="631" y="70"/>
                    <a:pt x="631" y="70"/>
                    <a:pt x="631" y="70"/>
                  </a:cubicBezTo>
                  <a:cubicBezTo>
                    <a:pt x="631" y="70"/>
                    <a:pt x="631" y="70"/>
                    <a:pt x="631" y="71"/>
                  </a:cubicBezTo>
                  <a:cubicBezTo>
                    <a:pt x="631" y="71"/>
                    <a:pt x="631" y="71"/>
                    <a:pt x="631" y="71"/>
                  </a:cubicBezTo>
                  <a:cubicBezTo>
                    <a:pt x="631" y="71"/>
                    <a:pt x="631" y="71"/>
                    <a:pt x="631" y="71"/>
                  </a:cubicBezTo>
                  <a:cubicBezTo>
                    <a:pt x="631" y="72"/>
                    <a:pt x="631" y="72"/>
                    <a:pt x="631" y="72"/>
                  </a:cubicBezTo>
                  <a:cubicBezTo>
                    <a:pt x="631" y="72"/>
                    <a:pt x="631" y="72"/>
                    <a:pt x="631" y="72"/>
                  </a:cubicBezTo>
                  <a:cubicBezTo>
                    <a:pt x="631" y="72"/>
                    <a:pt x="631" y="72"/>
                    <a:pt x="630" y="72"/>
                  </a:cubicBezTo>
                  <a:cubicBezTo>
                    <a:pt x="630" y="72"/>
                    <a:pt x="630" y="73"/>
                    <a:pt x="630" y="73"/>
                  </a:cubicBezTo>
                  <a:cubicBezTo>
                    <a:pt x="630" y="73"/>
                    <a:pt x="630" y="73"/>
                    <a:pt x="630" y="73"/>
                  </a:cubicBezTo>
                  <a:cubicBezTo>
                    <a:pt x="630" y="73"/>
                    <a:pt x="630" y="73"/>
                    <a:pt x="630" y="73"/>
                  </a:cubicBezTo>
                  <a:cubicBezTo>
                    <a:pt x="630" y="74"/>
                    <a:pt x="630" y="74"/>
                    <a:pt x="630" y="74"/>
                  </a:cubicBezTo>
                  <a:cubicBezTo>
                    <a:pt x="630" y="74"/>
                    <a:pt x="630" y="74"/>
                    <a:pt x="630" y="74"/>
                  </a:cubicBezTo>
                  <a:cubicBezTo>
                    <a:pt x="629" y="75"/>
                    <a:pt x="629" y="75"/>
                    <a:pt x="629" y="75"/>
                  </a:cubicBezTo>
                  <a:cubicBezTo>
                    <a:pt x="629" y="75"/>
                    <a:pt x="629" y="75"/>
                    <a:pt x="629" y="75"/>
                  </a:cubicBezTo>
                  <a:cubicBezTo>
                    <a:pt x="629" y="75"/>
                    <a:pt x="629" y="75"/>
                    <a:pt x="629" y="75"/>
                  </a:cubicBezTo>
                  <a:cubicBezTo>
                    <a:pt x="629" y="76"/>
                    <a:pt x="629" y="76"/>
                    <a:pt x="629" y="76"/>
                  </a:cubicBezTo>
                  <a:cubicBezTo>
                    <a:pt x="629" y="76"/>
                    <a:pt x="629" y="76"/>
                    <a:pt x="629" y="76"/>
                  </a:cubicBezTo>
                  <a:cubicBezTo>
                    <a:pt x="629" y="76"/>
                    <a:pt x="629" y="77"/>
                    <a:pt x="629" y="77"/>
                  </a:cubicBezTo>
                  <a:cubicBezTo>
                    <a:pt x="629" y="77"/>
                    <a:pt x="629" y="77"/>
                    <a:pt x="629" y="77"/>
                  </a:cubicBezTo>
                  <a:cubicBezTo>
                    <a:pt x="628" y="77"/>
                    <a:pt x="628" y="78"/>
                    <a:pt x="628" y="78"/>
                  </a:cubicBezTo>
                  <a:cubicBezTo>
                    <a:pt x="628" y="78"/>
                    <a:pt x="628" y="78"/>
                    <a:pt x="628" y="78"/>
                  </a:cubicBezTo>
                  <a:cubicBezTo>
                    <a:pt x="628" y="78"/>
                    <a:pt x="628" y="78"/>
                    <a:pt x="628" y="78"/>
                  </a:cubicBezTo>
                  <a:cubicBezTo>
                    <a:pt x="628" y="78"/>
                    <a:pt x="628" y="79"/>
                    <a:pt x="628" y="79"/>
                  </a:cubicBezTo>
                  <a:cubicBezTo>
                    <a:pt x="628" y="79"/>
                    <a:pt x="628" y="79"/>
                    <a:pt x="628" y="79"/>
                  </a:cubicBezTo>
                  <a:cubicBezTo>
                    <a:pt x="628" y="79"/>
                    <a:pt x="628" y="80"/>
                    <a:pt x="628" y="80"/>
                  </a:cubicBezTo>
                  <a:cubicBezTo>
                    <a:pt x="628" y="80"/>
                    <a:pt x="628" y="80"/>
                    <a:pt x="628" y="80"/>
                  </a:cubicBezTo>
                  <a:cubicBezTo>
                    <a:pt x="627" y="80"/>
                    <a:pt x="628" y="81"/>
                    <a:pt x="627" y="81"/>
                  </a:cubicBezTo>
                  <a:cubicBezTo>
                    <a:pt x="627" y="81"/>
                    <a:pt x="627" y="81"/>
                    <a:pt x="627" y="81"/>
                  </a:cubicBezTo>
                  <a:cubicBezTo>
                    <a:pt x="627" y="81"/>
                    <a:pt x="627" y="82"/>
                    <a:pt x="627" y="82"/>
                  </a:cubicBezTo>
                  <a:cubicBezTo>
                    <a:pt x="627" y="82"/>
                    <a:pt x="627" y="82"/>
                    <a:pt x="627" y="82"/>
                  </a:cubicBezTo>
                  <a:cubicBezTo>
                    <a:pt x="627" y="82"/>
                    <a:pt x="627" y="82"/>
                    <a:pt x="627" y="82"/>
                  </a:cubicBezTo>
                  <a:cubicBezTo>
                    <a:pt x="627" y="82"/>
                    <a:pt x="627" y="83"/>
                    <a:pt x="627" y="83"/>
                  </a:cubicBezTo>
                  <a:cubicBezTo>
                    <a:pt x="627" y="83"/>
                    <a:pt x="627" y="83"/>
                    <a:pt x="626" y="83"/>
                  </a:cubicBezTo>
                  <a:cubicBezTo>
                    <a:pt x="626" y="83"/>
                    <a:pt x="626" y="84"/>
                    <a:pt x="626" y="84"/>
                  </a:cubicBezTo>
                  <a:cubicBezTo>
                    <a:pt x="626" y="84"/>
                    <a:pt x="626" y="84"/>
                    <a:pt x="626" y="84"/>
                  </a:cubicBezTo>
                  <a:cubicBezTo>
                    <a:pt x="626" y="84"/>
                    <a:pt x="626" y="85"/>
                    <a:pt x="626" y="85"/>
                  </a:cubicBezTo>
                  <a:cubicBezTo>
                    <a:pt x="626" y="85"/>
                    <a:pt x="626" y="85"/>
                    <a:pt x="626" y="85"/>
                  </a:cubicBezTo>
                  <a:cubicBezTo>
                    <a:pt x="626" y="85"/>
                    <a:pt x="626" y="85"/>
                    <a:pt x="626" y="86"/>
                  </a:cubicBezTo>
                  <a:cubicBezTo>
                    <a:pt x="626" y="86"/>
                    <a:pt x="626" y="86"/>
                    <a:pt x="626" y="86"/>
                  </a:cubicBezTo>
                  <a:cubicBezTo>
                    <a:pt x="625" y="86"/>
                    <a:pt x="625" y="86"/>
                    <a:pt x="625" y="86"/>
                  </a:cubicBezTo>
                  <a:cubicBezTo>
                    <a:pt x="625" y="86"/>
                    <a:pt x="625" y="86"/>
                    <a:pt x="625" y="87"/>
                  </a:cubicBezTo>
                  <a:cubicBezTo>
                    <a:pt x="625" y="87"/>
                    <a:pt x="625" y="87"/>
                    <a:pt x="625" y="87"/>
                  </a:cubicBezTo>
                  <a:cubicBezTo>
                    <a:pt x="625" y="87"/>
                    <a:pt x="625" y="87"/>
                    <a:pt x="625" y="88"/>
                  </a:cubicBezTo>
                  <a:cubicBezTo>
                    <a:pt x="625" y="88"/>
                    <a:pt x="625" y="88"/>
                    <a:pt x="625" y="88"/>
                  </a:cubicBezTo>
                  <a:cubicBezTo>
                    <a:pt x="625" y="88"/>
                    <a:pt x="625" y="88"/>
                    <a:pt x="625" y="88"/>
                  </a:cubicBezTo>
                  <a:cubicBezTo>
                    <a:pt x="625" y="89"/>
                    <a:pt x="625" y="89"/>
                    <a:pt x="625" y="89"/>
                  </a:cubicBezTo>
                  <a:cubicBezTo>
                    <a:pt x="624" y="89"/>
                    <a:pt x="624" y="89"/>
                    <a:pt x="624" y="89"/>
                  </a:cubicBezTo>
                  <a:cubicBezTo>
                    <a:pt x="624" y="89"/>
                    <a:pt x="624" y="89"/>
                    <a:pt x="624" y="89"/>
                  </a:cubicBezTo>
                  <a:cubicBezTo>
                    <a:pt x="624" y="89"/>
                    <a:pt x="624" y="89"/>
                    <a:pt x="624" y="89"/>
                  </a:cubicBezTo>
                  <a:cubicBezTo>
                    <a:pt x="623" y="90"/>
                    <a:pt x="624" y="89"/>
                    <a:pt x="623" y="89"/>
                  </a:cubicBezTo>
                  <a:cubicBezTo>
                    <a:pt x="623" y="89"/>
                    <a:pt x="623" y="89"/>
                    <a:pt x="623" y="89"/>
                  </a:cubicBezTo>
                  <a:cubicBezTo>
                    <a:pt x="623" y="88"/>
                    <a:pt x="623" y="88"/>
                    <a:pt x="623" y="88"/>
                  </a:cubicBezTo>
                  <a:cubicBezTo>
                    <a:pt x="623" y="88"/>
                    <a:pt x="623" y="88"/>
                    <a:pt x="623" y="88"/>
                  </a:cubicBezTo>
                  <a:cubicBezTo>
                    <a:pt x="623" y="87"/>
                    <a:pt x="623" y="87"/>
                    <a:pt x="623" y="87"/>
                  </a:cubicBezTo>
                  <a:cubicBezTo>
                    <a:pt x="623" y="87"/>
                    <a:pt x="623" y="87"/>
                    <a:pt x="623" y="87"/>
                  </a:cubicBezTo>
                  <a:cubicBezTo>
                    <a:pt x="623" y="86"/>
                    <a:pt x="623" y="86"/>
                    <a:pt x="622" y="86"/>
                  </a:cubicBezTo>
                  <a:cubicBezTo>
                    <a:pt x="622" y="86"/>
                    <a:pt x="622" y="86"/>
                    <a:pt x="622" y="86"/>
                  </a:cubicBezTo>
                  <a:cubicBezTo>
                    <a:pt x="622" y="85"/>
                    <a:pt x="622" y="85"/>
                    <a:pt x="622" y="85"/>
                  </a:cubicBezTo>
                  <a:cubicBezTo>
                    <a:pt x="622" y="85"/>
                    <a:pt x="622" y="85"/>
                    <a:pt x="622" y="85"/>
                  </a:cubicBezTo>
                  <a:cubicBezTo>
                    <a:pt x="622" y="84"/>
                    <a:pt x="622" y="84"/>
                    <a:pt x="622" y="84"/>
                  </a:cubicBezTo>
                  <a:cubicBezTo>
                    <a:pt x="622" y="84"/>
                    <a:pt x="622" y="84"/>
                    <a:pt x="622" y="84"/>
                  </a:cubicBezTo>
                  <a:cubicBezTo>
                    <a:pt x="622" y="84"/>
                    <a:pt x="622" y="84"/>
                    <a:pt x="622" y="84"/>
                  </a:cubicBezTo>
                  <a:cubicBezTo>
                    <a:pt x="622" y="83"/>
                    <a:pt x="622" y="83"/>
                    <a:pt x="621" y="83"/>
                  </a:cubicBezTo>
                  <a:cubicBezTo>
                    <a:pt x="621" y="83"/>
                    <a:pt x="621" y="83"/>
                    <a:pt x="621" y="83"/>
                  </a:cubicBezTo>
                  <a:cubicBezTo>
                    <a:pt x="621" y="83"/>
                    <a:pt x="621" y="83"/>
                    <a:pt x="621" y="83"/>
                  </a:cubicBezTo>
                  <a:cubicBezTo>
                    <a:pt x="621" y="82"/>
                    <a:pt x="621" y="82"/>
                    <a:pt x="621" y="82"/>
                  </a:cubicBezTo>
                  <a:cubicBezTo>
                    <a:pt x="621" y="82"/>
                    <a:pt x="621" y="82"/>
                    <a:pt x="621" y="82"/>
                  </a:cubicBezTo>
                  <a:cubicBezTo>
                    <a:pt x="621" y="81"/>
                    <a:pt x="621" y="81"/>
                    <a:pt x="621" y="81"/>
                  </a:cubicBezTo>
                  <a:cubicBezTo>
                    <a:pt x="621" y="81"/>
                    <a:pt x="621" y="81"/>
                    <a:pt x="621" y="81"/>
                  </a:cubicBezTo>
                  <a:cubicBezTo>
                    <a:pt x="620" y="80"/>
                    <a:pt x="621" y="80"/>
                    <a:pt x="620" y="80"/>
                  </a:cubicBezTo>
                  <a:cubicBezTo>
                    <a:pt x="620" y="80"/>
                    <a:pt x="620" y="80"/>
                    <a:pt x="620" y="80"/>
                  </a:cubicBezTo>
                  <a:cubicBezTo>
                    <a:pt x="620" y="79"/>
                    <a:pt x="620" y="79"/>
                    <a:pt x="620" y="79"/>
                  </a:cubicBezTo>
                  <a:cubicBezTo>
                    <a:pt x="620" y="79"/>
                    <a:pt x="620" y="79"/>
                    <a:pt x="620" y="79"/>
                  </a:cubicBezTo>
                  <a:cubicBezTo>
                    <a:pt x="620" y="78"/>
                    <a:pt x="620" y="78"/>
                    <a:pt x="620" y="78"/>
                  </a:cubicBezTo>
                  <a:cubicBezTo>
                    <a:pt x="619" y="78"/>
                    <a:pt x="619" y="78"/>
                    <a:pt x="620" y="78"/>
                  </a:cubicBezTo>
                  <a:cubicBezTo>
                    <a:pt x="619" y="77"/>
                    <a:pt x="619" y="77"/>
                    <a:pt x="619" y="77"/>
                  </a:cubicBezTo>
                  <a:cubicBezTo>
                    <a:pt x="619" y="77"/>
                    <a:pt x="619" y="77"/>
                    <a:pt x="619" y="77"/>
                  </a:cubicBezTo>
                  <a:cubicBezTo>
                    <a:pt x="619" y="77"/>
                    <a:pt x="619" y="77"/>
                    <a:pt x="619" y="77"/>
                  </a:cubicBezTo>
                  <a:cubicBezTo>
                    <a:pt x="619" y="76"/>
                    <a:pt x="619" y="76"/>
                    <a:pt x="619" y="76"/>
                  </a:cubicBezTo>
                  <a:cubicBezTo>
                    <a:pt x="619" y="76"/>
                    <a:pt x="619" y="76"/>
                    <a:pt x="619" y="76"/>
                  </a:cubicBezTo>
                  <a:cubicBezTo>
                    <a:pt x="619" y="76"/>
                    <a:pt x="619" y="76"/>
                    <a:pt x="619" y="76"/>
                  </a:cubicBezTo>
                  <a:cubicBezTo>
                    <a:pt x="619" y="75"/>
                    <a:pt x="619" y="75"/>
                    <a:pt x="619" y="75"/>
                  </a:cubicBezTo>
                  <a:cubicBezTo>
                    <a:pt x="619" y="75"/>
                    <a:pt x="619" y="75"/>
                    <a:pt x="619" y="75"/>
                  </a:cubicBezTo>
                  <a:cubicBezTo>
                    <a:pt x="618" y="74"/>
                    <a:pt x="619" y="74"/>
                    <a:pt x="618" y="74"/>
                  </a:cubicBezTo>
                  <a:cubicBezTo>
                    <a:pt x="618" y="74"/>
                    <a:pt x="618" y="74"/>
                    <a:pt x="618" y="74"/>
                  </a:cubicBezTo>
                  <a:cubicBezTo>
                    <a:pt x="618" y="73"/>
                    <a:pt x="618" y="73"/>
                    <a:pt x="618" y="73"/>
                  </a:cubicBezTo>
                  <a:cubicBezTo>
                    <a:pt x="618" y="73"/>
                    <a:pt x="618" y="73"/>
                    <a:pt x="618" y="73"/>
                  </a:cubicBezTo>
                  <a:cubicBezTo>
                    <a:pt x="618" y="72"/>
                    <a:pt x="618" y="72"/>
                    <a:pt x="617" y="72"/>
                  </a:cubicBezTo>
                  <a:cubicBezTo>
                    <a:pt x="617" y="72"/>
                    <a:pt x="617" y="72"/>
                    <a:pt x="617" y="72"/>
                  </a:cubicBezTo>
                  <a:cubicBezTo>
                    <a:pt x="617" y="71"/>
                    <a:pt x="617" y="71"/>
                    <a:pt x="617" y="71"/>
                  </a:cubicBezTo>
                  <a:cubicBezTo>
                    <a:pt x="617" y="71"/>
                    <a:pt x="617" y="71"/>
                    <a:pt x="617" y="71"/>
                  </a:cubicBezTo>
                  <a:cubicBezTo>
                    <a:pt x="617" y="70"/>
                    <a:pt x="617" y="70"/>
                    <a:pt x="617" y="70"/>
                  </a:cubicBezTo>
                  <a:cubicBezTo>
                    <a:pt x="617" y="70"/>
                    <a:pt x="617" y="70"/>
                    <a:pt x="617" y="70"/>
                  </a:cubicBezTo>
                  <a:cubicBezTo>
                    <a:pt x="617" y="70"/>
                    <a:pt x="617" y="70"/>
                    <a:pt x="617" y="70"/>
                  </a:cubicBezTo>
                  <a:cubicBezTo>
                    <a:pt x="617" y="69"/>
                    <a:pt x="617" y="69"/>
                    <a:pt x="616" y="69"/>
                  </a:cubicBezTo>
                  <a:cubicBezTo>
                    <a:pt x="616" y="69"/>
                    <a:pt x="616" y="69"/>
                    <a:pt x="616" y="69"/>
                  </a:cubicBezTo>
                  <a:cubicBezTo>
                    <a:pt x="616" y="69"/>
                    <a:pt x="616" y="69"/>
                    <a:pt x="616" y="69"/>
                  </a:cubicBezTo>
                  <a:cubicBezTo>
                    <a:pt x="616" y="68"/>
                    <a:pt x="616" y="68"/>
                    <a:pt x="616" y="68"/>
                  </a:cubicBezTo>
                  <a:cubicBezTo>
                    <a:pt x="616" y="68"/>
                    <a:pt x="616" y="68"/>
                    <a:pt x="616" y="68"/>
                  </a:cubicBezTo>
                  <a:cubicBezTo>
                    <a:pt x="616" y="67"/>
                    <a:pt x="616" y="67"/>
                    <a:pt x="616" y="67"/>
                  </a:cubicBezTo>
                  <a:cubicBezTo>
                    <a:pt x="616" y="67"/>
                    <a:pt x="616" y="67"/>
                    <a:pt x="616" y="67"/>
                  </a:cubicBezTo>
                  <a:cubicBezTo>
                    <a:pt x="615" y="66"/>
                    <a:pt x="616" y="66"/>
                    <a:pt x="615" y="66"/>
                  </a:cubicBezTo>
                  <a:cubicBezTo>
                    <a:pt x="615" y="66"/>
                    <a:pt x="615" y="66"/>
                    <a:pt x="615" y="66"/>
                  </a:cubicBezTo>
                  <a:cubicBezTo>
                    <a:pt x="615" y="65"/>
                    <a:pt x="615" y="65"/>
                    <a:pt x="615" y="65"/>
                  </a:cubicBezTo>
                  <a:cubicBezTo>
                    <a:pt x="615" y="65"/>
                    <a:pt x="615" y="65"/>
                    <a:pt x="615" y="65"/>
                  </a:cubicBezTo>
                  <a:cubicBezTo>
                    <a:pt x="615" y="64"/>
                    <a:pt x="615" y="64"/>
                    <a:pt x="615" y="64"/>
                  </a:cubicBezTo>
                  <a:cubicBezTo>
                    <a:pt x="615" y="64"/>
                    <a:pt x="615" y="64"/>
                    <a:pt x="615" y="64"/>
                  </a:cubicBezTo>
                  <a:cubicBezTo>
                    <a:pt x="615" y="63"/>
                    <a:pt x="615" y="63"/>
                    <a:pt x="614" y="63"/>
                  </a:cubicBezTo>
                  <a:cubicBezTo>
                    <a:pt x="614" y="63"/>
                    <a:pt x="614" y="63"/>
                    <a:pt x="614" y="63"/>
                  </a:cubicBezTo>
                  <a:cubicBezTo>
                    <a:pt x="614" y="62"/>
                    <a:pt x="614" y="62"/>
                    <a:pt x="614" y="62"/>
                  </a:cubicBezTo>
                  <a:cubicBezTo>
                    <a:pt x="614" y="62"/>
                    <a:pt x="614" y="62"/>
                    <a:pt x="614" y="62"/>
                  </a:cubicBezTo>
                  <a:cubicBezTo>
                    <a:pt x="614" y="62"/>
                    <a:pt x="614" y="62"/>
                    <a:pt x="614" y="62"/>
                  </a:cubicBezTo>
                  <a:cubicBezTo>
                    <a:pt x="614" y="61"/>
                    <a:pt x="614" y="61"/>
                    <a:pt x="614" y="61"/>
                  </a:cubicBezTo>
                  <a:cubicBezTo>
                    <a:pt x="614" y="61"/>
                    <a:pt x="614" y="61"/>
                    <a:pt x="614" y="61"/>
                  </a:cubicBezTo>
                  <a:cubicBezTo>
                    <a:pt x="613" y="61"/>
                    <a:pt x="614" y="60"/>
                    <a:pt x="613" y="60"/>
                  </a:cubicBezTo>
                  <a:cubicBezTo>
                    <a:pt x="613" y="60"/>
                    <a:pt x="613" y="60"/>
                    <a:pt x="613" y="60"/>
                  </a:cubicBezTo>
                  <a:cubicBezTo>
                    <a:pt x="613" y="59"/>
                    <a:pt x="613" y="59"/>
                    <a:pt x="613" y="59"/>
                  </a:cubicBezTo>
                  <a:cubicBezTo>
                    <a:pt x="613" y="59"/>
                    <a:pt x="613" y="59"/>
                    <a:pt x="613" y="59"/>
                  </a:cubicBezTo>
                  <a:cubicBezTo>
                    <a:pt x="613" y="58"/>
                    <a:pt x="613" y="58"/>
                    <a:pt x="613" y="58"/>
                  </a:cubicBezTo>
                  <a:cubicBezTo>
                    <a:pt x="613" y="58"/>
                    <a:pt x="613" y="58"/>
                    <a:pt x="613" y="58"/>
                  </a:cubicBezTo>
                  <a:cubicBezTo>
                    <a:pt x="612" y="57"/>
                    <a:pt x="612" y="57"/>
                    <a:pt x="612" y="57"/>
                  </a:cubicBezTo>
                  <a:cubicBezTo>
                    <a:pt x="612" y="57"/>
                    <a:pt x="612" y="57"/>
                    <a:pt x="612" y="57"/>
                  </a:cubicBezTo>
                  <a:cubicBezTo>
                    <a:pt x="612" y="56"/>
                    <a:pt x="612" y="56"/>
                    <a:pt x="612" y="56"/>
                  </a:cubicBezTo>
                  <a:cubicBezTo>
                    <a:pt x="612" y="56"/>
                    <a:pt x="612" y="56"/>
                    <a:pt x="612" y="56"/>
                  </a:cubicBezTo>
                  <a:cubicBezTo>
                    <a:pt x="612" y="55"/>
                    <a:pt x="612" y="55"/>
                    <a:pt x="612" y="55"/>
                  </a:cubicBezTo>
                  <a:cubicBezTo>
                    <a:pt x="611" y="55"/>
                    <a:pt x="611" y="55"/>
                    <a:pt x="611" y="55"/>
                  </a:cubicBezTo>
                  <a:cubicBezTo>
                    <a:pt x="612" y="55"/>
                    <a:pt x="612" y="55"/>
                    <a:pt x="612" y="55"/>
                  </a:cubicBezTo>
                  <a:cubicBezTo>
                    <a:pt x="611" y="54"/>
                    <a:pt x="611" y="54"/>
                    <a:pt x="611" y="54"/>
                  </a:cubicBezTo>
                  <a:cubicBezTo>
                    <a:pt x="611" y="54"/>
                    <a:pt x="611" y="54"/>
                    <a:pt x="611" y="54"/>
                  </a:cubicBezTo>
                  <a:cubicBezTo>
                    <a:pt x="611" y="54"/>
                    <a:pt x="611" y="54"/>
                    <a:pt x="611" y="54"/>
                  </a:cubicBezTo>
                  <a:cubicBezTo>
                    <a:pt x="611" y="53"/>
                    <a:pt x="611" y="53"/>
                    <a:pt x="611" y="53"/>
                  </a:cubicBezTo>
                  <a:cubicBezTo>
                    <a:pt x="611" y="53"/>
                    <a:pt x="611" y="53"/>
                    <a:pt x="611" y="53"/>
                  </a:cubicBezTo>
                  <a:cubicBezTo>
                    <a:pt x="611" y="53"/>
                    <a:pt x="611" y="52"/>
                    <a:pt x="611" y="52"/>
                  </a:cubicBezTo>
                  <a:cubicBezTo>
                    <a:pt x="611" y="52"/>
                    <a:pt x="611" y="52"/>
                    <a:pt x="611" y="52"/>
                  </a:cubicBezTo>
                  <a:cubicBezTo>
                    <a:pt x="610" y="51"/>
                    <a:pt x="611" y="51"/>
                    <a:pt x="610" y="51"/>
                  </a:cubicBezTo>
                  <a:cubicBezTo>
                    <a:pt x="610" y="51"/>
                    <a:pt x="610" y="51"/>
                    <a:pt x="610" y="51"/>
                  </a:cubicBezTo>
                  <a:cubicBezTo>
                    <a:pt x="610" y="50"/>
                    <a:pt x="610" y="50"/>
                    <a:pt x="610" y="50"/>
                  </a:cubicBezTo>
                  <a:cubicBezTo>
                    <a:pt x="610" y="50"/>
                    <a:pt x="610" y="50"/>
                    <a:pt x="610" y="50"/>
                  </a:cubicBezTo>
                  <a:cubicBezTo>
                    <a:pt x="610" y="49"/>
                    <a:pt x="610" y="49"/>
                    <a:pt x="610" y="49"/>
                  </a:cubicBezTo>
                  <a:cubicBezTo>
                    <a:pt x="609" y="49"/>
                    <a:pt x="609" y="49"/>
                    <a:pt x="609" y="49"/>
                  </a:cubicBezTo>
                  <a:cubicBezTo>
                    <a:pt x="609" y="48"/>
                    <a:pt x="609" y="48"/>
                    <a:pt x="609" y="48"/>
                  </a:cubicBezTo>
                  <a:cubicBezTo>
                    <a:pt x="609" y="48"/>
                    <a:pt x="609" y="48"/>
                    <a:pt x="609" y="48"/>
                  </a:cubicBezTo>
                  <a:cubicBezTo>
                    <a:pt x="609" y="48"/>
                    <a:pt x="609" y="48"/>
                    <a:pt x="609" y="48"/>
                  </a:cubicBezTo>
                  <a:cubicBezTo>
                    <a:pt x="609" y="47"/>
                    <a:pt x="609" y="47"/>
                    <a:pt x="609" y="47"/>
                  </a:cubicBezTo>
                  <a:cubicBezTo>
                    <a:pt x="609" y="47"/>
                    <a:pt x="609" y="47"/>
                    <a:pt x="609" y="47"/>
                  </a:cubicBezTo>
                  <a:cubicBezTo>
                    <a:pt x="609" y="47"/>
                    <a:pt x="609" y="47"/>
                    <a:pt x="609" y="47"/>
                  </a:cubicBezTo>
                  <a:cubicBezTo>
                    <a:pt x="609" y="46"/>
                    <a:pt x="609" y="46"/>
                    <a:pt x="608" y="46"/>
                  </a:cubicBezTo>
                  <a:cubicBezTo>
                    <a:pt x="608" y="46"/>
                    <a:pt x="608" y="46"/>
                    <a:pt x="608" y="46"/>
                  </a:cubicBezTo>
                  <a:cubicBezTo>
                    <a:pt x="608" y="46"/>
                    <a:pt x="608" y="45"/>
                    <a:pt x="608" y="45"/>
                  </a:cubicBezTo>
                  <a:cubicBezTo>
                    <a:pt x="608" y="45"/>
                    <a:pt x="608" y="45"/>
                    <a:pt x="608" y="45"/>
                  </a:cubicBezTo>
                  <a:cubicBezTo>
                    <a:pt x="608" y="45"/>
                    <a:pt x="608" y="44"/>
                    <a:pt x="608" y="44"/>
                  </a:cubicBezTo>
                  <a:cubicBezTo>
                    <a:pt x="608" y="44"/>
                    <a:pt x="608" y="44"/>
                    <a:pt x="608" y="44"/>
                  </a:cubicBezTo>
                  <a:cubicBezTo>
                    <a:pt x="607" y="43"/>
                    <a:pt x="608" y="43"/>
                    <a:pt x="607" y="43"/>
                  </a:cubicBezTo>
                  <a:cubicBezTo>
                    <a:pt x="607" y="43"/>
                    <a:pt x="607" y="43"/>
                    <a:pt x="607" y="43"/>
                  </a:cubicBezTo>
                  <a:cubicBezTo>
                    <a:pt x="607" y="43"/>
                    <a:pt x="607" y="42"/>
                    <a:pt x="607" y="42"/>
                  </a:cubicBezTo>
                  <a:cubicBezTo>
                    <a:pt x="607" y="42"/>
                    <a:pt x="607" y="42"/>
                    <a:pt x="607" y="42"/>
                  </a:cubicBezTo>
                  <a:cubicBezTo>
                    <a:pt x="607" y="41"/>
                    <a:pt x="607" y="41"/>
                    <a:pt x="607" y="41"/>
                  </a:cubicBezTo>
                  <a:cubicBezTo>
                    <a:pt x="607" y="41"/>
                    <a:pt x="607" y="41"/>
                    <a:pt x="607" y="41"/>
                  </a:cubicBezTo>
                  <a:cubicBezTo>
                    <a:pt x="607" y="41"/>
                    <a:pt x="607" y="41"/>
                    <a:pt x="607" y="41"/>
                  </a:cubicBezTo>
                  <a:cubicBezTo>
                    <a:pt x="607" y="40"/>
                    <a:pt x="607" y="40"/>
                    <a:pt x="606" y="40"/>
                  </a:cubicBezTo>
                  <a:cubicBezTo>
                    <a:pt x="606" y="40"/>
                    <a:pt x="606" y="40"/>
                    <a:pt x="606" y="40"/>
                  </a:cubicBezTo>
                  <a:cubicBezTo>
                    <a:pt x="606" y="40"/>
                    <a:pt x="606" y="40"/>
                    <a:pt x="606" y="40"/>
                  </a:cubicBezTo>
                  <a:cubicBezTo>
                    <a:pt x="606" y="39"/>
                    <a:pt x="606" y="39"/>
                    <a:pt x="606" y="39"/>
                  </a:cubicBezTo>
                  <a:cubicBezTo>
                    <a:pt x="606" y="39"/>
                    <a:pt x="606" y="39"/>
                    <a:pt x="606" y="39"/>
                  </a:cubicBezTo>
                  <a:cubicBezTo>
                    <a:pt x="606" y="39"/>
                    <a:pt x="606" y="38"/>
                    <a:pt x="606" y="38"/>
                  </a:cubicBezTo>
                  <a:cubicBezTo>
                    <a:pt x="606" y="38"/>
                    <a:pt x="606" y="38"/>
                    <a:pt x="606" y="38"/>
                  </a:cubicBezTo>
                  <a:cubicBezTo>
                    <a:pt x="605" y="38"/>
                    <a:pt x="606" y="37"/>
                    <a:pt x="605" y="37"/>
                  </a:cubicBezTo>
                  <a:cubicBezTo>
                    <a:pt x="605" y="37"/>
                    <a:pt x="605" y="37"/>
                    <a:pt x="605" y="37"/>
                  </a:cubicBezTo>
                  <a:cubicBezTo>
                    <a:pt x="605" y="37"/>
                    <a:pt x="605" y="36"/>
                    <a:pt x="605" y="36"/>
                  </a:cubicBezTo>
                  <a:cubicBezTo>
                    <a:pt x="605" y="36"/>
                    <a:pt x="605" y="36"/>
                    <a:pt x="605" y="36"/>
                  </a:cubicBezTo>
                  <a:cubicBezTo>
                    <a:pt x="605" y="36"/>
                    <a:pt x="605" y="35"/>
                    <a:pt x="605" y="35"/>
                  </a:cubicBezTo>
                  <a:cubicBezTo>
                    <a:pt x="605" y="35"/>
                    <a:pt x="605" y="35"/>
                    <a:pt x="605" y="35"/>
                  </a:cubicBezTo>
                  <a:cubicBezTo>
                    <a:pt x="604" y="34"/>
                    <a:pt x="604" y="34"/>
                    <a:pt x="604" y="34"/>
                  </a:cubicBezTo>
                  <a:cubicBezTo>
                    <a:pt x="600" y="34"/>
                    <a:pt x="597" y="34"/>
                    <a:pt x="593" y="34"/>
                  </a:cubicBezTo>
                  <a:cubicBezTo>
                    <a:pt x="592" y="34"/>
                    <a:pt x="592" y="35"/>
                    <a:pt x="592" y="35"/>
                  </a:cubicBezTo>
                  <a:cubicBezTo>
                    <a:pt x="593" y="35"/>
                    <a:pt x="593" y="35"/>
                    <a:pt x="593" y="35"/>
                  </a:cubicBezTo>
                  <a:cubicBezTo>
                    <a:pt x="592" y="35"/>
                    <a:pt x="592" y="35"/>
                    <a:pt x="592" y="35"/>
                  </a:cubicBezTo>
                  <a:cubicBezTo>
                    <a:pt x="593" y="36"/>
                    <a:pt x="593" y="36"/>
                    <a:pt x="593" y="36"/>
                  </a:cubicBezTo>
                  <a:cubicBezTo>
                    <a:pt x="593" y="36"/>
                    <a:pt x="593" y="36"/>
                    <a:pt x="593" y="36"/>
                  </a:cubicBezTo>
                  <a:cubicBezTo>
                    <a:pt x="593" y="36"/>
                    <a:pt x="593" y="37"/>
                    <a:pt x="593" y="37"/>
                  </a:cubicBezTo>
                  <a:cubicBezTo>
                    <a:pt x="593" y="37"/>
                    <a:pt x="593" y="37"/>
                    <a:pt x="593" y="37"/>
                  </a:cubicBezTo>
                  <a:cubicBezTo>
                    <a:pt x="593" y="37"/>
                    <a:pt x="593" y="38"/>
                    <a:pt x="593" y="38"/>
                  </a:cubicBezTo>
                  <a:cubicBezTo>
                    <a:pt x="593" y="38"/>
                    <a:pt x="593" y="38"/>
                    <a:pt x="593" y="38"/>
                  </a:cubicBezTo>
                  <a:cubicBezTo>
                    <a:pt x="594" y="38"/>
                    <a:pt x="594" y="38"/>
                    <a:pt x="594" y="39"/>
                  </a:cubicBezTo>
                  <a:cubicBezTo>
                    <a:pt x="594" y="39"/>
                    <a:pt x="594" y="39"/>
                    <a:pt x="594" y="39"/>
                  </a:cubicBezTo>
                  <a:cubicBezTo>
                    <a:pt x="594" y="39"/>
                    <a:pt x="594" y="39"/>
                    <a:pt x="594" y="40"/>
                  </a:cubicBezTo>
                  <a:cubicBezTo>
                    <a:pt x="594" y="40"/>
                    <a:pt x="594" y="40"/>
                    <a:pt x="594" y="40"/>
                  </a:cubicBezTo>
                  <a:cubicBezTo>
                    <a:pt x="595" y="40"/>
                    <a:pt x="594" y="40"/>
                    <a:pt x="595" y="41"/>
                  </a:cubicBezTo>
                  <a:cubicBezTo>
                    <a:pt x="595" y="41"/>
                    <a:pt x="595" y="41"/>
                    <a:pt x="595" y="41"/>
                  </a:cubicBezTo>
                  <a:cubicBezTo>
                    <a:pt x="595" y="41"/>
                    <a:pt x="595" y="41"/>
                    <a:pt x="595" y="41"/>
                  </a:cubicBezTo>
                  <a:cubicBezTo>
                    <a:pt x="595" y="41"/>
                    <a:pt x="595" y="41"/>
                    <a:pt x="595" y="41"/>
                  </a:cubicBezTo>
                  <a:cubicBezTo>
                    <a:pt x="595" y="42"/>
                    <a:pt x="595" y="42"/>
                    <a:pt x="595" y="42"/>
                  </a:cubicBezTo>
                  <a:cubicBezTo>
                    <a:pt x="595" y="42"/>
                    <a:pt x="595" y="42"/>
                    <a:pt x="595" y="42"/>
                  </a:cubicBezTo>
                  <a:cubicBezTo>
                    <a:pt x="595" y="43"/>
                    <a:pt x="595" y="43"/>
                    <a:pt x="596" y="43"/>
                  </a:cubicBezTo>
                  <a:cubicBezTo>
                    <a:pt x="596" y="43"/>
                    <a:pt x="596" y="43"/>
                    <a:pt x="596" y="43"/>
                  </a:cubicBezTo>
                  <a:cubicBezTo>
                    <a:pt x="596" y="43"/>
                    <a:pt x="596" y="43"/>
                    <a:pt x="596" y="43"/>
                  </a:cubicBezTo>
                  <a:cubicBezTo>
                    <a:pt x="596" y="44"/>
                    <a:pt x="596" y="44"/>
                    <a:pt x="596" y="44"/>
                  </a:cubicBezTo>
                  <a:cubicBezTo>
                    <a:pt x="596" y="44"/>
                    <a:pt x="596" y="44"/>
                    <a:pt x="596" y="44"/>
                  </a:cubicBezTo>
                  <a:cubicBezTo>
                    <a:pt x="596" y="44"/>
                    <a:pt x="596" y="45"/>
                    <a:pt x="596" y="45"/>
                  </a:cubicBezTo>
                  <a:cubicBezTo>
                    <a:pt x="596" y="45"/>
                    <a:pt x="596" y="45"/>
                    <a:pt x="596" y="45"/>
                  </a:cubicBezTo>
                  <a:cubicBezTo>
                    <a:pt x="596" y="45"/>
                    <a:pt x="596" y="46"/>
                    <a:pt x="597" y="46"/>
                  </a:cubicBezTo>
                  <a:cubicBezTo>
                    <a:pt x="597" y="46"/>
                    <a:pt x="597" y="46"/>
                    <a:pt x="597" y="46"/>
                  </a:cubicBezTo>
                  <a:cubicBezTo>
                    <a:pt x="597" y="46"/>
                    <a:pt x="597" y="46"/>
                    <a:pt x="597" y="47"/>
                  </a:cubicBezTo>
                  <a:cubicBezTo>
                    <a:pt x="597" y="47"/>
                    <a:pt x="597" y="47"/>
                    <a:pt x="597" y="47"/>
                  </a:cubicBezTo>
                  <a:cubicBezTo>
                    <a:pt x="597" y="47"/>
                    <a:pt x="597" y="47"/>
                    <a:pt x="597" y="48"/>
                  </a:cubicBezTo>
                  <a:cubicBezTo>
                    <a:pt x="597" y="48"/>
                    <a:pt x="597" y="48"/>
                    <a:pt x="597" y="48"/>
                  </a:cubicBezTo>
                  <a:cubicBezTo>
                    <a:pt x="598" y="48"/>
                    <a:pt x="597" y="48"/>
                    <a:pt x="598" y="49"/>
                  </a:cubicBezTo>
                  <a:cubicBezTo>
                    <a:pt x="598" y="49"/>
                    <a:pt x="598" y="49"/>
                    <a:pt x="598" y="49"/>
                  </a:cubicBezTo>
                  <a:cubicBezTo>
                    <a:pt x="598" y="49"/>
                    <a:pt x="598" y="49"/>
                    <a:pt x="598" y="49"/>
                  </a:cubicBezTo>
                  <a:cubicBezTo>
                    <a:pt x="598" y="49"/>
                    <a:pt x="598" y="49"/>
                    <a:pt x="598" y="49"/>
                  </a:cubicBezTo>
                  <a:cubicBezTo>
                    <a:pt x="598" y="50"/>
                    <a:pt x="598" y="50"/>
                    <a:pt x="598" y="50"/>
                  </a:cubicBezTo>
                  <a:cubicBezTo>
                    <a:pt x="598" y="50"/>
                    <a:pt x="598" y="50"/>
                    <a:pt x="598" y="50"/>
                  </a:cubicBezTo>
                  <a:cubicBezTo>
                    <a:pt x="599" y="51"/>
                    <a:pt x="598" y="51"/>
                    <a:pt x="599" y="51"/>
                  </a:cubicBezTo>
                  <a:cubicBezTo>
                    <a:pt x="599" y="51"/>
                    <a:pt x="599" y="51"/>
                    <a:pt x="599" y="51"/>
                  </a:cubicBezTo>
                  <a:cubicBezTo>
                    <a:pt x="599" y="51"/>
                    <a:pt x="599" y="51"/>
                    <a:pt x="599" y="51"/>
                  </a:cubicBezTo>
                  <a:cubicBezTo>
                    <a:pt x="599" y="52"/>
                    <a:pt x="599" y="52"/>
                    <a:pt x="599" y="52"/>
                  </a:cubicBezTo>
                  <a:cubicBezTo>
                    <a:pt x="599" y="52"/>
                    <a:pt x="599" y="52"/>
                    <a:pt x="599" y="52"/>
                  </a:cubicBezTo>
                  <a:cubicBezTo>
                    <a:pt x="599" y="52"/>
                    <a:pt x="599" y="53"/>
                    <a:pt x="599" y="53"/>
                  </a:cubicBezTo>
                  <a:cubicBezTo>
                    <a:pt x="599" y="53"/>
                    <a:pt x="599" y="53"/>
                    <a:pt x="599" y="53"/>
                  </a:cubicBezTo>
                  <a:cubicBezTo>
                    <a:pt x="600" y="53"/>
                    <a:pt x="600" y="54"/>
                    <a:pt x="600" y="54"/>
                  </a:cubicBezTo>
                  <a:cubicBezTo>
                    <a:pt x="600" y="54"/>
                    <a:pt x="600" y="54"/>
                    <a:pt x="600" y="54"/>
                  </a:cubicBezTo>
                  <a:cubicBezTo>
                    <a:pt x="600" y="54"/>
                    <a:pt x="600" y="54"/>
                    <a:pt x="600" y="55"/>
                  </a:cubicBezTo>
                  <a:cubicBezTo>
                    <a:pt x="600" y="55"/>
                    <a:pt x="600" y="55"/>
                    <a:pt x="600" y="55"/>
                  </a:cubicBezTo>
                  <a:cubicBezTo>
                    <a:pt x="600" y="55"/>
                    <a:pt x="600" y="55"/>
                    <a:pt x="600" y="56"/>
                  </a:cubicBezTo>
                  <a:cubicBezTo>
                    <a:pt x="600" y="56"/>
                    <a:pt x="600" y="56"/>
                    <a:pt x="600" y="56"/>
                  </a:cubicBezTo>
                  <a:cubicBezTo>
                    <a:pt x="601" y="56"/>
                    <a:pt x="600" y="56"/>
                    <a:pt x="601" y="57"/>
                  </a:cubicBezTo>
                  <a:cubicBezTo>
                    <a:pt x="601" y="57"/>
                    <a:pt x="601" y="57"/>
                    <a:pt x="601" y="57"/>
                  </a:cubicBezTo>
                  <a:cubicBezTo>
                    <a:pt x="601" y="57"/>
                    <a:pt x="601" y="57"/>
                    <a:pt x="601" y="57"/>
                  </a:cubicBezTo>
                  <a:cubicBezTo>
                    <a:pt x="601" y="57"/>
                    <a:pt x="601" y="57"/>
                    <a:pt x="601" y="57"/>
                  </a:cubicBezTo>
                  <a:cubicBezTo>
                    <a:pt x="601" y="58"/>
                    <a:pt x="601" y="58"/>
                    <a:pt x="602" y="58"/>
                  </a:cubicBezTo>
                  <a:cubicBezTo>
                    <a:pt x="602" y="58"/>
                    <a:pt x="602" y="58"/>
                    <a:pt x="602" y="58"/>
                  </a:cubicBezTo>
                  <a:cubicBezTo>
                    <a:pt x="602" y="59"/>
                    <a:pt x="602" y="59"/>
                    <a:pt x="602" y="59"/>
                  </a:cubicBezTo>
                  <a:cubicBezTo>
                    <a:pt x="602" y="59"/>
                    <a:pt x="602" y="59"/>
                    <a:pt x="602" y="59"/>
                  </a:cubicBezTo>
                  <a:cubicBezTo>
                    <a:pt x="602" y="59"/>
                    <a:pt x="602" y="59"/>
                    <a:pt x="602" y="59"/>
                  </a:cubicBezTo>
                  <a:cubicBezTo>
                    <a:pt x="602" y="60"/>
                    <a:pt x="602" y="60"/>
                    <a:pt x="602" y="60"/>
                  </a:cubicBezTo>
                  <a:cubicBezTo>
                    <a:pt x="602" y="60"/>
                    <a:pt x="602" y="60"/>
                    <a:pt x="602" y="60"/>
                  </a:cubicBezTo>
                  <a:cubicBezTo>
                    <a:pt x="602" y="60"/>
                    <a:pt x="602" y="61"/>
                    <a:pt x="602" y="61"/>
                  </a:cubicBezTo>
                  <a:cubicBezTo>
                    <a:pt x="603" y="61"/>
                    <a:pt x="603" y="61"/>
                    <a:pt x="603" y="61"/>
                  </a:cubicBezTo>
                  <a:cubicBezTo>
                    <a:pt x="603" y="61"/>
                    <a:pt x="603" y="62"/>
                    <a:pt x="603" y="62"/>
                  </a:cubicBezTo>
                  <a:cubicBezTo>
                    <a:pt x="603" y="62"/>
                    <a:pt x="603" y="62"/>
                    <a:pt x="603" y="62"/>
                  </a:cubicBezTo>
                  <a:cubicBezTo>
                    <a:pt x="603" y="62"/>
                    <a:pt x="603" y="62"/>
                    <a:pt x="603" y="63"/>
                  </a:cubicBezTo>
                  <a:cubicBezTo>
                    <a:pt x="603" y="63"/>
                    <a:pt x="603" y="63"/>
                    <a:pt x="603" y="63"/>
                  </a:cubicBezTo>
                  <a:cubicBezTo>
                    <a:pt x="603" y="63"/>
                    <a:pt x="603" y="63"/>
                    <a:pt x="604" y="64"/>
                  </a:cubicBezTo>
                  <a:cubicBezTo>
                    <a:pt x="604" y="64"/>
                    <a:pt x="604" y="64"/>
                    <a:pt x="604" y="64"/>
                  </a:cubicBezTo>
                  <a:cubicBezTo>
                    <a:pt x="604" y="64"/>
                    <a:pt x="604" y="64"/>
                    <a:pt x="604" y="65"/>
                  </a:cubicBezTo>
                  <a:cubicBezTo>
                    <a:pt x="604" y="65"/>
                    <a:pt x="604" y="65"/>
                    <a:pt x="604" y="65"/>
                  </a:cubicBezTo>
                  <a:cubicBezTo>
                    <a:pt x="604" y="65"/>
                    <a:pt x="604" y="65"/>
                    <a:pt x="604" y="65"/>
                  </a:cubicBezTo>
                  <a:cubicBezTo>
                    <a:pt x="604" y="65"/>
                    <a:pt x="604" y="65"/>
                    <a:pt x="604" y="65"/>
                  </a:cubicBezTo>
                  <a:cubicBezTo>
                    <a:pt x="605" y="66"/>
                    <a:pt x="604" y="66"/>
                    <a:pt x="605" y="66"/>
                  </a:cubicBezTo>
                  <a:cubicBezTo>
                    <a:pt x="605" y="66"/>
                    <a:pt x="605" y="66"/>
                    <a:pt x="605" y="66"/>
                  </a:cubicBezTo>
                  <a:cubicBezTo>
                    <a:pt x="605" y="67"/>
                    <a:pt x="605" y="67"/>
                    <a:pt x="605" y="67"/>
                  </a:cubicBezTo>
                  <a:cubicBezTo>
                    <a:pt x="605" y="67"/>
                    <a:pt x="605" y="67"/>
                    <a:pt x="605" y="67"/>
                  </a:cubicBezTo>
                  <a:cubicBezTo>
                    <a:pt x="605" y="67"/>
                    <a:pt x="605" y="67"/>
                    <a:pt x="605" y="67"/>
                  </a:cubicBezTo>
                  <a:cubicBezTo>
                    <a:pt x="605" y="68"/>
                    <a:pt x="605" y="68"/>
                    <a:pt x="605" y="68"/>
                  </a:cubicBezTo>
                  <a:cubicBezTo>
                    <a:pt x="605" y="68"/>
                    <a:pt x="605" y="68"/>
                    <a:pt x="605" y="68"/>
                  </a:cubicBezTo>
                  <a:cubicBezTo>
                    <a:pt x="605" y="68"/>
                    <a:pt x="605" y="69"/>
                    <a:pt x="606" y="69"/>
                  </a:cubicBezTo>
                  <a:cubicBezTo>
                    <a:pt x="606" y="69"/>
                    <a:pt x="606" y="69"/>
                    <a:pt x="606" y="69"/>
                  </a:cubicBezTo>
                  <a:cubicBezTo>
                    <a:pt x="606" y="69"/>
                    <a:pt x="606" y="70"/>
                    <a:pt x="606" y="70"/>
                  </a:cubicBezTo>
                  <a:cubicBezTo>
                    <a:pt x="606" y="70"/>
                    <a:pt x="606" y="70"/>
                    <a:pt x="606" y="70"/>
                  </a:cubicBezTo>
                  <a:cubicBezTo>
                    <a:pt x="606" y="70"/>
                    <a:pt x="606" y="70"/>
                    <a:pt x="606" y="71"/>
                  </a:cubicBezTo>
                  <a:cubicBezTo>
                    <a:pt x="606" y="71"/>
                    <a:pt x="606" y="71"/>
                    <a:pt x="606" y="71"/>
                  </a:cubicBezTo>
                  <a:cubicBezTo>
                    <a:pt x="607" y="71"/>
                    <a:pt x="606" y="71"/>
                    <a:pt x="607" y="72"/>
                  </a:cubicBezTo>
                  <a:cubicBezTo>
                    <a:pt x="607" y="72"/>
                    <a:pt x="607" y="72"/>
                    <a:pt x="607" y="72"/>
                  </a:cubicBezTo>
                  <a:cubicBezTo>
                    <a:pt x="607" y="72"/>
                    <a:pt x="607" y="72"/>
                    <a:pt x="607" y="73"/>
                  </a:cubicBezTo>
                  <a:cubicBezTo>
                    <a:pt x="607" y="73"/>
                    <a:pt x="607" y="73"/>
                    <a:pt x="607" y="73"/>
                  </a:cubicBezTo>
                  <a:cubicBezTo>
                    <a:pt x="607" y="73"/>
                    <a:pt x="607" y="73"/>
                    <a:pt x="607" y="73"/>
                  </a:cubicBezTo>
                  <a:cubicBezTo>
                    <a:pt x="607" y="73"/>
                    <a:pt x="607" y="73"/>
                    <a:pt x="607" y="73"/>
                  </a:cubicBezTo>
                  <a:cubicBezTo>
                    <a:pt x="608" y="74"/>
                    <a:pt x="607" y="74"/>
                    <a:pt x="608" y="74"/>
                  </a:cubicBezTo>
                  <a:cubicBezTo>
                    <a:pt x="608" y="74"/>
                    <a:pt x="608" y="74"/>
                    <a:pt x="608" y="74"/>
                  </a:cubicBezTo>
                  <a:cubicBezTo>
                    <a:pt x="608" y="75"/>
                    <a:pt x="608" y="75"/>
                    <a:pt x="608" y="75"/>
                  </a:cubicBezTo>
                  <a:cubicBezTo>
                    <a:pt x="608" y="75"/>
                    <a:pt x="608" y="75"/>
                    <a:pt x="608" y="75"/>
                  </a:cubicBezTo>
                  <a:cubicBezTo>
                    <a:pt x="608" y="75"/>
                    <a:pt x="608" y="75"/>
                    <a:pt x="608" y="75"/>
                  </a:cubicBezTo>
                  <a:cubicBezTo>
                    <a:pt x="608" y="76"/>
                    <a:pt x="608" y="76"/>
                    <a:pt x="608" y="76"/>
                  </a:cubicBezTo>
                  <a:cubicBezTo>
                    <a:pt x="608" y="76"/>
                    <a:pt x="608" y="76"/>
                    <a:pt x="608" y="76"/>
                  </a:cubicBezTo>
                  <a:cubicBezTo>
                    <a:pt x="609" y="76"/>
                    <a:pt x="609" y="77"/>
                    <a:pt x="609" y="77"/>
                  </a:cubicBezTo>
                  <a:cubicBezTo>
                    <a:pt x="609" y="77"/>
                    <a:pt x="609" y="77"/>
                    <a:pt x="609" y="77"/>
                  </a:cubicBezTo>
                  <a:cubicBezTo>
                    <a:pt x="609" y="77"/>
                    <a:pt x="609" y="77"/>
                    <a:pt x="609" y="77"/>
                  </a:cubicBezTo>
                  <a:cubicBezTo>
                    <a:pt x="609" y="77"/>
                    <a:pt x="609" y="78"/>
                    <a:pt x="609" y="78"/>
                  </a:cubicBezTo>
                  <a:cubicBezTo>
                    <a:pt x="609" y="78"/>
                    <a:pt x="609" y="78"/>
                    <a:pt x="609" y="78"/>
                  </a:cubicBezTo>
                  <a:cubicBezTo>
                    <a:pt x="609" y="78"/>
                    <a:pt x="609" y="78"/>
                    <a:pt x="609" y="79"/>
                  </a:cubicBezTo>
                  <a:cubicBezTo>
                    <a:pt x="610" y="79"/>
                    <a:pt x="610" y="79"/>
                    <a:pt x="610" y="79"/>
                  </a:cubicBezTo>
                  <a:cubicBezTo>
                    <a:pt x="610" y="79"/>
                    <a:pt x="610" y="79"/>
                    <a:pt x="610" y="80"/>
                  </a:cubicBezTo>
                  <a:cubicBezTo>
                    <a:pt x="610" y="80"/>
                    <a:pt x="610" y="80"/>
                    <a:pt x="610" y="80"/>
                  </a:cubicBezTo>
                  <a:cubicBezTo>
                    <a:pt x="610" y="80"/>
                    <a:pt x="610" y="80"/>
                    <a:pt x="610" y="81"/>
                  </a:cubicBezTo>
                  <a:cubicBezTo>
                    <a:pt x="610" y="81"/>
                    <a:pt x="610" y="81"/>
                    <a:pt x="610" y="81"/>
                  </a:cubicBezTo>
                  <a:cubicBezTo>
                    <a:pt x="610" y="81"/>
                    <a:pt x="610" y="81"/>
                    <a:pt x="611" y="81"/>
                  </a:cubicBezTo>
                  <a:cubicBezTo>
                    <a:pt x="611" y="81"/>
                    <a:pt x="611" y="81"/>
                    <a:pt x="611" y="81"/>
                  </a:cubicBezTo>
                  <a:cubicBezTo>
                    <a:pt x="611" y="82"/>
                    <a:pt x="611" y="82"/>
                    <a:pt x="611" y="82"/>
                  </a:cubicBezTo>
                  <a:cubicBezTo>
                    <a:pt x="611" y="82"/>
                    <a:pt x="611" y="82"/>
                    <a:pt x="611" y="82"/>
                  </a:cubicBezTo>
                  <a:cubicBezTo>
                    <a:pt x="611" y="83"/>
                    <a:pt x="611" y="83"/>
                    <a:pt x="611" y="83"/>
                  </a:cubicBezTo>
                  <a:cubicBezTo>
                    <a:pt x="611" y="83"/>
                    <a:pt x="611" y="83"/>
                    <a:pt x="611" y="83"/>
                  </a:cubicBezTo>
                  <a:cubicBezTo>
                    <a:pt x="611" y="83"/>
                    <a:pt x="611" y="83"/>
                    <a:pt x="611" y="83"/>
                  </a:cubicBezTo>
                  <a:cubicBezTo>
                    <a:pt x="611" y="84"/>
                    <a:pt x="611" y="84"/>
                    <a:pt x="612" y="84"/>
                  </a:cubicBezTo>
                  <a:cubicBezTo>
                    <a:pt x="612" y="84"/>
                    <a:pt x="612" y="84"/>
                    <a:pt x="612" y="84"/>
                  </a:cubicBezTo>
                  <a:cubicBezTo>
                    <a:pt x="612" y="84"/>
                    <a:pt x="612" y="85"/>
                    <a:pt x="612" y="85"/>
                  </a:cubicBezTo>
                  <a:cubicBezTo>
                    <a:pt x="612" y="85"/>
                    <a:pt x="612" y="85"/>
                    <a:pt x="612" y="85"/>
                  </a:cubicBezTo>
                  <a:cubicBezTo>
                    <a:pt x="612" y="85"/>
                    <a:pt x="612" y="85"/>
                    <a:pt x="612" y="85"/>
                  </a:cubicBezTo>
                  <a:cubicBezTo>
                    <a:pt x="612" y="85"/>
                    <a:pt x="612" y="86"/>
                    <a:pt x="612" y="86"/>
                  </a:cubicBezTo>
                  <a:cubicBezTo>
                    <a:pt x="612" y="86"/>
                    <a:pt x="612" y="86"/>
                    <a:pt x="612" y="86"/>
                  </a:cubicBezTo>
                  <a:cubicBezTo>
                    <a:pt x="612" y="86"/>
                    <a:pt x="612" y="86"/>
                    <a:pt x="613" y="87"/>
                  </a:cubicBezTo>
                  <a:cubicBezTo>
                    <a:pt x="613" y="87"/>
                    <a:pt x="613" y="87"/>
                    <a:pt x="613" y="87"/>
                  </a:cubicBezTo>
                  <a:cubicBezTo>
                    <a:pt x="613" y="87"/>
                    <a:pt x="613" y="87"/>
                    <a:pt x="613" y="88"/>
                  </a:cubicBezTo>
                  <a:cubicBezTo>
                    <a:pt x="613" y="88"/>
                    <a:pt x="613" y="88"/>
                    <a:pt x="613" y="88"/>
                  </a:cubicBezTo>
                  <a:cubicBezTo>
                    <a:pt x="613" y="88"/>
                    <a:pt x="613" y="88"/>
                    <a:pt x="613" y="89"/>
                  </a:cubicBezTo>
                  <a:cubicBezTo>
                    <a:pt x="613" y="89"/>
                    <a:pt x="613" y="89"/>
                    <a:pt x="613" y="89"/>
                  </a:cubicBezTo>
                  <a:cubicBezTo>
                    <a:pt x="613" y="89"/>
                    <a:pt x="613" y="89"/>
                    <a:pt x="614" y="89"/>
                  </a:cubicBezTo>
                  <a:cubicBezTo>
                    <a:pt x="614" y="89"/>
                    <a:pt x="614" y="89"/>
                    <a:pt x="614" y="89"/>
                  </a:cubicBezTo>
                  <a:cubicBezTo>
                    <a:pt x="614" y="90"/>
                    <a:pt x="614" y="90"/>
                    <a:pt x="614" y="90"/>
                  </a:cubicBezTo>
                  <a:cubicBezTo>
                    <a:pt x="614" y="90"/>
                    <a:pt x="614" y="90"/>
                    <a:pt x="614" y="90"/>
                  </a:cubicBezTo>
                  <a:cubicBezTo>
                    <a:pt x="614" y="91"/>
                    <a:pt x="614" y="91"/>
                    <a:pt x="614" y="91"/>
                  </a:cubicBezTo>
                  <a:cubicBezTo>
                    <a:pt x="614" y="91"/>
                    <a:pt x="614" y="91"/>
                    <a:pt x="614" y="91"/>
                  </a:cubicBezTo>
                  <a:cubicBezTo>
                    <a:pt x="614" y="91"/>
                    <a:pt x="614" y="91"/>
                    <a:pt x="614" y="91"/>
                  </a:cubicBezTo>
                  <a:cubicBezTo>
                    <a:pt x="615" y="92"/>
                    <a:pt x="614" y="92"/>
                    <a:pt x="615" y="92"/>
                  </a:cubicBezTo>
                  <a:cubicBezTo>
                    <a:pt x="615" y="92"/>
                    <a:pt x="615" y="92"/>
                    <a:pt x="615" y="92"/>
                  </a:cubicBezTo>
                  <a:cubicBezTo>
                    <a:pt x="615" y="92"/>
                    <a:pt x="615" y="93"/>
                    <a:pt x="615" y="93"/>
                  </a:cubicBezTo>
                  <a:cubicBezTo>
                    <a:pt x="615" y="93"/>
                    <a:pt x="615" y="93"/>
                    <a:pt x="615" y="93"/>
                  </a:cubicBezTo>
                  <a:cubicBezTo>
                    <a:pt x="615" y="93"/>
                    <a:pt x="615" y="93"/>
                    <a:pt x="615" y="93"/>
                  </a:cubicBezTo>
                  <a:cubicBezTo>
                    <a:pt x="615" y="93"/>
                    <a:pt x="615" y="94"/>
                    <a:pt x="615" y="94"/>
                  </a:cubicBezTo>
                  <a:cubicBezTo>
                    <a:pt x="615" y="94"/>
                    <a:pt x="615" y="94"/>
                    <a:pt x="615" y="94"/>
                  </a:cubicBezTo>
                  <a:cubicBezTo>
                    <a:pt x="616" y="94"/>
                    <a:pt x="616" y="94"/>
                    <a:pt x="616" y="95"/>
                  </a:cubicBezTo>
                  <a:cubicBezTo>
                    <a:pt x="616" y="95"/>
                    <a:pt x="616" y="95"/>
                    <a:pt x="616" y="95"/>
                  </a:cubicBezTo>
                  <a:cubicBezTo>
                    <a:pt x="616" y="95"/>
                    <a:pt x="616" y="95"/>
                    <a:pt x="616" y="96"/>
                  </a:cubicBezTo>
                  <a:cubicBezTo>
                    <a:pt x="616" y="96"/>
                    <a:pt x="616" y="96"/>
                    <a:pt x="616" y="96"/>
                  </a:cubicBezTo>
                  <a:cubicBezTo>
                    <a:pt x="616" y="96"/>
                    <a:pt x="616" y="96"/>
                    <a:pt x="617" y="97"/>
                  </a:cubicBezTo>
                  <a:cubicBezTo>
                    <a:pt x="616" y="97"/>
                    <a:pt x="616" y="97"/>
                    <a:pt x="616" y="97"/>
                  </a:cubicBezTo>
                  <a:cubicBezTo>
                    <a:pt x="617" y="97"/>
                    <a:pt x="617" y="97"/>
                    <a:pt x="617" y="97"/>
                  </a:cubicBezTo>
                  <a:cubicBezTo>
                    <a:pt x="617" y="97"/>
                    <a:pt x="617" y="97"/>
                    <a:pt x="617" y="97"/>
                  </a:cubicBezTo>
                  <a:cubicBezTo>
                    <a:pt x="617" y="98"/>
                    <a:pt x="617" y="98"/>
                    <a:pt x="617" y="98"/>
                  </a:cubicBezTo>
                  <a:cubicBezTo>
                    <a:pt x="617" y="98"/>
                    <a:pt x="617" y="98"/>
                    <a:pt x="617" y="98"/>
                  </a:cubicBezTo>
                  <a:cubicBezTo>
                    <a:pt x="617" y="99"/>
                    <a:pt x="617" y="99"/>
                    <a:pt x="617" y="99"/>
                  </a:cubicBezTo>
                  <a:cubicBezTo>
                    <a:pt x="618" y="99"/>
                    <a:pt x="618" y="99"/>
                    <a:pt x="618" y="99"/>
                  </a:cubicBezTo>
                  <a:cubicBezTo>
                    <a:pt x="618" y="99"/>
                    <a:pt x="618" y="99"/>
                    <a:pt x="618" y="99"/>
                  </a:cubicBezTo>
                  <a:cubicBezTo>
                    <a:pt x="618" y="100"/>
                    <a:pt x="618" y="100"/>
                    <a:pt x="618" y="100"/>
                  </a:cubicBezTo>
                  <a:cubicBezTo>
                    <a:pt x="618" y="100"/>
                    <a:pt x="618" y="100"/>
                    <a:pt x="618" y="100"/>
                  </a:cubicBezTo>
                  <a:cubicBezTo>
                    <a:pt x="618" y="100"/>
                    <a:pt x="618" y="101"/>
                    <a:pt x="618" y="101"/>
                  </a:cubicBezTo>
                  <a:cubicBezTo>
                    <a:pt x="618" y="101"/>
                    <a:pt x="619" y="101"/>
                    <a:pt x="618" y="102"/>
                  </a:cubicBezTo>
                  <a:cubicBezTo>
                    <a:pt x="618" y="102"/>
                    <a:pt x="618" y="102"/>
                    <a:pt x="618" y="103"/>
                  </a:cubicBezTo>
                  <a:cubicBezTo>
                    <a:pt x="618" y="103"/>
                    <a:pt x="618" y="103"/>
                    <a:pt x="618" y="103"/>
                  </a:cubicBezTo>
                  <a:cubicBezTo>
                    <a:pt x="618" y="103"/>
                    <a:pt x="618" y="103"/>
                    <a:pt x="618" y="103"/>
                  </a:cubicBezTo>
                  <a:cubicBezTo>
                    <a:pt x="618" y="103"/>
                    <a:pt x="618" y="103"/>
                    <a:pt x="618" y="103"/>
                  </a:cubicBezTo>
                  <a:cubicBezTo>
                    <a:pt x="617" y="103"/>
                    <a:pt x="617" y="104"/>
                    <a:pt x="617" y="104"/>
                  </a:cubicBezTo>
                  <a:cubicBezTo>
                    <a:pt x="617" y="104"/>
                    <a:pt x="617" y="104"/>
                    <a:pt x="617" y="104"/>
                  </a:cubicBezTo>
                  <a:cubicBezTo>
                    <a:pt x="617" y="104"/>
                    <a:pt x="617" y="104"/>
                    <a:pt x="617" y="104"/>
                  </a:cubicBezTo>
                  <a:cubicBezTo>
                    <a:pt x="617" y="105"/>
                    <a:pt x="617" y="105"/>
                    <a:pt x="617" y="105"/>
                  </a:cubicBezTo>
                  <a:cubicBezTo>
                    <a:pt x="617" y="105"/>
                    <a:pt x="617" y="105"/>
                    <a:pt x="617" y="105"/>
                  </a:cubicBezTo>
                  <a:cubicBezTo>
                    <a:pt x="617" y="105"/>
                    <a:pt x="617" y="106"/>
                    <a:pt x="616" y="106"/>
                  </a:cubicBezTo>
                  <a:cubicBezTo>
                    <a:pt x="617" y="106"/>
                    <a:pt x="617" y="106"/>
                    <a:pt x="617" y="106"/>
                  </a:cubicBezTo>
                  <a:cubicBezTo>
                    <a:pt x="616" y="106"/>
                    <a:pt x="616" y="106"/>
                    <a:pt x="616" y="107"/>
                  </a:cubicBezTo>
                  <a:cubicBezTo>
                    <a:pt x="616" y="107"/>
                    <a:pt x="616" y="107"/>
                    <a:pt x="616" y="107"/>
                  </a:cubicBezTo>
                  <a:cubicBezTo>
                    <a:pt x="616" y="107"/>
                    <a:pt x="616" y="107"/>
                    <a:pt x="616" y="107"/>
                  </a:cubicBezTo>
                  <a:cubicBezTo>
                    <a:pt x="616" y="107"/>
                    <a:pt x="616" y="107"/>
                    <a:pt x="616" y="107"/>
                  </a:cubicBezTo>
                  <a:cubicBezTo>
                    <a:pt x="616" y="107"/>
                    <a:pt x="616" y="107"/>
                    <a:pt x="616" y="107"/>
                  </a:cubicBezTo>
                  <a:cubicBezTo>
                    <a:pt x="616" y="108"/>
                    <a:pt x="616" y="108"/>
                    <a:pt x="615" y="108"/>
                  </a:cubicBezTo>
                  <a:cubicBezTo>
                    <a:pt x="615" y="108"/>
                    <a:pt x="615" y="108"/>
                    <a:pt x="615" y="108"/>
                  </a:cubicBezTo>
                  <a:cubicBezTo>
                    <a:pt x="615" y="109"/>
                    <a:pt x="615" y="109"/>
                    <a:pt x="615" y="109"/>
                  </a:cubicBezTo>
                  <a:cubicBezTo>
                    <a:pt x="615" y="109"/>
                    <a:pt x="615" y="109"/>
                    <a:pt x="615" y="109"/>
                  </a:cubicBezTo>
                  <a:cubicBezTo>
                    <a:pt x="615" y="109"/>
                    <a:pt x="615" y="110"/>
                    <a:pt x="615" y="110"/>
                  </a:cubicBezTo>
                  <a:cubicBezTo>
                    <a:pt x="615" y="110"/>
                    <a:pt x="615" y="110"/>
                    <a:pt x="615" y="110"/>
                  </a:cubicBezTo>
                  <a:cubicBezTo>
                    <a:pt x="614" y="110"/>
                    <a:pt x="615" y="110"/>
                    <a:pt x="614" y="111"/>
                  </a:cubicBezTo>
                  <a:cubicBezTo>
                    <a:pt x="614" y="111"/>
                    <a:pt x="614" y="111"/>
                    <a:pt x="614" y="111"/>
                  </a:cubicBezTo>
                  <a:cubicBezTo>
                    <a:pt x="614" y="111"/>
                    <a:pt x="614" y="111"/>
                    <a:pt x="614" y="111"/>
                  </a:cubicBezTo>
                  <a:cubicBezTo>
                    <a:pt x="614" y="111"/>
                    <a:pt x="614" y="111"/>
                    <a:pt x="614" y="112"/>
                  </a:cubicBezTo>
                  <a:cubicBezTo>
                    <a:pt x="614" y="112"/>
                    <a:pt x="614" y="112"/>
                    <a:pt x="614" y="112"/>
                  </a:cubicBezTo>
                  <a:cubicBezTo>
                    <a:pt x="614" y="112"/>
                    <a:pt x="614" y="112"/>
                    <a:pt x="614" y="112"/>
                  </a:cubicBezTo>
                  <a:cubicBezTo>
                    <a:pt x="614" y="112"/>
                    <a:pt x="614" y="112"/>
                    <a:pt x="614" y="112"/>
                  </a:cubicBezTo>
                  <a:cubicBezTo>
                    <a:pt x="613" y="113"/>
                    <a:pt x="613" y="113"/>
                    <a:pt x="613" y="113"/>
                  </a:cubicBezTo>
                  <a:cubicBezTo>
                    <a:pt x="613" y="113"/>
                    <a:pt x="613" y="113"/>
                    <a:pt x="613" y="113"/>
                  </a:cubicBezTo>
                  <a:cubicBezTo>
                    <a:pt x="613" y="113"/>
                    <a:pt x="613" y="113"/>
                    <a:pt x="613" y="113"/>
                  </a:cubicBezTo>
                  <a:cubicBezTo>
                    <a:pt x="613" y="114"/>
                    <a:pt x="613" y="114"/>
                    <a:pt x="613" y="114"/>
                  </a:cubicBezTo>
                  <a:cubicBezTo>
                    <a:pt x="613" y="114"/>
                    <a:pt x="613" y="114"/>
                    <a:pt x="613" y="114"/>
                  </a:cubicBezTo>
                  <a:cubicBezTo>
                    <a:pt x="613" y="114"/>
                    <a:pt x="613" y="115"/>
                    <a:pt x="613" y="115"/>
                  </a:cubicBezTo>
                  <a:cubicBezTo>
                    <a:pt x="613" y="115"/>
                    <a:pt x="613" y="115"/>
                    <a:pt x="613" y="115"/>
                  </a:cubicBezTo>
                  <a:cubicBezTo>
                    <a:pt x="612" y="115"/>
                    <a:pt x="612" y="115"/>
                    <a:pt x="612" y="116"/>
                  </a:cubicBezTo>
                  <a:cubicBezTo>
                    <a:pt x="612" y="115"/>
                    <a:pt x="612" y="115"/>
                    <a:pt x="612" y="115"/>
                  </a:cubicBezTo>
                  <a:cubicBezTo>
                    <a:pt x="612" y="116"/>
                    <a:pt x="612" y="116"/>
                    <a:pt x="612" y="116"/>
                  </a:cubicBezTo>
                  <a:cubicBezTo>
                    <a:pt x="612" y="116"/>
                    <a:pt x="612" y="116"/>
                    <a:pt x="612" y="116"/>
                  </a:cubicBezTo>
                  <a:cubicBezTo>
                    <a:pt x="612" y="116"/>
                    <a:pt x="612" y="117"/>
                    <a:pt x="612" y="117"/>
                  </a:cubicBezTo>
                  <a:cubicBezTo>
                    <a:pt x="612" y="117"/>
                    <a:pt x="612" y="117"/>
                    <a:pt x="612" y="117"/>
                  </a:cubicBezTo>
                  <a:cubicBezTo>
                    <a:pt x="611" y="117"/>
                    <a:pt x="611" y="117"/>
                    <a:pt x="611" y="118"/>
                  </a:cubicBezTo>
                  <a:cubicBezTo>
                    <a:pt x="611" y="118"/>
                    <a:pt x="611" y="118"/>
                    <a:pt x="611" y="118"/>
                  </a:cubicBezTo>
                  <a:cubicBezTo>
                    <a:pt x="611" y="118"/>
                    <a:pt x="611" y="118"/>
                    <a:pt x="611" y="118"/>
                  </a:cubicBezTo>
                  <a:cubicBezTo>
                    <a:pt x="611" y="118"/>
                    <a:pt x="611" y="118"/>
                    <a:pt x="611" y="118"/>
                  </a:cubicBezTo>
                  <a:cubicBezTo>
                    <a:pt x="611" y="118"/>
                    <a:pt x="611" y="118"/>
                    <a:pt x="611" y="119"/>
                  </a:cubicBezTo>
                  <a:cubicBezTo>
                    <a:pt x="611" y="119"/>
                    <a:pt x="611" y="119"/>
                    <a:pt x="611" y="119"/>
                  </a:cubicBezTo>
                  <a:cubicBezTo>
                    <a:pt x="610" y="119"/>
                    <a:pt x="610" y="119"/>
                    <a:pt x="610" y="119"/>
                  </a:cubicBezTo>
                  <a:cubicBezTo>
                    <a:pt x="610" y="119"/>
                    <a:pt x="610" y="119"/>
                    <a:pt x="610" y="119"/>
                  </a:cubicBezTo>
                  <a:cubicBezTo>
                    <a:pt x="610" y="119"/>
                    <a:pt x="610" y="119"/>
                    <a:pt x="610" y="119"/>
                  </a:cubicBezTo>
                  <a:cubicBezTo>
                    <a:pt x="610" y="119"/>
                    <a:pt x="610" y="119"/>
                    <a:pt x="610" y="119"/>
                  </a:cubicBezTo>
                  <a:cubicBezTo>
                    <a:pt x="610" y="119"/>
                    <a:pt x="610" y="119"/>
                    <a:pt x="610" y="120"/>
                  </a:cubicBezTo>
                  <a:cubicBezTo>
                    <a:pt x="610" y="120"/>
                    <a:pt x="610" y="120"/>
                    <a:pt x="610" y="120"/>
                  </a:cubicBezTo>
                  <a:cubicBezTo>
                    <a:pt x="609" y="120"/>
                    <a:pt x="609" y="120"/>
                    <a:pt x="609" y="120"/>
                  </a:cubicBezTo>
                  <a:cubicBezTo>
                    <a:pt x="609" y="120"/>
                    <a:pt x="609" y="120"/>
                    <a:pt x="609" y="120"/>
                  </a:cubicBezTo>
                  <a:cubicBezTo>
                    <a:pt x="609" y="120"/>
                    <a:pt x="609" y="120"/>
                    <a:pt x="609" y="120"/>
                  </a:cubicBezTo>
                  <a:cubicBezTo>
                    <a:pt x="609" y="120"/>
                    <a:pt x="609" y="120"/>
                    <a:pt x="609" y="120"/>
                  </a:cubicBezTo>
                  <a:cubicBezTo>
                    <a:pt x="609" y="120"/>
                    <a:pt x="609" y="121"/>
                    <a:pt x="609" y="121"/>
                  </a:cubicBezTo>
                  <a:cubicBezTo>
                    <a:pt x="609" y="121"/>
                    <a:pt x="609" y="121"/>
                    <a:pt x="609" y="121"/>
                  </a:cubicBezTo>
                  <a:cubicBezTo>
                    <a:pt x="608" y="121"/>
                    <a:pt x="608" y="121"/>
                    <a:pt x="608" y="121"/>
                  </a:cubicBezTo>
                  <a:cubicBezTo>
                    <a:pt x="608" y="121"/>
                    <a:pt x="608" y="121"/>
                    <a:pt x="608" y="121"/>
                  </a:cubicBezTo>
                  <a:cubicBezTo>
                    <a:pt x="608" y="121"/>
                    <a:pt x="608" y="121"/>
                    <a:pt x="608" y="121"/>
                  </a:cubicBezTo>
                  <a:cubicBezTo>
                    <a:pt x="608" y="121"/>
                    <a:pt x="608" y="121"/>
                    <a:pt x="608" y="121"/>
                  </a:cubicBezTo>
                  <a:cubicBezTo>
                    <a:pt x="607" y="122"/>
                    <a:pt x="607" y="122"/>
                    <a:pt x="607" y="122"/>
                  </a:cubicBezTo>
                  <a:cubicBezTo>
                    <a:pt x="607" y="122"/>
                    <a:pt x="607" y="122"/>
                    <a:pt x="607" y="122"/>
                  </a:cubicBezTo>
                  <a:cubicBezTo>
                    <a:pt x="607" y="122"/>
                    <a:pt x="606" y="122"/>
                    <a:pt x="606" y="122"/>
                  </a:cubicBezTo>
                  <a:cubicBezTo>
                    <a:pt x="606" y="122"/>
                    <a:pt x="606" y="122"/>
                    <a:pt x="606" y="122"/>
                  </a:cubicBezTo>
                  <a:cubicBezTo>
                    <a:pt x="606" y="123"/>
                    <a:pt x="606" y="123"/>
                    <a:pt x="605" y="123"/>
                  </a:cubicBezTo>
                  <a:cubicBezTo>
                    <a:pt x="605" y="123"/>
                    <a:pt x="605" y="123"/>
                    <a:pt x="605" y="123"/>
                  </a:cubicBezTo>
                  <a:cubicBezTo>
                    <a:pt x="605" y="123"/>
                    <a:pt x="605" y="123"/>
                    <a:pt x="605" y="123"/>
                  </a:cubicBezTo>
                  <a:cubicBezTo>
                    <a:pt x="605" y="123"/>
                    <a:pt x="604" y="123"/>
                    <a:pt x="604" y="123"/>
                  </a:cubicBezTo>
                  <a:cubicBezTo>
                    <a:pt x="604" y="123"/>
                    <a:pt x="604" y="123"/>
                    <a:pt x="603" y="123"/>
                  </a:cubicBezTo>
                  <a:close/>
                  <a:moveTo>
                    <a:pt x="1154" y="49"/>
                  </a:moveTo>
                  <a:cubicBezTo>
                    <a:pt x="1154" y="49"/>
                    <a:pt x="1154" y="49"/>
                    <a:pt x="1154" y="49"/>
                  </a:cubicBezTo>
                  <a:cubicBezTo>
                    <a:pt x="1154" y="49"/>
                    <a:pt x="1154" y="49"/>
                    <a:pt x="1154" y="49"/>
                  </a:cubicBezTo>
                  <a:cubicBezTo>
                    <a:pt x="1154" y="49"/>
                    <a:pt x="1154" y="49"/>
                    <a:pt x="1154" y="48"/>
                  </a:cubicBezTo>
                  <a:cubicBezTo>
                    <a:pt x="1153" y="48"/>
                    <a:pt x="1153" y="48"/>
                    <a:pt x="1154" y="48"/>
                  </a:cubicBezTo>
                  <a:cubicBezTo>
                    <a:pt x="1153" y="48"/>
                    <a:pt x="1154" y="47"/>
                    <a:pt x="1153" y="47"/>
                  </a:cubicBezTo>
                  <a:cubicBezTo>
                    <a:pt x="1153" y="47"/>
                    <a:pt x="1153" y="47"/>
                    <a:pt x="1153" y="47"/>
                  </a:cubicBezTo>
                  <a:cubicBezTo>
                    <a:pt x="1153" y="47"/>
                    <a:pt x="1153" y="46"/>
                    <a:pt x="1153" y="46"/>
                  </a:cubicBezTo>
                  <a:cubicBezTo>
                    <a:pt x="1153" y="46"/>
                    <a:pt x="1153" y="46"/>
                    <a:pt x="1153" y="46"/>
                  </a:cubicBezTo>
                  <a:cubicBezTo>
                    <a:pt x="1153" y="46"/>
                    <a:pt x="1153" y="45"/>
                    <a:pt x="1152" y="45"/>
                  </a:cubicBezTo>
                  <a:cubicBezTo>
                    <a:pt x="1152" y="45"/>
                    <a:pt x="1152" y="45"/>
                    <a:pt x="1152" y="45"/>
                  </a:cubicBezTo>
                  <a:cubicBezTo>
                    <a:pt x="1152" y="45"/>
                    <a:pt x="1152" y="45"/>
                    <a:pt x="1152" y="44"/>
                  </a:cubicBezTo>
                  <a:cubicBezTo>
                    <a:pt x="1152" y="44"/>
                    <a:pt x="1152" y="44"/>
                    <a:pt x="1152" y="44"/>
                  </a:cubicBezTo>
                  <a:cubicBezTo>
                    <a:pt x="1152" y="44"/>
                    <a:pt x="1152" y="44"/>
                    <a:pt x="1152" y="44"/>
                  </a:cubicBezTo>
                  <a:cubicBezTo>
                    <a:pt x="1152" y="44"/>
                    <a:pt x="1152" y="44"/>
                    <a:pt x="1152" y="44"/>
                  </a:cubicBezTo>
                  <a:cubicBezTo>
                    <a:pt x="1152" y="44"/>
                    <a:pt x="1152" y="43"/>
                    <a:pt x="1151" y="43"/>
                  </a:cubicBezTo>
                  <a:cubicBezTo>
                    <a:pt x="1151" y="43"/>
                    <a:pt x="1151" y="43"/>
                    <a:pt x="1151" y="43"/>
                  </a:cubicBezTo>
                  <a:cubicBezTo>
                    <a:pt x="1151" y="43"/>
                    <a:pt x="1151" y="43"/>
                    <a:pt x="1151" y="42"/>
                  </a:cubicBezTo>
                  <a:cubicBezTo>
                    <a:pt x="1151" y="42"/>
                    <a:pt x="1151" y="42"/>
                    <a:pt x="1151" y="42"/>
                  </a:cubicBezTo>
                  <a:cubicBezTo>
                    <a:pt x="1151" y="42"/>
                    <a:pt x="1151" y="42"/>
                    <a:pt x="1151" y="42"/>
                  </a:cubicBezTo>
                  <a:cubicBezTo>
                    <a:pt x="1151" y="42"/>
                    <a:pt x="1151" y="42"/>
                    <a:pt x="1151" y="42"/>
                  </a:cubicBezTo>
                  <a:cubicBezTo>
                    <a:pt x="1151" y="42"/>
                    <a:pt x="1151" y="41"/>
                    <a:pt x="1150" y="41"/>
                  </a:cubicBezTo>
                  <a:cubicBezTo>
                    <a:pt x="1150" y="41"/>
                    <a:pt x="1150" y="41"/>
                    <a:pt x="1150" y="41"/>
                  </a:cubicBezTo>
                  <a:cubicBezTo>
                    <a:pt x="1150" y="41"/>
                    <a:pt x="1150" y="41"/>
                    <a:pt x="1150" y="41"/>
                  </a:cubicBezTo>
                  <a:cubicBezTo>
                    <a:pt x="1150" y="41"/>
                    <a:pt x="1150" y="41"/>
                    <a:pt x="1150" y="41"/>
                  </a:cubicBezTo>
                  <a:cubicBezTo>
                    <a:pt x="1150" y="40"/>
                    <a:pt x="1150" y="40"/>
                    <a:pt x="1150" y="40"/>
                  </a:cubicBezTo>
                  <a:cubicBezTo>
                    <a:pt x="1150" y="40"/>
                    <a:pt x="1150" y="40"/>
                    <a:pt x="1150" y="40"/>
                  </a:cubicBezTo>
                  <a:cubicBezTo>
                    <a:pt x="1150" y="40"/>
                    <a:pt x="1149" y="40"/>
                    <a:pt x="1149" y="40"/>
                  </a:cubicBezTo>
                  <a:cubicBezTo>
                    <a:pt x="1149" y="40"/>
                    <a:pt x="1149" y="40"/>
                    <a:pt x="1149" y="40"/>
                  </a:cubicBezTo>
                  <a:cubicBezTo>
                    <a:pt x="1149" y="40"/>
                    <a:pt x="1149" y="39"/>
                    <a:pt x="1149" y="39"/>
                  </a:cubicBezTo>
                  <a:cubicBezTo>
                    <a:pt x="1149" y="39"/>
                    <a:pt x="1149" y="39"/>
                    <a:pt x="1149" y="39"/>
                  </a:cubicBezTo>
                  <a:cubicBezTo>
                    <a:pt x="1149" y="39"/>
                    <a:pt x="1148" y="39"/>
                    <a:pt x="1148" y="39"/>
                  </a:cubicBezTo>
                  <a:cubicBezTo>
                    <a:pt x="1148" y="39"/>
                    <a:pt x="1148" y="39"/>
                    <a:pt x="1148" y="39"/>
                  </a:cubicBezTo>
                  <a:cubicBezTo>
                    <a:pt x="1148" y="38"/>
                    <a:pt x="1148" y="38"/>
                    <a:pt x="1148" y="38"/>
                  </a:cubicBezTo>
                  <a:cubicBezTo>
                    <a:pt x="1148" y="38"/>
                    <a:pt x="1148" y="38"/>
                    <a:pt x="1148" y="38"/>
                  </a:cubicBezTo>
                  <a:cubicBezTo>
                    <a:pt x="1148" y="38"/>
                    <a:pt x="1148" y="38"/>
                    <a:pt x="1148" y="38"/>
                  </a:cubicBezTo>
                  <a:cubicBezTo>
                    <a:pt x="1148" y="38"/>
                    <a:pt x="1148" y="38"/>
                    <a:pt x="1148" y="38"/>
                  </a:cubicBezTo>
                  <a:cubicBezTo>
                    <a:pt x="1148" y="38"/>
                    <a:pt x="1147" y="38"/>
                    <a:pt x="1147" y="38"/>
                  </a:cubicBezTo>
                  <a:cubicBezTo>
                    <a:pt x="1147" y="38"/>
                    <a:pt x="1147" y="38"/>
                    <a:pt x="1147" y="38"/>
                  </a:cubicBezTo>
                  <a:cubicBezTo>
                    <a:pt x="1147" y="37"/>
                    <a:pt x="1147" y="37"/>
                    <a:pt x="1146" y="37"/>
                  </a:cubicBezTo>
                  <a:cubicBezTo>
                    <a:pt x="1146" y="37"/>
                    <a:pt x="1146" y="37"/>
                    <a:pt x="1146" y="37"/>
                  </a:cubicBezTo>
                  <a:cubicBezTo>
                    <a:pt x="1146" y="37"/>
                    <a:pt x="1146" y="37"/>
                    <a:pt x="1146" y="36"/>
                  </a:cubicBezTo>
                  <a:cubicBezTo>
                    <a:pt x="1146" y="36"/>
                    <a:pt x="1146" y="36"/>
                    <a:pt x="1146" y="36"/>
                  </a:cubicBezTo>
                  <a:cubicBezTo>
                    <a:pt x="1146" y="36"/>
                    <a:pt x="1145" y="36"/>
                    <a:pt x="1145" y="36"/>
                  </a:cubicBezTo>
                  <a:cubicBezTo>
                    <a:pt x="1145" y="36"/>
                    <a:pt x="1145" y="36"/>
                    <a:pt x="1145" y="36"/>
                  </a:cubicBezTo>
                  <a:cubicBezTo>
                    <a:pt x="1145" y="36"/>
                    <a:pt x="1145" y="36"/>
                    <a:pt x="1145" y="36"/>
                  </a:cubicBezTo>
                  <a:cubicBezTo>
                    <a:pt x="1145" y="36"/>
                    <a:pt x="1145" y="36"/>
                    <a:pt x="1145" y="36"/>
                  </a:cubicBezTo>
                  <a:cubicBezTo>
                    <a:pt x="1145" y="36"/>
                    <a:pt x="1144" y="36"/>
                    <a:pt x="1144" y="35"/>
                  </a:cubicBezTo>
                  <a:cubicBezTo>
                    <a:pt x="1144" y="35"/>
                    <a:pt x="1144" y="35"/>
                    <a:pt x="1144" y="35"/>
                  </a:cubicBezTo>
                  <a:cubicBezTo>
                    <a:pt x="1144" y="35"/>
                    <a:pt x="1144" y="35"/>
                    <a:pt x="1144" y="35"/>
                  </a:cubicBezTo>
                  <a:cubicBezTo>
                    <a:pt x="1144" y="35"/>
                    <a:pt x="1144" y="35"/>
                    <a:pt x="1144" y="35"/>
                  </a:cubicBezTo>
                  <a:cubicBezTo>
                    <a:pt x="1143" y="35"/>
                    <a:pt x="1143" y="35"/>
                    <a:pt x="1143" y="35"/>
                  </a:cubicBezTo>
                  <a:cubicBezTo>
                    <a:pt x="1143" y="35"/>
                    <a:pt x="1143" y="35"/>
                    <a:pt x="1143" y="35"/>
                  </a:cubicBezTo>
                  <a:cubicBezTo>
                    <a:pt x="1143" y="35"/>
                    <a:pt x="1143" y="35"/>
                    <a:pt x="1143" y="35"/>
                  </a:cubicBezTo>
                  <a:cubicBezTo>
                    <a:pt x="1143" y="35"/>
                    <a:pt x="1143" y="35"/>
                    <a:pt x="1143" y="35"/>
                  </a:cubicBezTo>
                  <a:cubicBezTo>
                    <a:pt x="1143" y="34"/>
                    <a:pt x="1142" y="35"/>
                    <a:pt x="1142" y="34"/>
                  </a:cubicBezTo>
                  <a:cubicBezTo>
                    <a:pt x="1142" y="34"/>
                    <a:pt x="1142" y="34"/>
                    <a:pt x="1142" y="34"/>
                  </a:cubicBezTo>
                  <a:cubicBezTo>
                    <a:pt x="1142" y="34"/>
                    <a:pt x="1142" y="34"/>
                    <a:pt x="1141" y="34"/>
                  </a:cubicBezTo>
                  <a:cubicBezTo>
                    <a:pt x="1141" y="34"/>
                    <a:pt x="1141" y="34"/>
                    <a:pt x="1141" y="34"/>
                  </a:cubicBezTo>
                  <a:cubicBezTo>
                    <a:pt x="1141" y="34"/>
                    <a:pt x="1141" y="34"/>
                    <a:pt x="1140" y="34"/>
                  </a:cubicBezTo>
                  <a:cubicBezTo>
                    <a:pt x="1140" y="34"/>
                    <a:pt x="1140" y="34"/>
                    <a:pt x="1140" y="34"/>
                  </a:cubicBezTo>
                  <a:cubicBezTo>
                    <a:pt x="1140" y="33"/>
                    <a:pt x="1139" y="34"/>
                    <a:pt x="1139" y="33"/>
                  </a:cubicBezTo>
                  <a:cubicBezTo>
                    <a:pt x="1139" y="33"/>
                    <a:pt x="1139" y="33"/>
                    <a:pt x="1139" y="33"/>
                  </a:cubicBezTo>
                  <a:cubicBezTo>
                    <a:pt x="1139" y="33"/>
                    <a:pt x="1139" y="33"/>
                    <a:pt x="1139" y="33"/>
                  </a:cubicBezTo>
                  <a:cubicBezTo>
                    <a:pt x="1138" y="33"/>
                    <a:pt x="1138" y="33"/>
                    <a:pt x="1137" y="33"/>
                  </a:cubicBezTo>
                  <a:cubicBezTo>
                    <a:pt x="1137" y="33"/>
                    <a:pt x="1137" y="33"/>
                    <a:pt x="1137" y="33"/>
                  </a:cubicBezTo>
                  <a:cubicBezTo>
                    <a:pt x="1136" y="33"/>
                    <a:pt x="1135" y="33"/>
                    <a:pt x="1135" y="33"/>
                  </a:cubicBezTo>
                  <a:cubicBezTo>
                    <a:pt x="1133" y="33"/>
                    <a:pt x="1132" y="33"/>
                    <a:pt x="1130" y="33"/>
                  </a:cubicBezTo>
                  <a:cubicBezTo>
                    <a:pt x="1129" y="33"/>
                    <a:pt x="1128" y="33"/>
                    <a:pt x="1127" y="33"/>
                  </a:cubicBezTo>
                  <a:cubicBezTo>
                    <a:pt x="1127" y="33"/>
                    <a:pt x="1127" y="33"/>
                    <a:pt x="1127" y="33"/>
                  </a:cubicBezTo>
                  <a:cubicBezTo>
                    <a:pt x="1127" y="33"/>
                    <a:pt x="1127" y="33"/>
                    <a:pt x="1127" y="33"/>
                  </a:cubicBezTo>
                  <a:cubicBezTo>
                    <a:pt x="1127" y="33"/>
                    <a:pt x="1126" y="33"/>
                    <a:pt x="1126" y="33"/>
                  </a:cubicBezTo>
                  <a:cubicBezTo>
                    <a:pt x="1126" y="33"/>
                    <a:pt x="1126" y="33"/>
                    <a:pt x="1126" y="33"/>
                  </a:cubicBezTo>
                  <a:cubicBezTo>
                    <a:pt x="1126" y="33"/>
                    <a:pt x="1126" y="33"/>
                    <a:pt x="1126" y="33"/>
                  </a:cubicBezTo>
                  <a:cubicBezTo>
                    <a:pt x="1125" y="34"/>
                    <a:pt x="1125" y="33"/>
                    <a:pt x="1124" y="34"/>
                  </a:cubicBezTo>
                  <a:cubicBezTo>
                    <a:pt x="1124" y="34"/>
                    <a:pt x="1124" y="34"/>
                    <a:pt x="1124" y="34"/>
                  </a:cubicBezTo>
                  <a:cubicBezTo>
                    <a:pt x="1124" y="34"/>
                    <a:pt x="1124" y="34"/>
                    <a:pt x="1123" y="34"/>
                  </a:cubicBezTo>
                  <a:cubicBezTo>
                    <a:pt x="1123" y="34"/>
                    <a:pt x="1123" y="34"/>
                    <a:pt x="1123" y="34"/>
                  </a:cubicBezTo>
                  <a:cubicBezTo>
                    <a:pt x="1123" y="34"/>
                    <a:pt x="1123" y="34"/>
                    <a:pt x="1123" y="34"/>
                  </a:cubicBezTo>
                  <a:cubicBezTo>
                    <a:pt x="1123" y="34"/>
                    <a:pt x="1122" y="34"/>
                    <a:pt x="1122" y="34"/>
                  </a:cubicBezTo>
                  <a:cubicBezTo>
                    <a:pt x="1122" y="35"/>
                    <a:pt x="1122" y="34"/>
                    <a:pt x="1122" y="35"/>
                  </a:cubicBezTo>
                  <a:cubicBezTo>
                    <a:pt x="1122" y="35"/>
                    <a:pt x="1122" y="35"/>
                    <a:pt x="1122" y="35"/>
                  </a:cubicBezTo>
                  <a:cubicBezTo>
                    <a:pt x="1121" y="35"/>
                    <a:pt x="1121" y="35"/>
                    <a:pt x="1121" y="35"/>
                  </a:cubicBezTo>
                  <a:cubicBezTo>
                    <a:pt x="1121" y="35"/>
                    <a:pt x="1121" y="35"/>
                    <a:pt x="1121" y="35"/>
                  </a:cubicBezTo>
                  <a:cubicBezTo>
                    <a:pt x="1121" y="35"/>
                    <a:pt x="1120" y="35"/>
                    <a:pt x="1120" y="35"/>
                  </a:cubicBezTo>
                  <a:cubicBezTo>
                    <a:pt x="1120" y="35"/>
                    <a:pt x="1120" y="35"/>
                    <a:pt x="1120" y="35"/>
                  </a:cubicBezTo>
                  <a:cubicBezTo>
                    <a:pt x="1120" y="36"/>
                    <a:pt x="1120" y="36"/>
                    <a:pt x="1119" y="36"/>
                  </a:cubicBezTo>
                  <a:cubicBezTo>
                    <a:pt x="1119" y="36"/>
                    <a:pt x="1119" y="36"/>
                    <a:pt x="1119" y="36"/>
                  </a:cubicBezTo>
                  <a:cubicBezTo>
                    <a:pt x="1119" y="36"/>
                    <a:pt x="1119" y="36"/>
                    <a:pt x="1119" y="36"/>
                  </a:cubicBezTo>
                  <a:cubicBezTo>
                    <a:pt x="1119" y="36"/>
                    <a:pt x="1119" y="36"/>
                    <a:pt x="1119" y="36"/>
                  </a:cubicBezTo>
                  <a:cubicBezTo>
                    <a:pt x="1119" y="36"/>
                    <a:pt x="1119" y="36"/>
                    <a:pt x="1118" y="36"/>
                  </a:cubicBezTo>
                  <a:cubicBezTo>
                    <a:pt x="1118" y="36"/>
                    <a:pt x="1118" y="36"/>
                    <a:pt x="1118" y="36"/>
                  </a:cubicBezTo>
                  <a:cubicBezTo>
                    <a:pt x="1118" y="37"/>
                    <a:pt x="1118" y="37"/>
                    <a:pt x="1118" y="37"/>
                  </a:cubicBezTo>
                  <a:cubicBezTo>
                    <a:pt x="1118" y="37"/>
                    <a:pt x="1118" y="37"/>
                    <a:pt x="1118" y="37"/>
                  </a:cubicBezTo>
                  <a:cubicBezTo>
                    <a:pt x="1118" y="37"/>
                    <a:pt x="1117" y="37"/>
                    <a:pt x="1117" y="37"/>
                  </a:cubicBezTo>
                  <a:cubicBezTo>
                    <a:pt x="1117" y="37"/>
                    <a:pt x="1117" y="37"/>
                    <a:pt x="1117" y="37"/>
                  </a:cubicBezTo>
                  <a:cubicBezTo>
                    <a:pt x="1117" y="37"/>
                    <a:pt x="1117" y="37"/>
                    <a:pt x="1117" y="37"/>
                  </a:cubicBezTo>
                  <a:cubicBezTo>
                    <a:pt x="1117" y="37"/>
                    <a:pt x="1117" y="37"/>
                    <a:pt x="1117" y="37"/>
                  </a:cubicBezTo>
                  <a:cubicBezTo>
                    <a:pt x="1117" y="38"/>
                    <a:pt x="1116" y="38"/>
                    <a:pt x="1116" y="38"/>
                  </a:cubicBezTo>
                  <a:cubicBezTo>
                    <a:pt x="1116" y="38"/>
                    <a:pt x="1116" y="38"/>
                    <a:pt x="1116" y="38"/>
                  </a:cubicBezTo>
                  <a:cubicBezTo>
                    <a:pt x="1116" y="38"/>
                    <a:pt x="1116" y="38"/>
                    <a:pt x="1116" y="39"/>
                  </a:cubicBezTo>
                  <a:cubicBezTo>
                    <a:pt x="1116" y="39"/>
                    <a:pt x="1116" y="39"/>
                    <a:pt x="1116" y="39"/>
                  </a:cubicBezTo>
                  <a:cubicBezTo>
                    <a:pt x="1115" y="39"/>
                    <a:pt x="1115" y="39"/>
                    <a:pt x="1115" y="39"/>
                  </a:cubicBezTo>
                  <a:cubicBezTo>
                    <a:pt x="1115" y="39"/>
                    <a:pt x="1115" y="39"/>
                    <a:pt x="1115" y="39"/>
                  </a:cubicBezTo>
                  <a:cubicBezTo>
                    <a:pt x="1115" y="39"/>
                    <a:pt x="1115" y="39"/>
                    <a:pt x="1115" y="39"/>
                  </a:cubicBezTo>
                  <a:cubicBezTo>
                    <a:pt x="1115" y="39"/>
                    <a:pt x="1115" y="39"/>
                    <a:pt x="1115" y="39"/>
                  </a:cubicBezTo>
                  <a:cubicBezTo>
                    <a:pt x="1115" y="39"/>
                    <a:pt x="1115" y="39"/>
                    <a:pt x="1115" y="40"/>
                  </a:cubicBezTo>
                  <a:cubicBezTo>
                    <a:pt x="1115" y="40"/>
                    <a:pt x="1115" y="40"/>
                    <a:pt x="1115" y="40"/>
                  </a:cubicBezTo>
                  <a:cubicBezTo>
                    <a:pt x="1114" y="40"/>
                    <a:pt x="1114" y="40"/>
                    <a:pt x="1114" y="40"/>
                  </a:cubicBezTo>
                  <a:cubicBezTo>
                    <a:pt x="1114" y="40"/>
                    <a:pt x="1114" y="40"/>
                    <a:pt x="1114" y="40"/>
                  </a:cubicBezTo>
                  <a:cubicBezTo>
                    <a:pt x="1114" y="40"/>
                    <a:pt x="1114" y="40"/>
                    <a:pt x="1114" y="40"/>
                  </a:cubicBezTo>
                  <a:cubicBezTo>
                    <a:pt x="1114" y="40"/>
                    <a:pt x="1114" y="40"/>
                    <a:pt x="1114" y="40"/>
                  </a:cubicBezTo>
                  <a:cubicBezTo>
                    <a:pt x="1114" y="40"/>
                    <a:pt x="1114" y="40"/>
                    <a:pt x="1114" y="41"/>
                  </a:cubicBezTo>
                  <a:cubicBezTo>
                    <a:pt x="1114" y="41"/>
                    <a:pt x="1114" y="41"/>
                    <a:pt x="1114" y="41"/>
                  </a:cubicBezTo>
                  <a:cubicBezTo>
                    <a:pt x="1113" y="41"/>
                    <a:pt x="1113" y="41"/>
                    <a:pt x="1113" y="41"/>
                  </a:cubicBezTo>
                  <a:cubicBezTo>
                    <a:pt x="1113" y="41"/>
                    <a:pt x="1113" y="41"/>
                    <a:pt x="1113" y="41"/>
                  </a:cubicBezTo>
                  <a:cubicBezTo>
                    <a:pt x="1113" y="41"/>
                    <a:pt x="1113" y="42"/>
                    <a:pt x="1112" y="42"/>
                  </a:cubicBezTo>
                  <a:cubicBezTo>
                    <a:pt x="1112" y="42"/>
                    <a:pt x="1112" y="42"/>
                    <a:pt x="1112" y="42"/>
                  </a:cubicBezTo>
                  <a:cubicBezTo>
                    <a:pt x="1112" y="42"/>
                    <a:pt x="1112" y="42"/>
                    <a:pt x="1112" y="42"/>
                  </a:cubicBezTo>
                  <a:cubicBezTo>
                    <a:pt x="1112" y="42"/>
                    <a:pt x="1112" y="42"/>
                    <a:pt x="1112" y="42"/>
                  </a:cubicBezTo>
                  <a:cubicBezTo>
                    <a:pt x="1112" y="43"/>
                    <a:pt x="1112" y="43"/>
                    <a:pt x="1111" y="43"/>
                  </a:cubicBezTo>
                  <a:cubicBezTo>
                    <a:pt x="1111" y="43"/>
                    <a:pt x="1111" y="43"/>
                    <a:pt x="1111" y="43"/>
                  </a:cubicBezTo>
                  <a:cubicBezTo>
                    <a:pt x="1111" y="44"/>
                    <a:pt x="1111" y="44"/>
                    <a:pt x="1111" y="44"/>
                  </a:cubicBezTo>
                  <a:cubicBezTo>
                    <a:pt x="1111" y="44"/>
                    <a:pt x="1111" y="44"/>
                    <a:pt x="1111" y="44"/>
                  </a:cubicBezTo>
                  <a:cubicBezTo>
                    <a:pt x="1111" y="44"/>
                    <a:pt x="1111" y="44"/>
                    <a:pt x="1111" y="44"/>
                  </a:cubicBezTo>
                  <a:cubicBezTo>
                    <a:pt x="1111" y="44"/>
                    <a:pt x="1111" y="44"/>
                    <a:pt x="1111" y="44"/>
                  </a:cubicBezTo>
                  <a:cubicBezTo>
                    <a:pt x="1110" y="44"/>
                    <a:pt x="1110" y="44"/>
                    <a:pt x="1110" y="43"/>
                  </a:cubicBezTo>
                  <a:cubicBezTo>
                    <a:pt x="1110" y="41"/>
                    <a:pt x="1110" y="38"/>
                    <a:pt x="1110" y="35"/>
                  </a:cubicBezTo>
                  <a:cubicBezTo>
                    <a:pt x="1110" y="34"/>
                    <a:pt x="1110" y="34"/>
                    <a:pt x="1109" y="34"/>
                  </a:cubicBezTo>
                  <a:cubicBezTo>
                    <a:pt x="1106" y="34"/>
                    <a:pt x="1104" y="34"/>
                    <a:pt x="1101" y="34"/>
                  </a:cubicBezTo>
                  <a:cubicBezTo>
                    <a:pt x="1099" y="34"/>
                    <a:pt x="1099" y="34"/>
                    <a:pt x="1099" y="36"/>
                  </a:cubicBezTo>
                  <a:cubicBezTo>
                    <a:pt x="1099" y="57"/>
                    <a:pt x="1099" y="79"/>
                    <a:pt x="1099" y="100"/>
                  </a:cubicBezTo>
                  <a:cubicBezTo>
                    <a:pt x="1099" y="100"/>
                    <a:pt x="1099" y="101"/>
                    <a:pt x="1099" y="101"/>
                  </a:cubicBezTo>
                  <a:cubicBezTo>
                    <a:pt x="1099" y="101"/>
                    <a:pt x="1099" y="101"/>
                    <a:pt x="1099" y="101"/>
                  </a:cubicBezTo>
                  <a:cubicBezTo>
                    <a:pt x="1101" y="102"/>
                    <a:pt x="1104" y="102"/>
                    <a:pt x="1106" y="102"/>
                  </a:cubicBezTo>
                  <a:cubicBezTo>
                    <a:pt x="1107" y="102"/>
                    <a:pt x="1109" y="102"/>
                    <a:pt x="1110" y="101"/>
                  </a:cubicBezTo>
                  <a:cubicBezTo>
                    <a:pt x="1110" y="101"/>
                    <a:pt x="1110" y="101"/>
                    <a:pt x="1110" y="101"/>
                  </a:cubicBezTo>
                  <a:cubicBezTo>
                    <a:pt x="1110" y="101"/>
                    <a:pt x="1110" y="100"/>
                    <a:pt x="1110" y="100"/>
                  </a:cubicBezTo>
                  <a:cubicBezTo>
                    <a:pt x="1110" y="87"/>
                    <a:pt x="1110" y="74"/>
                    <a:pt x="1110" y="62"/>
                  </a:cubicBezTo>
                  <a:cubicBezTo>
                    <a:pt x="1110" y="61"/>
                    <a:pt x="1110" y="61"/>
                    <a:pt x="1110" y="60"/>
                  </a:cubicBezTo>
                  <a:cubicBezTo>
                    <a:pt x="1110" y="60"/>
                    <a:pt x="1110" y="60"/>
                    <a:pt x="1110" y="59"/>
                  </a:cubicBezTo>
                  <a:cubicBezTo>
                    <a:pt x="1111" y="59"/>
                    <a:pt x="1110" y="58"/>
                    <a:pt x="1111" y="58"/>
                  </a:cubicBezTo>
                  <a:cubicBezTo>
                    <a:pt x="1111" y="57"/>
                    <a:pt x="1111" y="57"/>
                    <a:pt x="1111" y="57"/>
                  </a:cubicBezTo>
                  <a:cubicBezTo>
                    <a:pt x="1111" y="57"/>
                    <a:pt x="1111" y="57"/>
                    <a:pt x="1111" y="56"/>
                  </a:cubicBezTo>
                  <a:cubicBezTo>
                    <a:pt x="1111" y="56"/>
                    <a:pt x="1111" y="56"/>
                    <a:pt x="1111" y="56"/>
                  </a:cubicBezTo>
                  <a:cubicBezTo>
                    <a:pt x="1111" y="56"/>
                    <a:pt x="1111" y="55"/>
                    <a:pt x="1111" y="55"/>
                  </a:cubicBezTo>
                  <a:cubicBezTo>
                    <a:pt x="1111" y="55"/>
                    <a:pt x="1111" y="55"/>
                    <a:pt x="1111" y="55"/>
                  </a:cubicBezTo>
                  <a:cubicBezTo>
                    <a:pt x="1111" y="55"/>
                    <a:pt x="1111" y="55"/>
                    <a:pt x="1111" y="55"/>
                  </a:cubicBezTo>
                  <a:cubicBezTo>
                    <a:pt x="1112" y="55"/>
                    <a:pt x="1112" y="54"/>
                    <a:pt x="1112" y="54"/>
                  </a:cubicBezTo>
                  <a:cubicBezTo>
                    <a:pt x="1112" y="54"/>
                    <a:pt x="1112" y="54"/>
                    <a:pt x="1112" y="54"/>
                  </a:cubicBezTo>
                  <a:cubicBezTo>
                    <a:pt x="1112" y="54"/>
                    <a:pt x="1112" y="53"/>
                    <a:pt x="1112" y="53"/>
                  </a:cubicBezTo>
                  <a:cubicBezTo>
                    <a:pt x="1112" y="53"/>
                    <a:pt x="1112" y="53"/>
                    <a:pt x="1112" y="53"/>
                  </a:cubicBezTo>
                  <a:cubicBezTo>
                    <a:pt x="1112" y="53"/>
                    <a:pt x="1112" y="53"/>
                    <a:pt x="1112" y="52"/>
                  </a:cubicBezTo>
                  <a:cubicBezTo>
                    <a:pt x="1112" y="52"/>
                    <a:pt x="1112" y="52"/>
                    <a:pt x="1112" y="52"/>
                  </a:cubicBezTo>
                  <a:cubicBezTo>
                    <a:pt x="1113" y="52"/>
                    <a:pt x="1113" y="52"/>
                    <a:pt x="1113" y="52"/>
                  </a:cubicBezTo>
                  <a:cubicBezTo>
                    <a:pt x="1113" y="52"/>
                    <a:pt x="1113" y="52"/>
                    <a:pt x="1113" y="52"/>
                  </a:cubicBezTo>
                  <a:cubicBezTo>
                    <a:pt x="1113" y="52"/>
                    <a:pt x="1113" y="51"/>
                    <a:pt x="1113" y="51"/>
                  </a:cubicBezTo>
                  <a:cubicBezTo>
                    <a:pt x="1113" y="51"/>
                    <a:pt x="1113" y="51"/>
                    <a:pt x="1113" y="51"/>
                  </a:cubicBezTo>
                  <a:cubicBezTo>
                    <a:pt x="1113" y="51"/>
                    <a:pt x="1113" y="51"/>
                    <a:pt x="1113" y="51"/>
                  </a:cubicBezTo>
                  <a:cubicBezTo>
                    <a:pt x="1113" y="51"/>
                    <a:pt x="1113" y="51"/>
                    <a:pt x="1113" y="51"/>
                  </a:cubicBezTo>
                  <a:cubicBezTo>
                    <a:pt x="1114" y="51"/>
                    <a:pt x="1114" y="50"/>
                    <a:pt x="1114" y="50"/>
                  </a:cubicBezTo>
                  <a:cubicBezTo>
                    <a:pt x="1114" y="50"/>
                    <a:pt x="1114" y="50"/>
                    <a:pt x="1114" y="50"/>
                  </a:cubicBezTo>
                  <a:cubicBezTo>
                    <a:pt x="1114" y="50"/>
                    <a:pt x="1114" y="50"/>
                    <a:pt x="1114" y="50"/>
                  </a:cubicBezTo>
                  <a:cubicBezTo>
                    <a:pt x="1114" y="50"/>
                    <a:pt x="1114" y="50"/>
                    <a:pt x="1114" y="50"/>
                  </a:cubicBezTo>
                  <a:cubicBezTo>
                    <a:pt x="1115" y="49"/>
                    <a:pt x="1115" y="49"/>
                    <a:pt x="1115" y="49"/>
                  </a:cubicBezTo>
                  <a:cubicBezTo>
                    <a:pt x="1115" y="49"/>
                    <a:pt x="1115" y="49"/>
                    <a:pt x="1115" y="49"/>
                  </a:cubicBezTo>
                  <a:cubicBezTo>
                    <a:pt x="1115" y="48"/>
                    <a:pt x="1115" y="48"/>
                    <a:pt x="1115" y="48"/>
                  </a:cubicBezTo>
                  <a:cubicBezTo>
                    <a:pt x="1115" y="48"/>
                    <a:pt x="1115" y="48"/>
                    <a:pt x="1115" y="48"/>
                  </a:cubicBezTo>
                  <a:cubicBezTo>
                    <a:pt x="1115" y="48"/>
                    <a:pt x="1116" y="48"/>
                    <a:pt x="1116" y="48"/>
                  </a:cubicBezTo>
                  <a:cubicBezTo>
                    <a:pt x="1116" y="48"/>
                    <a:pt x="1116" y="48"/>
                    <a:pt x="1116" y="48"/>
                  </a:cubicBezTo>
                  <a:cubicBezTo>
                    <a:pt x="1116" y="48"/>
                    <a:pt x="1116" y="48"/>
                    <a:pt x="1116" y="47"/>
                  </a:cubicBezTo>
                  <a:cubicBezTo>
                    <a:pt x="1116" y="48"/>
                    <a:pt x="1116" y="48"/>
                    <a:pt x="1116" y="48"/>
                  </a:cubicBezTo>
                  <a:cubicBezTo>
                    <a:pt x="1116" y="47"/>
                    <a:pt x="1116" y="47"/>
                    <a:pt x="1116" y="47"/>
                  </a:cubicBezTo>
                  <a:cubicBezTo>
                    <a:pt x="1116" y="47"/>
                    <a:pt x="1116" y="47"/>
                    <a:pt x="1116" y="47"/>
                  </a:cubicBezTo>
                  <a:cubicBezTo>
                    <a:pt x="1116" y="47"/>
                    <a:pt x="1117" y="47"/>
                    <a:pt x="1117" y="47"/>
                  </a:cubicBezTo>
                  <a:cubicBezTo>
                    <a:pt x="1117" y="47"/>
                    <a:pt x="1117" y="47"/>
                    <a:pt x="1117" y="47"/>
                  </a:cubicBezTo>
                  <a:cubicBezTo>
                    <a:pt x="1117" y="47"/>
                    <a:pt x="1117" y="47"/>
                    <a:pt x="1117" y="46"/>
                  </a:cubicBezTo>
                  <a:cubicBezTo>
                    <a:pt x="1117" y="46"/>
                    <a:pt x="1117" y="46"/>
                    <a:pt x="1117" y="46"/>
                  </a:cubicBezTo>
                  <a:cubicBezTo>
                    <a:pt x="1117" y="46"/>
                    <a:pt x="1117" y="46"/>
                    <a:pt x="1117" y="46"/>
                  </a:cubicBezTo>
                  <a:cubicBezTo>
                    <a:pt x="1117" y="46"/>
                    <a:pt x="1117" y="46"/>
                    <a:pt x="1117" y="46"/>
                  </a:cubicBezTo>
                  <a:cubicBezTo>
                    <a:pt x="1117" y="46"/>
                    <a:pt x="1118" y="46"/>
                    <a:pt x="1118" y="46"/>
                  </a:cubicBezTo>
                  <a:cubicBezTo>
                    <a:pt x="1118" y="46"/>
                    <a:pt x="1118" y="46"/>
                    <a:pt x="1118" y="46"/>
                  </a:cubicBezTo>
                  <a:cubicBezTo>
                    <a:pt x="1118" y="46"/>
                    <a:pt x="1118" y="45"/>
                    <a:pt x="1119" y="45"/>
                  </a:cubicBezTo>
                  <a:cubicBezTo>
                    <a:pt x="1119" y="45"/>
                    <a:pt x="1119" y="45"/>
                    <a:pt x="1119" y="45"/>
                  </a:cubicBezTo>
                  <a:cubicBezTo>
                    <a:pt x="1119" y="45"/>
                    <a:pt x="1119" y="45"/>
                    <a:pt x="1119" y="45"/>
                  </a:cubicBezTo>
                  <a:cubicBezTo>
                    <a:pt x="1119" y="45"/>
                    <a:pt x="1119" y="45"/>
                    <a:pt x="1119" y="45"/>
                  </a:cubicBezTo>
                  <a:cubicBezTo>
                    <a:pt x="1119" y="45"/>
                    <a:pt x="1120" y="45"/>
                    <a:pt x="1120" y="44"/>
                  </a:cubicBezTo>
                  <a:cubicBezTo>
                    <a:pt x="1120" y="44"/>
                    <a:pt x="1120" y="44"/>
                    <a:pt x="1120" y="44"/>
                  </a:cubicBezTo>
                  <a:cubicBezTo>
                    <a:pt x="1120" y="44"/>
                    <a:pt x="1120" y="44"/>
                    <a:pt x="1120" y="44"/>
                  </a:cubicBezTo>
                  <a:cubicBezTo>
                    <a:pt x="1120" y="44"/>
                    <a:pt x="1120" y="44"/>
                    <a:pt x="1120" y="44"/>
                  </a:cubicBezTo>
                  <a:cubicBezTo>
                    <a:pt x="1120" y="44"/>
                    <a:pt x="1120" y="44"/>
                    <a:pt x="1120" y="44"/>
                  </a:cubicBezTo>
                  <a:cubicBezTo>
                    <a:pt x="1121" y="44"/>
                    <a:pt x="1121" y="44"/>
                    <a:pt x="1121" y="44"/>
                  </a:cubicBezTo>
                  <a:cubicBezTo>
                    <a:pt x="1121" y="44"/>
                    <a:pt x="1121" y="44"/>
                    <a:pt x="1121" y="44"/>
                  </a:cubicBezTo>
                  <a:cubicBezTo>
                    <a:pt x="1121" y="44"/>
                    <a:pt x="1121" y="44"/>
                    <a:pt x="1121" y="44"/>
                  </a:cubicBezTo>
                  <a:cubicBezTo>
                    <a:pt x="1121" y="44"/>
                    <a:pt x="1121" y="44"/>
                    <a:pt x="1122" y="43"/>
                  </a:cubicBezTo>
                  <a:cubicBezTo>
                    <a:pt x="1122" y="43"/>
                    <a:pt x="1122" y="43"/>
                    <a:pt x="1122" y="43"/>
                  </a:cubicBezTo>
                  <a:cubicBezTo>
                    <a:pt x="1122" y="43"/>
                    <a:pt x="1122" y="43"/>
                    <a:pt x="1122" y="43"/>
                  </a:cubicBezTo>
                  <a:cubicBezTo>
                    <a:pt x="1122" y="43"/>
                    <a:pt x="1122" y="43"/>
                    <a:pt x="1123" y="43"/>
                  </a:cubicBezTo>
                  <a:cubicBezTo>
                    <a:pt x="1123" y="43"/>
                    <a:pt x="1123" y="43"/>
                    <a:pt x="1123" y="43"/>
                  </a:cubicBezTo>
                  <a:cubicBezTo>
                    <a:pt x="1123" y="43"/>
                    <a:pt x="1123" y="43"/>
                    <a:pt x="1124" y="43"/>
                  </a:cubicBezTo>
                  <a:cubicBezTo>
                    <a:pt x="1124" y="43"/>
                    <a:pt x="1124" y="43"/>
                    <a:pt x="1124" y="43"/>
                  </a:cubicBezTo>
                  <a:cubicBezTo>
                    <a:pt x="1124" y="43"/>
                    <a:pt x="1124" y="43"/>
                    <a:pt x="1124" y="43"/>
                  </a:cubicBezTo>
                  <a:cubicBezTo>
                    <a:pt x="1124" y="42"/>
                    <a:pt x="1125" y="43"/>
                    <a:pt x="1125" y="42"/>
                  </a:cubicBezTo>
                  <a:cubicBezTo>
                    <a:pt x="1125" y="42"/>
                    <a:pt x="1125" y="42"/>
                    <a:pt x="1125" y="42"/>
                  </a:cubicBezTo>
                  <a:cubicBezTo>
                    <a:pt x="1125" y="42"/>
                    <a:pt x="1125" y="42"/>
                    <a:pt x="1125" y="42"/>
                  </a:cubicBezTo>
                  <a:cubicBezTo>
                    <a:pt x="1126" y="42"/>
                    <a:pt x="1127" y="42"/>
                    <a:pt x="1127" y="42"/>
                  </a:cubicBezTo>
                  <a:cubicBezTo>
                    <a:pt x="1128" y="42"/>
                    <a:pt x="1129" y="42"/>
                    <a:pt x="1130" y="42"/>
                  </a:cubicBezTo>
                  <a:cubicBezTo>
                    <a:pt x="1131" y="42"/>
                    <a:pt x="1131" y="42"/>
                    <a:pt x="1132" y="42"/>
                  </a:cubicBezTo>
                  <a:cubicBezTo>
                    <a:pt x="1132" y="42"/>
                    <a:pt x="1132" y="42"/>
                    <a:pt x="1132" y="42"/>
                  </a:cubicBezTo>
                  <a:cubicBezTo>
                    <a:pt x="1132" y="42"/>
                    <a:pt x="1132" y="42"/>
                    <a:pt x="1132" y="42"/>
                  </a:cubicBezTo>
                  <a:cubicBezTo>
                    <a:pt x="1133" y="43"/>
                    <a:pt x="1133" y="42"/>
                    <a:pt x="1134" y="43"/>
                  </a:cubicBezTo>
                  <a:cubicBezTo>
                    <a:pt x="1134" y="43"/>
                    <a:pt x="1134" y="43"/>
                    <a:pt x="1134" y="43"/>
                  </a:cubicBezTo>
                  <a:cubicBezTo>
                    <a:pt x="1134" y="43"/>
                    <a:pt x="1134" y="43"/>
                    <a:pt x="1135" y="43"/>
                  </a:cubicBezTo>
                  <a:cubicBezTo>
                    <a:pt x="1135" y="43"/>
                    <a:pt x="1135" y="43"/>
                    <a:pt x="1135" y="43"/>
                  </a:cubicBezTo>
                  <a:cubicBezTo>
                    <a:pt x="1135" y="43"/>
                    <a:pt x="1135" y="43"/>
                    <a:pt x="1135" y="43"/>
                  </a:cubicBezTo>
                  <a:cubicBezTo>
                    <a:pt x="1135" y="43"/>
                    <a:pt x="1135" y="43"/>
                    <a:pt x="1135" y="43"/>
                  </a:cubicBezTo>
                  <a:cubicBezTo>
                    <a:pt x="1136" y="44"/>
                    <a:pt x="1136" y="44"/>
                    <a:pt x="1136" y="44"/>
                  </a:cubicBezTo>
                  <a:cubicBezTo>
                    <a:pt x="1136" y="44"/>
                    <a:pt x="1136" y="44"/>
                    <a:pt x="1136" y="44"/>
                  </a:cubicBezTo>
                  <a:cubicBezTo>
                    <a:pt x="1136" y="44"/>
                    <a:pt x="1137" y="44"/>
                    <a:pt x="1137" y="44"/>
                  </a:cubicBezTo>
                  <a:cubicBezTo>
                    <a:pt x="1137" y="44"/>
                    <a:pt x="1137" y="44"/>
                    <a:pt x="1137" y="44"/>
                  </a:cubicBezTo>
                  <a:cubicBezTo>
                    <a:pt x="1137" y="44"/>
                    <a:pt x="1137" y="44"/>
                    <a:pt x="1137" y="44"/>
                  </a:cubicBezTo>
                  <a:cubicBezTo>
                    <a:pt x="1137" y="44"/>
                    <a:pt x="1137" y="44"/>
                    <a:pt x="1137" y="44"/>
                  </a:cubicBezTo>
                  <a:cubicBezTo>
                    <a:pt x="1137" y="45"/>
                    <a:pt x="1138" y="45"/>
                    <a:pt x="1138" y="45"/>
                  </a:cubicBezTo>
                  <a:cubicBezTo>
                    <a:pt x="1138" y="45"/>
                    <a:pt x="1138" y="45"/>
                    <a:pt x="1138" y="45"/>
                  </a:cubicBezTo>
                  <a:cubicBezTo>
                    <a:pt x="1138" y="45"/>
                    <a:pt x="1138" y="45"/>
                    <a:pt x="1138" y="45"/>
                  </a:cubicBezTo>
                  <a:cubicBezTo>
                    <a:pt x="1138" y="45"/>
                    <a:pt x="1138" y="45"/>
                    <a:pt x="1138" y="45"/>
                  </a:cubicBezTo>
                  <a:cubicBezTo>
                    <a:pt x="1138" y="45"/>
                    <a:pt x="1138" y="45"/>
                    <a:pt x="1139" y="45"/>
                  </a:cubicBezTo>
                  <a:cubicBezTo>
                    <a:pt x="1139" y="45"/>
                    <a:pt x="1139" y="45"/>
                    <a:pt x="1139" y="45"/>
                  </a:cubicBezTo>
                  <a:cubicBezTo>
                    <a:pt x="1139" y="46"/>
                    <a:pt x="1139" y="46"/>
                    <a:pt x="1139" y="46"/>
                  </a:cubicBezTo>
                  <a:cubicBezTo>
                    <a:pt x="1139" y="46"/>
                    <a:pt x="1139" y="46"/>
                    <a:pt x="1139" y="46"/>
                  </a:cubicBezTo>
                  <a:cubicBezTo>
                    <a:pt x="1139" y="46"/>
                    <a:pt x="1139" y="46"/>
                    <a:pt x="1139" y="46"/>
                  </a:cubicBezTo>
                  <a:cubicBezTo>
                    <a:pt x="1139" y="46"/>
                    <a:pt x="1139" y="46"/>
                    <a:pt x="1139" y="46"/>
                  </a:cubicBezTo>
                  <a:cubicBezTo>
                    <a:pt x="1139" y="46"/>
                    <a:pt x="1140" y="46"/>
                    <a:pt x="1140" y="47"/>
                  </a:cubicBezTo>
                  <a:cubicBezTo>
                    <a:pt x="1140" y="46"/>
                    <a:pt x="1140" y="46"/>
                    <a:pt x="1140" y="46"/>
                  </a:cubicBezTo>
                  <a:cubicBezTo>
                    <a:pt x="1140" y="47"/>
                    <a:pt x="1140" y="47"/>
                    <a:pt x="1140" y="47"/>
                  </a:cubicBezTo>
                  <a:cubicBezTo>
                    <a:pt x="1140" y="47"/>
                    <a:pt x="1140" y="47"/>
                    <a:pt x="1140" y="47"/>
                  </a:cubicBezTo>
                  <a:cubicBezTo>
                    <a:pt x="1140" y="47"/>
                    <a:pt x="1140" y="47"/>
                    <a:pt x="1140" y="47"/>
                  </a:cubicBezTo>
                  <a:cubicBezTo>
                    <a:pt x="1140" y="47"/>
                    <a:pt x="1140" y="47"/>
                    <a:pt x="1140" y="47"/>
                  </a:cubicBezTo>
                  <a:cubicBezTo>
                    <a:pt x="1140" y="48"/>
                    <a:pt x="1141" y="48"/>
                    <a:pt x="1141" y="48"/>
                  </a:cubicBezTo>
                  <a:cubicBezTo>
                    <a:pt x="1141" y="48"/>
                    <a:pt x="1141" y="48"/>
                    <a:pt x="1141" y="48"/>
                  </a:cubicBezTo>
                  <a:cubicBezTo>
                    <a:pt x="1141" y="48"/>
                    <a:pt x="1141" y="48"/>
                    <a:pt x="1141" y="49"/>
                  </a:cubicBezTo>
                  <a:cubicBezTo>
                    <a:pt x="1141" y="49"/>
                    <a:pt x="1141" y="49"/>
                    <a:pt x="1141" y="49"/>
                  </a:cubicBezTo>
                  <a:cubicBezTo>
                    <a:pt x="1141" y="49"/>
                    <a:pt x="1141" y="49"/>
                    <a:pt x="1141" y="49"/>
                  </a:cubicBezTo>
                  <a:cubicBezTo>
                    <a:pt x="1141" y="49"/>
                    <a:pt x="1141" y="49"/>
                    <a:pt x="1141" y="49"/>
                  </a:cubicBezTo>
                  <a:cubicBezTo>
                    <a:pt x="1141" y="49"/>
                    <a:pt x="1141" y="49"/>
                    <a:pt x="1141" y="49"/>
                  </a:cubicBezTo>
                  <a:cubicBezTo>
                    <a:pt x="1141" y="49"/>
                    <a:pt x="1142" y="49"/>
                    <a:pt x="1142" y="50"/>
                  </a:cubicBezTo>
                  <a:cubicBezTo>
                    <a:pt x="1142" y="50"/>
                    <a:pt x="1142" y="50"/>
                    <a:pt x="1142" y="50"/>
                  </a:cubicBezTo>
                  <a:cubicBezTo>
                    <a:pt x="1142" y="50"/>
                    <a:pt x="1142" y="50"/>
                    <a:pt x="1142" y="50"/>
                  </a:cubicBezTo>
                  <a:cubicBezTo>
                    <a:pt x="1142" y="50"/>
                    <a:pt x="1142" y="50"/>
                    <a:pt x="1142" y="51"/>
                  </a:cubicBezTo>
                  <a:cubicBezTo>
                    <a:pt x="1142" y="51"/>
                    <a:pt x="1142" y="51"/>
                    <a:pt x="1142" y="51"/>
                  </a:cubicBezTo>
                  <a:cubicBezTo>
                    <a:pt x="1142" y="51"/>
                    <a:pt x="1142" y="51"/>
                    <a:pt x="1142" y="51"/>
                  </a:cubicBezTo>
                  <a:cubicBezTo>
                    <a:pt x="1142" y="51"/>
                    <a:pt x="1142" y="51"/>
                    <a:pt x="1142" y="51"/>
                  </a:cubicBezTo>
                  <a:cubicBezTo>
                    <a:pt x="1142" y="52"/>
                    <a:pt x="1142" y="52"/>
                    <a:pt x="1142" y="52"/>
                  </a:cubicBezTo>
                  <a:cubicBezTo>
                    <a:pt x="1143" y="52"/>
                    <a:pt x="1143" y="52"/>
                    <a:pt x="1143" y="52"/>
                  </a:cubicBezTo>
                  <a:cubicBezTo>
                    <a:pt x="1143" y="53"/>
                    <a:pt x="1143" y="53"/>
                    <a:pt x="1143" y="53"/>
                  </a:cubicBezTo>
                  <a:cubicBezTo>
                    <a:pt x="1143" y="53"/>
                    <a:pt x="1143" y="53"/>
                    <a:pt x="1143" y="53"/>
                  </a:cubicBezTo>
                  <a:cubicBezTo>
                    <a:pt x="1143" y="53"/>
                    <a:pt x="1143" y="53"/>
                    <a:pt x="1143" y="54"/>
                  </a:cubicBezTo>
                  <a:cubicBezTo>
                    <a:pt x="1143" y="54"/>
                    <a:pt x="1143" y="54"/>
                    <a:pt x="1143" y="54"/>
                  </a:cubicBezTo>
                  <a:cubicBezTo>
                    <a:pt x="1143" y="54"/>
                    <a:pt x="1143" y="55"/>
                    <a:pt x="1143" y="55"/>
                  </a:cubicBezTo>
                  <a:cubicBezTo>
                    <a:pt x="1144" y="55"/>
                    <a:pt x="1144" y="55"/>
                    <a:pt x="1143" y="55"/>
                  </a:cubicBezTo>
                  <a:cubicBezTo>
                    <a:pt x="1144" y="56"/>
                    <a:pt x="1143" y="57"/>
                    <a:pt x="1144" y="57"/>
                  </a:cubicBezTo>
                  <a:cubicBezTo>
                    <a:pt x="1144" y="57"/>
                    <a:pt x="1144" y="58"/>
                    <a:pt x="1144" y="58"/>
                  </a:cubicBezTo>
                  <a:cubicBezTo>
                    <a:pt x="1144" y="59"/>
                    <a:pt x="1144" y="61"/>
                    <a:pt x="1144" y="62"/>
                  </a:cubicBezTo>
                  <a:cubicBezTo>
                    <a:pt x="1144" y="62"/>
                    <a:pt x="1144" y="62"/>
                    <a:pt x="1144" y="63"/>
                  </a:cubicBezTo>
                  <a:cubicBezTo>
                    <a:pt x="1144" y="76"/>
                    <a:pt x="1144" y="88"/>
                    <a:pt x="1144" y="101"/>
                  </a:cubicBezTo>
                  <a:cubicBezTo>
                    <a:pt x="1145" y="102"/>
                    <a:pt x="1145" y="102"/>
                    <a:pt x="1146" y="102"/>
                  </a:cubicBezTo>
                  <a:cubicBezTo>
                    <a:pt x="1148" y="102"/>
                    <a:pt x="1151" y="102"/>
                    <a:pt x="1153" y="102"/>
                  </a:cubicBezTo>
                  <a:cubicBezTo>
                    <a:pt x="1155" y="102"/>
                    <a:pt x="1155" y="102"/>
                    <a:pt x="1155" y="100"/>
                  </a:cubicBezTo>
                  <a:cubicBezTo>
                    <a:pt x="1155" y="86"/>
                    <a:pt x="1155" y="72"/>
                    <a:pt x="1155" y="58"/>
                  </a:cubicBezTo>
                  <a:cubicBezTo>
                    <a:pt x="1155" y="57"/>
                    <a:pt x="1155" y="56"/>
                    <a:pt x="1155" y="56"/>
                  </a:cubicBezTo>
                  <a:cubicBezTo>
                    <a:pt x="1155" y="56"/>
                    <a:pt x="1155" y="55"/>
                    <a:pt x="1155" y="55"/>
                  </a:cubicBezTo>
                  <a:cubicBezTo>
                    <a:pt x="1155" y="54"/>
                    <a:pt x="1155" y="53"/>
                    <a:pt x="1155" y="53"/>
                  </a:cubicBezTo>
                  <a:cubicBezTo>
                    <a:pt x="1154" y="53"/>
                    <a:pt x="1154" y="53"/>
                    <a:pt x="1155" y="53"/>
                  </a:cubicBezTo>
                  <a:cubicBezTo>
                    <a:pt x="1154" y="52"/>
                    <a:pt x="1155" y="51"/>
                    <a:pt x="1154" y="51"/>
                  </a:cubicBezTo>
                  <a:cubicBezTo>
                    <a:pt x="1154" y="51"/>
                    <a:pt x="1154" y="51"/>
                    <a:pt x="1154" y="51"/>
                  </a:cubicBezTo>
                  <a:cubicBezTo>
                    <a:pt x="1154" y="50"/>
                    <a:pt x="1154" y="50"/>
                    <a:pt x="1154" y="49"/>
                  </a:cubicBezTo>
                  <a:close/>
                  <a:moveTo>
                    <a:pt x="680" y="63"/>
                  </a:moveTo>
                  <a:cubicBezTo>
                    <a:pt x="680" y="63"/>
                    <a:pt x="680" y="63"/>
                    <a:pt x="680" y="63"/>
                  </a:cubicBezTo>
                  <a:cubicBezTo>
                    <a:pt x="680" y="62"/>
                    <a:pt x="679" y="62"/>
                    <a:pt x="679" y="62"/>
                  </a:cubicBezTo>
                  <a:cubicBezTo>
                    <a:pt x="679" y="62"/>
                    <a:pt x="679" y="62"/>
                    <a:pt x="679" y="62"/>
                  </a:cubicBezTo>
                  <a:cubicBezTo>
                    <a:pt x="679" y="62"/>
                    <a:pt x="679" y="62"/>
                    <a:pt x="678" y="62"/>
                  </a:cubicBezTo>
                  <a:cubicBezTo>
                    <a:pt x="678" y="62"/>
                    <a:pt x="678" y="62"/>
                    <a:pt x="678" y="62"/>
                  </a:cubicBezTo>
                  <a:cubicBezTo>
                    <a:pt x="678" y="62"/>
                    <a:pt x="678" y="62"/>
                    <a:pt x="678" y="62"/>
                  </a:cubicBezTo>
                  <a:cubicBezTo>
                    <a:pt x="678" y="62"/>
                    <a:pt x="678" y="62"/>
                    <a:pt x="678" y="62"/>
                  </a:cubicBezTo>
                  <a:cubicBezTo>
                    <a:pt x="678" y="61"/>
                    <a:pt x="677" y="61"/>
                    <a:pt x="677" y="61"/>
                  </a:cubicBezTo>
                  <a:cubicBezTo>
                    <a:pt x="677" y="61"/>
                    <a:pt x="677" y="61"/>
                    <a:pt x="677" y="61"/>
                  </a:cubicBezTo>
                  <a:cubicBezTo>
                    <a:pt x="677" y="61"/>
                    <a:pt x="676" y="61"/>
                    <a:pt x="676" y="61"/>
                  </a:cubicBezTo>
                  <a:cubicBezTo>
                    <a:pt x="676" y="61"/>
                    <a:pt x="676" y="61"/>
                    <a:pt x="676" y="61"/>
                  </a:cubicBezTo>
                  <a:cubicBezTo>
                    <a:pt x="676" y="61"/>
                    <a:pt x="676" y="61"/>
                    <a:pt x="676" y="60"/>
                  </a:cubicBezTo>
                  <a:cubicBezTo>
                    <a:pt x="676" y="60"/>
                    <a:pt x="676" y="60"/>
                    <a:pt x="676" y="60"/>
                  </a:cubicBezTo>
                  <a:cubicBezTo>
                    <a:pt x="675" y="60"/>
                    <a:pt x="675" y="60"/>
                    <a:pt x="675" y="60"/>
                  </a:cubicBezTo>
                  <a:cubicBezTo>
                    <a:pt x="675" y="60"/>
                    <a:pt x="675" y="60"/>
                    <a:pt x="675" y="60"/>
                  </a:cubicBezTo>
                  <a:cubicBezTo>
                    <a:pt x="675" y="60"/>
                    <a:pt x="675" y="60"/>
                    <a:pt x="675" y="60"/>
                  </a:cubicBezTo>
                  <a:cubicBezTo>
                    <a:pt x="675" y="60"/>
                    <a:pt x="675" y="60"/>
                    <a:pt x="675" y="60"/>
                  </a:cubicBezTo>
                  <a:cubicBezTo>
                    <a:pt x="674" y="60"/>
                    <a:pt x="674" y="60"/>
                    <a:pt x="674" y="59"/>
                  </a:cubicBezTo>
                  <a:cubicBezTo>
                    <a:pt x="674" y="59"/>
                    <a:pt x="674" y="59"/>
                    <a:pt x="674" y="59"/>
                  </a:cubicBezTo>
                  <a:cubicBezTo>
                    <a:pt x="674" y="59"/>
                    <a:pt x="674" y="59"/>
                    <a:pt x="673" y="59"/>
                  </a:cubicBezTo>
                  <a:cubicBezTo>
                    <a:pt x="673" y="59"/>
                    <a:pt x="673" y="59"/>
                    <a:pt x="673" y="59"/>
                  </a:cubicBezTo>
                  <a:cubicBezTo>
                    <a:pt x="673" y="59"/>
                    <a:pt x="673" y="59"/>
                    <a:pt x="673" y="59"/>
                  </a:cubicBezTo>
                  <a:cubicBezTo>
                    <a:pt x="673" y="59"/>
                    <a:pt x="673" y="59"/>
                    <a:pt x="673" y="59"/>
                  </a:cubicBezTo>
                  <a:cubicBezTo>
                    <a:pt x="673" y="59"/>
                    <a:pt x="673"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7"/>
                    <a:pt x="671" y="57"/>
                  </a:cubicBezTo>
                  <a:cubicBezTo>
                    <a:pt x="671" y="57"/>
                    <a:pt x="671" y="57"/>
                    <a:pt x="671" y="57"/>
                  </a:cubicBezTo>
                  <a:cubicBezTo>
                    <a:pt x="671" y="57"/>
                    <a:pt x="671" y="57"/>
                    <a:pt x="671" y="57"/>
                  </a:cubicBezTo>
                  <a:cubicBezTo>
                    <a:pt x="671" y="57"/>
                    <a:pt x="671" y="57"/>
                    <a:pt x="671" y="57"/>
                  </a:cubicBezTo>
                  <a:cubicBezTo>
                    <a:pt x="671" y="56"/>
                    <a:pt x="671" y="56"/>
                    <a:pt x="671" y="56"/>
                  </a:cubicBezTo>
                  <a:cubicBezTo>
                    <a:pt x="671" y="56"/>
                    <a:pt x="671" y="56"/>
                    <a:pt x="671" y="56"/>
                  </a:cubicBezTo>
                  <a:cubicBezTo>
                    <a:pt x="671" y="56"/>
                    <a:pt x="671" y="56"/>
                    <a:pt x="670" y="56"/>
                  </a:cubicBezTo>
                  <a:cubicBezTo>
                    <a:pt x="670" y="56"/>
                    <a:pt x="670" y="56"/>
                    <a:pt x="670" y="56"/>
                  </a:cubicBezTo>
                  <a:cubicBezTo>
                    <a:pt x="670" y="55"/>
                    <a:pt x="670" y="55"/>
                    <a:pt x="670" y="55"/>
                  </a:cubicBezTo>
                  <a:cubicBezTo>
                    <a:pt x="670" y="54"/>
                    <a:pt x="670" y="54"/>
                    <a:pt x="670" y="54"/>
                  </a:cubicBezTo>
                  <a:cubicBezTo>
                    <a:pt x="670" y="54"/>
                    <a:pt x="670" y="54"/>
                    <a:pt x="670" y="54"/>
                  </a:cubicBezTo>
                  <a:cubicBezTo>
                    <a:pt x="670" y="54"/>
                    <a:pt x="670" y="54"/>
                    <a:pt x="670" y="53"/>
                  </a:cubicBezTo>
                  <a:cubicBezTo>
                    <a:pt x="670" y="53"/>
                    <a:pt x="670" y="53"/>
                    <a:pt x="670" y="52"/>
                  </a:cubicBezTo>
                  <a:cubicBezTo>
                    <a:pt x="669" y="52"/>
                    <a:pt x="669" y="51"/>
                    <a:pt x="670" y="50"/>
                  </a:cubicBezTo>
                  <a:cubicBezTo>
                    <a:pt x="670" y="50"/>
                    <a:pt x="670" y="50"/>
                    <a:pt x="670" y="50"/>
                  </a:cubicBezTo>
                  <a:cubicBezTo>
                    <a:pt x="670" y="50"/>
                    <a:pt x="670" y="49"/>
                    <a:pt x="670" y="49"/>
                  </a:cubicBezTo>
                  <a:cubicBezTo>
                    <a:pt x="670" y="49"/>
                    <a:pt x="670" y="49"/>
                    <a:pt x="670" y="49"/>
                  </a:cubicBezTo>
                  <a:cubicBezTo>
                    <a:pt x="670" y="48"/>
                    <a:pt x="670" y="48"/>
                    <a:pt x="670" y="48"/>
                  </a:cubicBezTo>
                  <a:cubicBezTo>
                    <a:pt x="670" y="48"/>
                    <a:pt x="670" y="48"/>
                    <a:pt x="670" y="48"/>
                  </a:cubicBezTo>
                  <a:cubicBezTo>
                    <a:pt x="671" y="47"/>
                    <a:pt x="671" y="47"/>
                    <a:pt x="671" y="47"/>
                  </a:cubicBezTo>
                  <a:cubicBezTo>
                    <a:pt x="671" y="47"/>
                    <a:pt x="671" y="47"/>
                    <a:pt x="671" y="47"/>
                  </a:cubicBezTo>
                  <a:cubicBezTo>
                    <a:pt x="671" y="47"/>
                    <a:pt x="671" y="47"/>
                    <a:pt x="671" y="46"/>
                  </a:cubicBezTo>
                  <a:cubicBezTo>
                    <a:pt x="671" y="46"/>
                    <a:pt x="671" y="46"/>
                    <a:pt x="671" y="46"/>
                  </a:cubicBezTo>
                  <a:cubicBezTo>
                    <a:pt x="671" y="46"/>
                    <a:pt x="671" y="46"/>
                    <a:pt x="671" y="46"/>
                  </a:cubicBezTo>
                  <a:cubicBezTo>
                    <a:pt x="671" y="46"/>
                    <a:pt x="671" y="46"/>
                    <a:pt x="671" y="46"/>
                  </a:cubicBezTo>
                  <a:cubicBezTo>
                    <a:pt x="672" y="46"/>
                    <a:pt x="673" y="45"/>
                    <a:pt x="673" y="44"/>
                  </a:cubicBezTo>
                  <a:cubicBezTo>
                    <a:pt x="673" y="44"/>
                    <a:pt x="673" y="44"/>
                    <a:pt x="673" y="44"/>
                  </a:cubicBezTo>
                  <a:cubicBezTo>
                    <a:pt x="673" y="44"/>
                    <a:pt x="673" y="44"/>
                    <a:pt x="674" y="44"/>
                  </a:cubicBezTo>
                  <a:cubicBezTo>
                    <a:pt x="674" y="44"/>
                    <a:pt x="674" y="44"/>
                    <a:pt x="674" y="44"/>
                  </a:cubicBezTo>
                  <a:cubicBezTo>
                    <a:pt x="674" y="44"/>
                    <a:pt x="674" y="44"/>
                    <a:pt x="674" y="44"/>
                  </a:cubicBezTo>
                  <a:cubicBezTo>
                    <a:pt x="674" y="44"/>
                    <a:pt x="674" y="44"/>
                    <a:pt x="674" y="44"/>
                  </a:cubicBezTo>
                  <a:cubicBezTo>
                    <a:pt x="674" y="44"/>
                    <a:pt x="674" y="44"/>
                    <a:pt x="675" y="43"/>
                  </a:cubicBezTo>
                  <a:cubicBezTo>
                    <a:pt x="675" y="43"/>
                    <a:pt x="675" y="43"/>
                    <a:pt x="675" y="43"/>
                  </a:cubicBezTo>
                  <a:cubicBezTo>
                    <a:pt x="675" y="43"/>
                    <a:pt x="675" y="43"/>
                    <a:pt x="675" y="43"/>
                  </a:cubicBezTo>
                  <a:cubicBezTo>
                    <a:pt x="675" y="43"/>
                    <a:pt x="675" y="43"/>
                    <a:pt x="676" y="43"/>
                  </a:cubicBezTo>
                  <a:cubicBezTo>
                    <a:pt x="676" y="43"/>
                    <a:pt x="676" y="43"/>
                    <a:pt x="676" y="43"/>
                  </a:cubicBezTo>
                  <a:cubicBezTo>
                    <a:pt x="676" y="43"/>
                    <a:pt x="676" y="43"/>
                    <a:pt x="676" y="43"/>
                  </a:cubicBezTo>
                  <a:cubicBezTo>
                    <a:pt x="676" y="43"/>
                    <a:pt x="676" y="43"/>
                    <a:pt x="676" y="43"/>
                  </a:cubicBezTo>
                  <a:cubicBezTo>
                    <a:pt x="677" y="43"/>
                    <a:pt x="677" y="43"/>
                    <a:pt x="677" y="43"/>
                  </a:cubicBezTo>
                  <a:cubicBezTo>
                    <a:pt x="677" y="42"/>
                    <a:pt x="677" y="43"/>
                    <a:pt x="678" y="42"/>
                  </a:cubicBezTo>
                  <a:cubicBezTo>
                    <a:pt x="678" y="42"/>
                    <a:pt x="678" y="42"/>
                    <a:pt x="678" y="42"/>
                  </a:cubicBezTo>
                  <a:cubicBezTo>
                    <a:pt x="678" y="42"/>
                    <a:pt x="678" y="42"/>
                    <a:pt x="678" y="42"/>
                  </a:cubicBezTo>
                  <a:cubicBezTo>
                    <a:pt x="679" y="42"/>
                    <a:pt x="679" y="42"/>
                    <a:pt x="680" y="42"/>
                  </a:cubicBezTo>
                  <a:cubicBezTo>
                    <a:pt x="681" y="42"/>
                    <a:pt x="682" y="42"/>
                    <a:pt x="683" y="42"/>
                  </a:cubicBezTo>
                  <a:cubicBezTo>
                    <a:pt x="684" y="42"/>
                    <a:pt x="685" y="42"/>
                    <a:pt x="685" y="42"/>
                  </a:cubicBezTo>
                  <a:cubicBezTo>
                    <a:pt x="686" y="42"/>
                    <a:pt x="686" y="42"/>
                    <a:pt x="686" y="42"/>
                  </a:cubicBezTo>
                  <a:cubicBezTo>
                    <a:pt x="686" y="42"/>
                    <a:pt x="686" y="42"/>
                    <a:pt x="686" y="42"/>
                  </a:cubicBezTo>
                  <a:cubicBezTo>
                    <a:pt x="686" y="43"/>
                    <a:pt x="687" y="42"/>
                    <a:pt x="687" y="43"/>
                  </a:cubicBezTo>
                  <a:cubicBezTo>
                    <a:pt x="687" y="43"/>
                    <a:pt x="687" y="43"/>
                    <a:pt x="687" y="43"/>
                  </a:cubicBezTo>
                  <a:cubicBezTo>
                    <a:pt x="687" y="43"/>
                    <a:pt x="687" y="43"/>
                    <a:pt x="687" y="43"/>
                  </a:cubicBezTo>
                  <a:cubicBezTo>
                    <a:pt x="688" y="43"/>
                    <a:pt x="688" y="43"/>
                    <a:pt x="689" y="43"/>
                  </a:cubicBezTo>
                  <a:cubicBezTo>
                    <a:pt x="689" y="43"/>
                    <a:pt x="689" y="43"/>
                    <a:pt x="689" y="43"/>
                  </a:cubicBezTo>
                  <a:cubicBezTo>
                    <a:pt x="689" y="43"/>
                    <a:pt x="689" y="43"/>
                    <a:pt x="689" y="43"/>
                  </a:cubicBezTo>
                  <a:cubicBezTo>
                    <a:pt x="689" y="43"/>
                    <a:pt x="690" y="43"/>
                    <a:pt x="690" y="43"/>
                  </a:cubicBezTo>
                  <a:cubicBezTo>
                    <a:pt x="690" y="43"/>
                    <a:pt x="690" y="43"/>
                    <a:pt x="690" y="43"/>
                  </a:cubicBezTo>
                  <a:cubicBezTo>
                    <a:pt x="690" y="44"/>
                    <a:pt x="691" y="43"/>
                    <a:pt x="691" y="44"/>
                  </a:cubicBezTo>
                  <a:cubicBezTo>
                    <a:pt x="691" y="44"/>
                    <a:pt x="691" y="44"/>
                    <a:pt x="691" y="44"/>
                  </a:cubicBezTo>
                  <a:cubicBezTo>
                    <a:pt x="691" y="44"/>
                    <a:pt x="691" y="44"/>
                    <a:pt x="692" y="44"/>
                  </a:cubicBezTo>
                  <a:cubicBezTo>
                    <a:pt x="692" y="44"/>
                    <a:pt x="692" y="44"/>
                    <a:pt x="692" y="44"/>
                  </a:cubicBezTo>
                  <a:cubicBezTo>
                    <a:pt x="692" y="44"/>
                    <a:pt x="692" y="44"/>
                    <a:pt x="692" y="44"/>
                  </a:cubicBezTo>
                  <a:cubicBezTo>
                    <a:pt x="692" y="44"/>
                    <a:pt x="692" y="44"/>
                    <a:pt x="692" y="44"/>
                  </a:cubicBezTo>
                  <a:cubicBezTo>
                    <a:pt x="693" y="45"/>
                    <a:pt x="693" y="45"/>
                    <a:pt x="693" y="45"/>
                  </a:cubicBezTo>
                  <a:cubicBezTo>
                    <a:pt x="693" y="45"/>
                    <a:pt x="693" y="45"/>
                    <a:pt x="693" y="45"/>
                  </a:cubicBezTo>
                  <a:cubicBezTo>
                    <a:pt x="693" y="45"/>
                    <a:pt x="694" y="45"/>
                    <a:pt x="694" y="45"/>
                  </a:cubicBezTo>
                  <a:cubicBezTo>
                    <a:pt x="694" y="45"/>
                    <a:pt x="694" y="45"/>
                    <a:pt x="694" y="45"/>
                  </a:cubicBezTo>
                  <a:cubicBezTo>
                    <a:pt x="694" y="45"/>
                    <a:pt x="694" y="45"/>
                    <a:pt x="694" y="45"/>
                  </a:cubicBezTo>
                  <a:cubicBezTo>
                    <a:pt x="694" y="45"/>
                    <a:pt x="694" y="45"/>
                    <a:pt x="694" y="45"/>
                  </a:cubicBezTo>
                  <a:cubicBezTo>
                    <a:pt x="695" y="46"/>
                    <a:pt x="695" y="46"/>
                    <a:pt x="695" y="46"/>
                  </a:cubicBezTo>
                  <a:cubicBezTo>
                    <a:pt x="695" y="46"/>
                    <a:pt x="695" y="46"/>
                    <a:pt x="695" y="46"/>
                  </a:cubicBezTo>
                  <a:cubicBezTo>
                    <a:pt x="695" y="46"/>
                    <a:pt x="695" y="46"/>
                    <a:pt x="696" y="46"/>
                  </a:cubicBezTo>
                  <a:cubicBezTo>
                    <a:pt x="695" y="46"/>
                    <a:pt x="695" y="46"/>
                    <a:pt x="695" y="46"/>
                  </a:cubicBezTo>
                  <a:cubicBezTo>
                    <a:pt x="696" y="46"/>
                    <a:pt x="696" y="46"/>
                    <a:pt x="696" y="47"/>
                  </a:cubicBezTo>
                  <a:cubicBezTo>
                    <a:pt x="696" y="47"/>
                    <a:pt x="696" y="47"/>
                    <a:pt x="696" y="47"/>
                  </a:cubicBezTo>
                  <a:cubicBezTo>
                    <a:pt x="696" y="47"/>
                    <a:pt x="697" y="46"/>
                    <a:pt x="697" y="46"/>
                  </a:cubicBezTo>
                  <a:cubicBezTo>
                    <a:pt x="697" y="43"/>
                    <a:pt x="697" y="39"/>
                    <a:pt x="696" y="36"/>
                  </a:cubicBezTo>
                  <a:cubicBezTo>
                    <a:pt x="696" y="36"/>
                    <a:pt x="696" y="36"/>
                    <a:pt x="696" y="36"/>
                  </a:cubicBezTo>
                  <a:cubicBezTo>
                    <a:pt x="696" y="36"/>
                    <a:pt x="696" y="36"/>
                    <a:pt x="696" y="35"/>
                  </a:cubicBezTo>
                  <a:cubicBezTo>
                    <a:pt x="696" y="35"/>
                    <a:pt x="696" y="35"/>
                    <a:pt x="696" y="35"/>
                  </a:cubicBezTo>
                  <a:cubicBezTo>
                    <a:pt x="696" y="35"/>
                    <a:pt x="695" y="35"/>
                    <a:pt x="695" y="35"/>
                  </a:cubicBezTo>
                  <a:cubicBezTo>
                    <a:pt x="695" y="35"/>
                    <a:pt x="695" y="35"/>
                    <a:pt x="695" y="35"/>
                  </a:cubicBezTo>
                  <a:cubicBezTo>
                    <a:pt x="695" y="35"/>
                    <a:pt x="695" y="35"/>
                    <a:pt x="694" y="35"/>
                  </a:cubicBezTo>
                  <a:cubicBezTo>
                    <a:pt x="694" y="35"/>
                    <a:pt x="694" y="35"/>
                    <a:pt x="694" y="35"/>
                  </a:cubicBezTo>
                  <a:cubicBezTo>
                    <a:pt x="694" y="34"/>
                    <a:pt x="694" y="35"/>
                    <a:pt x="693" y="34"/>
                  </a:cubicBezTo>
                  <a:cubicBezTo>
                    <a:pt x="693" y="34"/>
                    <a:pt x="693" y="34"/>
                    <a:pt x="693" y="34"/>
                  </a:cubicBezTo>
                  <a:cubicBezTo>
                    <a:pt x="693" y="34"/>
                    <a:pt x="693" y="34"/>
                    <a:pt x="692" y="34"/>
                  </a:cubicBezTo>
                  <a:cubicBezTo>
                    <a:pt x="692" y="34"/>
                    <a:pt x="692" y="34"/>
                    <a:pt x="692" y="34"/>
                  </a:cubicBezTo>
                  <a:cubicBezTo>
                    <a:pt x="692" y="34"/>
                    <a:pt x="692" y="34"/>
                    <a:pt x="691" y="34"/>
                  </a:cubicBezTo>
                  <a:cubicBezTo>
                    <a:pt x="691" y="34"/>
                    <a:pt x="691" y="34"/>
                    <a:pt x="691" y="34"/>
                  </a:cubicBezTo>
                  <a:cubicBezTo>
                    <a:pt x="691" y="34"/>
                    <a:pt x="691" y="34"/>
                    <a:pt x="691" y="34"/>
                  </a:cubicBezTo>
                  <a:cubicBezTo>
                    <a:pt x="691" y="33"/>
                    <a:pt x="690" y="34"/>
                    <a:pt x="690" y="33"/>
                  </a:cubicBezTo>
                  <a:cubicBezTo>
                    <a:pt x="690" y="33"/>
                    <a:pt x="690" y="33"/>
                    <a:pt x="690" y="33"/>
                  </a:cubicBezTo>
                  <a:cubicBezTo>
                    <a:pt x="690" y="33"/>
                    <a:pt x="690" y="33"/>
                    <a:pt x="690" y="33"/>
                  </a:cubicBezTo>
                  <a:cubicBezTo>
                    <a:pt x="689" y="33"/>
                    <a:pt x="688" y="33"/>
                    <a:pt x="688" y="33"/>
                  </a:cubicBezTo>
                  <a:cubicBezTo>
                    <a:pt x="688" y="33"/>
                    <a:pt x="688" y="33"/>
                    <a:pt x="687" y="33"/>
                  </a:cubicBezTo>
                  <a:cubicBezTo>
                    <a:pt x="687" y="33"/>
                    <a:pt x="686" y="33"/>
                    <a:pt x="685" y="33"/>
                  </a:cubicBezTo>
                  <a:cubicBezTo>
                    <a:pt x="683" y="33"/>
                    <a:pt x="681" y="33"/>
                    <a:pt x="680" y="33"/>
                  </a:cubicBezTo>
                  <a:cubicBezTo>
                    <a:pt x="679" y="33"/>
                    <a:pt x="678" y="33"/>
                    <a:pt x="677" y="33"/>
                  </a:cubicBezTo>
                  <a:cubicBezTo>
                    <a:pt x="677" y="33"/>
                    <a:pt x="677" y="33"/>
                    <a:pt x="677" y="33"/>
                  </a:cubicBezTo>
                  <a:cubicBezTo>
                    <a:pt x="676" y="33"/>
                    <a:pt x="676" y="33"/>
                    <a:pt x="675" y="33"/>
                  </a:cubicBezTo>
                  <a:cubicBezTo>
                    <a:pt x="675" y="33"/>
                    <a:pt x="675" y="33"/>
                    <a:pt x="675" y="33"/>
                  </a:cubicBezTo>
                  <a:cubicBezTo>
                    <a:pt x="675" y="34"/>
                    <a:pt x="674" y="33"/>
                    <a:pt x="674" y="34"/>
                  </a:cubicBezTo>
                  <a:cubicBezTo>
                    <a:pt x="674" y="34"/>
                    <a:pt x="674" y="34"/>
                    <a:pt x="674" y="34"/>
                  </a:cubicBezTo>
                  <a:cubicBezTo>
                    <a:pt x="673" y="34"/>
                    <a:pt x="673" y="34"/>
                    <a:pt x="672" y="34"/>
                  </a:cubicBezTo>
                  <a:cubicBezTo>
                    <a:pt x="673" y="34"/>
                    <a:pt x="673" y="34"/>
                    <a:pt x="673" y="34"/>
                  </a:cubicBezTo>
                  <a:cubicBezTo>
                    <a:pt x="672" y="34"/>
                    <a:pt x="672" y="34"/>
                    <a:pt x="671" y="34"/>
                  </a:cubicBezTo>
                  <a:cubicBezTo>
                    <a:pt x="671" y="34"/>
                    <a:pt x="671" y="34"/>
                    <a:pt x="671" y="34"/>
                  </a:cubicBezTo>
                  <a:cubicBezTo>
                    <a:pt x="671" y="35"/>
                    <a:pt x="671" y="34"/>
                    <a:pt x="671" y="35"/>
                  </a:cubicBezTo>
                  <a:cubicBezTo>
                    <a:pt x="671" y="35"/>
                    <a:pt x="671" y="35"/>
                    <a:pt x="671" y="35"/>
                  </a:cubicBezTo>
                  <a:cubicBezTo>
                    <a:pt x="671" y="35"/>
                    <a:pt x="670" y="35"/>
                    <a:pt x="670" y="35"/>
                  </a:cubicBezTo>
                  <a:cubicBezTo>
                    <a:pt x="670" y="35"/>
                    <a:pt x="670" y="35"/>
                    <a:pt x="670" y="35"/>
                  </a:cubicBezTo>
                  <a:cubicBezTo>
                    <a:pt x="670" y="35"/>
                    <a:pt x="670" y="35"/>
                    <a:pt x="670" y="35"/>
                  </a:cubicBezTo>
                  <a:cubicBezTo>
                    <a:pt x="670" y="35"/>
                    <a:pt x="670" y="35"/>
                    <a:pt x="669" y="35"/>
                  </a:cubicBezTo>
                  <a:cubicBezTo>
                    <a:pt x="669" y="35"/>
                    <a:pt x="669" y="35"/>
                    <a:pt x="669" y="35"/>
                  </a:cubicBezTo>
                  <a:cubicBezTo>
                    <a:pt x="669" y="35"/>
                    <a:pt x="669" y="35"/>
                    <a:pt x="669" y="35"/>
                  </a:cubicBezTo>
                  <a:cubicBezTo>
                    <a:pt x="669" y="35"/>
                    <a:pt x="669" y="36"/>
                    <a:pt x="669" y="36"/>
                  </a:cubicBezTo>
                  <a:cubicBezTo>
                    <a:pt x="669" y="36"/>
                    <a:pt x="669" y="36"/>
                    <a:pt x="669" y="36"/>
                  </a:cubicBezTo>
                  <a:cubicBezTo>
                    <a:pt x="668" y="36"/>
                    <a:pt x="668" y="36"/>
                    <a:pt x="668" y="36"/>
                  </a:cubicBezTo>
                  <a:cubicBezTo>
                    <a:pt x="668" y="36"/>
                    <a:pt x="668" y="36"/>
                    <a:pt x="668" y="36"/>
                  </a:cubicBezTo>
                  <a:cubicBezTo>
                    <a:pt x="668" y="36"/>
                    <a:pt x="667" y="36"/>
                    <a:pt x="667" y="37"/>
                  </a:cubicBezTo>
                  <a:cubicBezTo>
                    <a:pt x="667" y="36"/>
                    <a:pt x="667" y="36"/>
                    <a:pt x="667" y="36"/>
                  </a:cubicBezTo>
                  <a:cubicBezTo>
                    <a:pt x="667" y="37"/>
                    <a:pt x="667" y="37"/>
                    <a:pt x="667" y="37"/>
                  </a:cubicBezTo>
                  <a:cubicBezTo>
                    <a:pt x="667" y="37"/>
                    <a:pt x="667" y="37"/>
                    <a:pt x="667" y="37"/>
                  </a:cubicBezTo>
                  <a:cubicBezTo>
                    <a:pt x="667" y="37"/>
                    <a:pt x="666" y="37"/>
                    <a:pt x="666" y="37"/>
                  </a:cubicBezTo>
                  <a:cubicBezTo>
                    <a:pt x="666" y="37"/>
                    <a:pt x="666" y="37"/>
                    <a:pt x="666" y="37"/>
                  </a:cubicBezTo>
                  <a:cubicBezTo>
                    <a:pt x="666" y="37"/>
                    <a:pt x="666" y="37"/>
                    <a:pt x="666" y="38"/>
                  </a:cubicBezTo>
                  <a:cubicBezTo>
                    <a:pt x="666" y="37"/>
                    <a:pt x="666" y="37"/>
                    <a:pt x="666" y="37"/>
                  </a:cubicBezTo>
                  <a:cubicBezTo>
                    <a:pt x="666" y="38"/>
                    <a:pt x="666" y="38"/>
                    <a:pt x="666" y="38"/>
                  </a:cubicBezTo>
                  <a:cubicBezTo>
                    <a:pt x="666" y="38"/>
                    <a:pt x="666" y="38"/>
                    <a:pt x="666" y="38"/>
                  </a:cubicBezTo>
                  <a:cubicBezTo>
                    <a:pt x="665" y="38"/>
                    <a:pt x="665" y="38"/>
                    <a:pt x="665" y="39"/>
                  </a:cubicBezTo>
                  <a:cubicBezTo>
                    <a:pt x="665" y="39"/>
                    <a:pt x="665" y="39"/>
                    <a:pt x="665" y="39"/>
                  </a:cubicBezTo>
                  <a:cubicBezTo>
                    <a:pt x="664" y="39"/>
                    <a:pt x="664" y="39"/>
                    <a:pt x="664" y="39"/>
                  </a:cubicBezTo>
                  <a:cubicBezTo>
                    <a:pt x="664" y="39"/>
                    <a:pt x="664" y="39"/>
                    <a:pt x="664" y="39"/>
                  </a:cubicBezTo>
                  <a:cubicBezTo>
                    <a:pt x="664" y="39"/>
                    <a:pt x="664" y="39"/>
                    <a:pt x="664" y="39"/>
                  </a:cubicBezTo>
                  <a:cubicBezTo>
                    <a:pt x="664" y="39"/>
                    <a:pt x="664" y="39"/>
                    <a:pt x="664" y="39"/>
                  </a:cubicBezTo>
                  <a:cubicBezTo>
                    <a:pt x="664" y="39"/>
                    <a:pt x="664" y="39"/>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2" y="40"/>
                    <a:pt x="662" y="41"/>
                  </a:cubicBezTo>
                  <a:cubicBezTo>
                    <a:pt x="663" y="41"/>
                    <a:pt x="663" y="41"/>
                    <a:pt x="663" y="41"/>
                  </a:cubicBezTo>
                  <a:cubicBezTo>
                    <a:pt x="662" y="41"/>
                    <a:pt x="662" y="41"/>
                    <a:pt x="662" y="41"/>
                  </a:cubicBezTo>
                  <a:cubicBezTo>
                    <a:pt x="662" y="41"/>
                    <a:pt x="662" y="41"/>
                    <a:pt x="662" y="41"/>
                  </a:cubicBezTo>
                  <a:cubicBezTo>
                    <a:pt x="662" y="41"/>
                    <a:pt x="662" y="42"/>
                    <a:pt x="662" y="42"/>
                  </a:cubicBezTo>
                  <a:cubicBezTo>
                    <a:pt x="662" y="42"/>
                    <a:pt x="662" y="42"/>
                    <a:pt x="662" y="42"/>
                  </a:cubicBezTo>
                  <a:cubicBezTo>
                    <a:pt x="662" y="42"/>
                    <a:pt x="661" y="42"/>
                    <a:pt x="661" y="42"/>
                  </a:cubicBezTo>
                  <a:cubicBezTo>
                    <a:pt x="661" y="42"/>
                    <a:pt x="661" y="42"/>
                    <a:pt x="661" y="42"/>
                  </a:cubicBezTo>
                  <a:cubicBezTo>
                    <a:pt x="661" y="42"/>
                    <a:pt x="661" y="43"/>
                    <a:pt x="661" y="43"/>
                  </a:cubicBezTo>
                  <a:cubicBezTo>
                    <a:pt x="661" y="43"/>
                    <a:pt x="661" y="43"/>
                    <a:pt x="661" y="43"/>
                  </a:cubicBezTo>
                  <a:cubicBezTo>
                    <a:pt x="661" y="43"/>
                    <a:pt x="661" y="43"/>
                    <a:pt x="661" y="43"/>
                  </a:cubicBezTo>
                  <a:cubicBezTo>
                    <a:pt x="661" y="43"/>
                    <a:pt x="661" y="43"/>
                    <a:pt x="661" y="43"/>
                  </a:cubicBezTo>
                  <a:cubicBezTo>
                    <a:pt x="660" y="43"/>
                    <a:pt x="660" y="44"/>
                    <a:pt x="660" y="44"/>
                  </a:cubicBezTo>
                  <a:cubicBezTo>
                    <a:pt x="660" y="44"/>
                    <a:pt x="660" y="44"/>
                    <a:pt x="660" y="44"/>
                  </a:cubicBezTo>
                  <a:cubicBezTo>
                    <a:pt x="660" y="44"/>
                    <a:pt x="660" y="44"/>
                    <a:pt x="660" y="44"/>
                  </a:cubicBezTo>
                  <a:cubicBezTo>
                    <a:pt x="660" y="44"/>
                    <a:pt x="660" y="44"/>
                    <a:pt x="660" y="44"/>
                  </a:cubicBezTo>
                  <a:cubicBezTo>
                    <a:pt x="660" y="45"/>
                    <a:pt x="660" y="45"/>
                    <a:pt x="660" y="45"/>
                  </a:cubicBezTo>
                  <a:cubicBezTo>
                    <a:pt x="660" y="45"/>
                    <a:pt x="660" y="45"/>
                    <a:pt x="660" y="45"/>
                  </a:cubicBezTo>
                  <a:cubicBezTo>
                    <a:pt x="660" y="45"/>
                    <a:pt x="660" y="45"/>
                    <a:pt x="660" y="45"/>
                  </a:cubicBezTo>
                  <a:cubicBezTo>
                    <a:pt x="659" y="46"/>
                    <a:pt x="659" y="46"/>
                    <a:pt x="659" y="46"/>
                  </a:cubicBezTo>
                  <a:cubicBezTo>
                    <a:pt x="659" y="46"/>
                    <a:pt x="659" y="46"/>
                    <a:pt x="659" y="46"/>
                  </a:cubicBezTo>
                  <a:cubicBezTo>
                    <a:pt x="659" y="46"/>
                    <a:pt x="659" y="47"/>
                    <a:pt x="659" y="47"/>
                  </a:cubicBezTo>
                  <a:cubicBezTo>
                    <a:pt x="659" y="47"/>
                    <a:pt x="659" y="48"/>
                    <a:pt x="659" y="48"/>
                  </a:cubicBezTo>
                  <a:cubicBezTo>
                    <a:pt x="659" y="48"/>
                    <a:pt x="659" y="49"/>
                    <a:pt x="659" y="49"/>
                  </a:cubicBezTo>
                  <a:cubicBezTo>
                    <a:pt x="659" y="49"/>
                    <a:pt x="659" y="49"/>
                    <a:pt x="659" y="49"/>
                  </a:cubicBezTo>
                  <a:cubicBezTo>
                    <a:pt x="658" y="51"/>
                    <a:pt x="658" y="53"/>
                    <a:pt x="659" y="55"/>
                  </a:cubicBezTo>
                  <a:cubicBezTo>
                    <a:pt x="659" y="55"/>
                    <a:pt x="659" y="56"/>
                    <a:pt x="659" y="56"/>
                  </a:cubicBezTo>
                  <a:cubicBezTo>
                    <a:pt x="659" y="56"/>
                    <a:pt x="659" y="57"/>
                    <a:pt x="659" y="57"/>
                  </a:cubicBezTo>
                  <a:cubicBezTo>
                    <a:pt x="659" y="57"/>
                    <a:pt x="659" y="57"/>
                    <a:pt x="659" y="58"/>
                  </a:cubicBezTo>
                  <a:cubicBezTo>
                    <a:pt x="659" y="58"/>
                    <a:pt x="659" y="58"/>
                    <a:pt x="659" y="59"/>
                  </a:cubicBezTo>
                  <a:cubicBezTo>
                    <a:pt x="659" y="59"/>
                    <a:pt x="659" y="59"/>
                    <a:pt x="659" y="59"/>
                  </a:cubicBezTo>
                  <a:cubicBezTo>
                    <a:pt x="659" y="59"/>
                    <a:pt x="659" y="59"/>
                    <a:pt x="659" y="59"/>
                  </a:cubicBezTo>
                  <a:cubicBezTo>
                    <a:pt x="659" y="59"/>
                    <a:pt x="659" y="59"/>
                    <a:pt x="660" y="60"/>
                  </a:cubicBezTo>
                  <a:cubicBezTo>
                    <a:pt x="660" y="60"/>
                    <a:pt x="660" y="60"/>
                    <a:pt x="660" y="60"/>
                  </a:cubicBezTo>
                  <a:cubicBezTo>
                    <a:pt x="660" y="60"/>
                    <a:pt x="660" y="60"/>
                    <a:pt x="660" y="60"/>
                  </a:cubicBezTo>
                  <a:cubicBezTo>
                    <a:pt x="660" y="60"/>
                    <a:pt x="660" y="60"/>
                    <a:pt x="660" y="60"/>
                  </a:cubicBezTo>
                  <a:cubicBezTo>
                    <a:pt x="660" y="61"/>
                    <a:pt x="660" y="61"/>
                    <a:pt x="660" y="61"/>
                  </a:cubicBezTo>
                  <a:cubicBezTo>
                    <a:pt x="660" y="61"/>
                    <a:pt x="660" y="61"/>
                    <a:pt x="660" y="61"/>
                  </a:cubicBezTo>
                  <a:cubicBezTo>
                    <a:pt x="660" y="61"/>
                    <a:pt x="660" y="61"/>
                    <a:pt x="660" y="61"/>
                  </a:cubicBezTo>
                  <a:cubicBezTo>
                    <a:pt x="660" y="61"/>
                    <a:pt x="660" y="61"/>
                    <a:pt x="660" y="61"/>
                  </a:cubicBezTo>
                  <a:cubicBezTo>
                    <a:pt x="660" y="62"/>
                    <a:pt x="661" y="62"/>
                    <a:pt x="661" y="62"/>
                  </a:cubicBezTo>
                  <a:cubicBezTo>
                    <a:pt x="661" y="62"/>
                    <a:pt x="661" y="62"/>
                    <a:pt x="661" y="62"/>
                  </a:cubicBezTo>
                  <a:cubicBezTo>
                    <a:pt x="661" y="62"/>
                    <a:pt x="661" y="62"/>
                    <a:pt x="661" y="62"/>
                  </a:cubicBezTo>
                  <a:cubicBezTo>
                    <a:pt x="661" y="62"/>
                    <a:pt x="661" y="62"/>
                    <a:pt x="661" y="62"/>
                  </a:cubicBezTo>
                  <a:cubicBezTo>
                    <a:pt x="661" y="63"/>
                    <a:pt x="661" y="63"/>
                    <a:pt x="661" y="63"/>
                  </a:cubicBezTo>
                  <a:cubicBezTo>
                    <a:pt x="661" y="63"/>
                    <a:pt x="661" y="63"/>
                    <a:pt x="661" y="63"/>
                  </a:cubicBezTo>
                  <a:cubicBezTo>
                    <a:pt x="662" y="63"/>
                    <a:pt x="661" y="63"/>
                    <a:pt x="662" y="64"/>
                  </a:cubicBezTo>
                  <a:cubicBezTo>
                    <a:pt x="662" y="63"/>
                    <a:pt x="662" y="63"/>
                    <a:pt x="662" y="63"/>
                  </a:cubicBezTo>
                  <a:cubicBezTo>
                    <a:pt x="662" y="64"/>
                    <a:pt x="662" y="64"/>
                    <a:pt x="662" y="64"/>
                  </a:cubicBezTo>
                  <a:cubicBezTo>
                    <a:pt x="662" y="64"/>
                    <a:pt x="662" y="64"/>
                    <a:pt x="662" y="64"/>
                  </a:cubicBezTo>
                  <a:cubicBezTo>
                    <a:pt x="662" y="64"/>
                    <a:pt x="662" y="64"/>
                    <a:pt x="662" y="64"/>
                  </a:cubicBezTo>
                  <a:cubicBezTo>
                    <a:pt x="662" y="64"/>
                    <a:pt x="662" y="64"/>
                    <a:pt x="662" y="64"/>
                  </a:cubicBezTo>
                  <a:cubicBezTo>
                    <a:pt x="662" y="64"/>
                    <a:pt x="663" y="64"/>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4" y="65"/>
                    <a:pt x="664" y="66"/>
                    <a:pt x="664" y="66"/>
                  </a:cubicBezTo>
                  <a:cubicBezTo>
                    <a:pt x="664" y="66"/>
                    <a:pt x="664" y="66"/>
                    <a:pt x="664" y="66"/>
                  </a:cubicBezTo>
                  <a:cubicBezTo>
                    <a:pt x="664" y="66"/>
                    <a:pt x="664" y="66"/>
                    <a:pt x="664" y="66"/>
                  </a:cubicBezTo>
                  <a:cubicBezTo>
                    <a:pt x="664" y="66"/>
                    <a:pt x="664" y="66"/>
                    <a:pt x="664" y="66"/>
                  </a:cubicBezTo>
                  <a:cubicBezTo>
                    <a:pt x="664" y="66"/>
                    <a:pt x="664" y="66"/>
                    <a:pt x="665" y="66"/>
                  </a:cubicBezTo>
                  <a:cubicBezTo>
                    <a:pt x="665" y="66"/>
                    <a:pt x="665" y="66"/>
                    <a:pt x="665" y="66"/>
                  </a:cubicBezTo>
                  <a:cubicBezTo>
                    <a:pt x="665" y="67"/>
                    <a:pt x="665" y="66"/>
                    <a:pt x="665" y="67"/>
                  </a:cubicBezTo>
                  <a:cubicBezTo>
                    <a:pt x="665" y="67"/>
                    <a:pt x="665" y="67"/>
                    <a:pt x="665" y="67"/>
                  </a:cubicBezTo>
                  <a:cubicBezTo>
                    <a:pt x="665" y="67"/>
                    <a:pt x="665" y="67"/>
                    <a:pt x="666" y="67"/>
                  </a:cubicBezTo>
                  <a:cubicBezTo>
                    <a:pt x="666" y="67"/>
                    <a:pt x="666" y="67"/>
                    <a:pt x="666" y="67"/>
                  </a:cubicBezTo>
                  <a:cubicBezTo>
                    <a:pt x="666" y="67"/>
                    <a:pt x="666" y="67"/>
                    <a:pt x="666" y="67"/>
                  </a:cubicBezTo>
                  <a:cubicBezTo>
                    <a:pt x="666" y="67"/>
                    <a:pt x="666" y="67"/>
                    <a:pt x="666" y="67"/>
                  </a:cubicBezTo>
                  <a:cubicBezTo>
                    <a:pt x="666" y="68"/>
                    <a:pt x="666" y="68"/>
                    <a:pt x="667" y="68"/>
                  </a:cubicBezTo>
                  <a:cubicBezTo>
                    <a:pt x="667" y="68"/>
                    <a:pt x="667" y="68"/>
                    <a:pt x="667" y="68"/>
                  </a:cubicBezTo>
                  <a:cubicBezTo>
                    <a:pt x="667" y="68"/>
                    <a:pt x="667" y="68"/>
                    <a:pt x="667" y="68"/>
                  </a:cubicBezTo>
                  <a:cubicBezTo>
                    <a:pt x="667" y="68"/>
                    <a:pt x="667" y="68"/>
                    <a:pt x="667" y="68"/>
                  </a:cubicBezTo>
                  <a:cubicBezTo>
                    <a:pt x="667" y="68"/>
                    <a:pt x="667" y="68"/>
                    <a:pt x="668" y="68"/>
                  </a:cubicBezTo>
                  <a:cubicBezTo>
                    <a:pt x="668" y="68"/>
                    <a:pt x="668" y="68"/>
                    <a:pt x="668" y="68"/>
                  </a:cubicBezTo>
                  <a:cubicBezTo>
                    <a:pt x="668" y="69"/>
                    <a:pt x="668" y="69"/>
                    <a:pt x="668" y="69"/>
                  </a:cubicBezTo>
                  <a:cubicBezTo>
                    <a:pt x="668" y="69"/>
                    <a:pt x="668" y="69"/>
                    <a:pt x="668" y="69"/>
                  </a:cubicBezTo>
                  <a:cubicBezTo>
                    <a:pt x="668" y="69"/>
                    <a:pt x="669" y="69"/>
                    <a:pt x="669" y="69"/>
                  </a:cubicBezTo>
                  <a:cubicBezTo>
                    <a:pt x="669" y="69"/>
                    <a:pt x="669" y="69"/>
                    <a:pt x="669" y="69"/>
                  </a:cubicBezTo>
                  <a:cubicBezTo>
                    <a:pt x="669" y="69"/>
                    <a:pt x="669" y="69"/>
                    <a:pt x="669" y="69"/>
                  </a:cubicBezTo>
                  <a:cubicBezTo>
                    <a:pt x="669" y="69"/>
                    <a:pt x="669" y="69"/>
                    <a:pt x="669" y="69"/>
                  </a:cubicBezTo>
                  <a:cubicBezTo>
                    <a:pt x="670" y="70"/>
                    <a:pt x="670" y="70"/>
                    <a:pt x="670" y="70"/>
                  </a:cubicBezTo>
                  <a:cubicBezTo>
                    <a:pt x="670" y="70"/>
                    <a:pt x="670" y="70"/>
                    <a:pt x="670" y="70"/>
                  </a:cubicBezTo>
                  <a:cubicBezTo>
                    <a:pt x="670" y="70"/>
                    <a:pt x="671" y="70"/>
                    <a:pt x="671" y="70"/>
                  </a:cubicBezTo>
                  <a:cubicBezTo>
                    <a:pt x="671" y="70"/>
                    <a:pt x="671" y="70"/>
                    <a:pt x="671" y="70"/>
                  </a:cubicBezTo>
                  <a:cubicBezTo>
                    <a:pt x="671" y="70"/>
                    <a:pt x="671" y="70"/>
                    <a:pt x="671" y="71"/>
                  </a:cubicBezTo>
                  <a:cubicBezTo>
                    <a:pt x="671" y="71"/>
                    <a:pt x="671" y="71"/>
                    <a:pt x="671" y="71"/>
                  </a:cubicBezTo>
                  <a:cubicBezTo>
                    <a:pt x="672" y="71"/>
                    <a:pt x="672" y="71"/>
                    <a:pt x="672" y="71"/>
                  </a:cubicBezTo>
                  <a:cubicBezTo>
                    <a:pt x="672" y="71"/>
                    <a:pt x="672" y="71"/>
                    <a:pt x="672" y="71"/>
                  </a:cubicBezTo>
                  <a:cubicBezTo>
                    <a:pt x="672" y="71"/>
                    <a:pt x="673" y="71"/>
                    <a:pt x="673" y="71"/>
                  </a:cubicBezTo>
                  <a:cubicBezTo>
                    <a:pt x="673" y="71"/>
                    <a:pt x="673" y="71"/>
                    <a:pt x="673" y="71"/>
                  </a:cubicBezTo>
                  <a:cubicBezTo>
                    <a:pt x="673" y="71"/>
                    <a:pt x="673" y="71"/>
                    <a:pt x="674" y="72"/>
                  </a:cubicBezTo>
                  <a:cubicBezTo>
                    <a:pt x="674" y="72"/>
                    <a:pt x="674" y="72"/>
                    <a:pt x="674" y="72"/>
                  </a:cubicBezTo>
                  <a:cubicBezTo>
                    <a:pt x="674" y="72"/>
                    <a:pt x="674" y="72"/>
                    <a:pt x="674" y="72"/>
                  </a:cubicBezTo>
                  <a:cubicBezTo>
                    <a:pt x="674" y="72"/>
                    <a:pt x="674" y="72"/>
                    <a:pt x="674" y="72"/>
                  </a:cubicBezTo>
                  <a:cubicBezTo>
                    <a:pt x="675" y="72"/>
                    <a:pt x="675" y="72"/>
                    <a:pt x="675" y="72"/>
                  </a:cubicBezTo>
                  <a:cubicBezTo>
                    <a:pt x="675" y="72"/>
                    <a:pt x="675" y="72"/>
                    <a:pt x="675" y="72"/>
                  </a:cubicBezTo>
                  <a:cubicBezTo>
                    <a:pt x="675" y="72"/>
                    <a:pt x="675" y="72"/>
                    <a:pt x="675" y="72"/>
                  </a:cubicBezTo>
                  <a:cubicBezTo>
                    <a:pt x="675" y="72"/>
                    <a:pt x="676" y="72"/>
                    <a:pt x="676" y="73"/>
                  </a:cubicBezTo>
                  <a:cubicBezTo>
                    <a:pt x="676" y="73"/>
                    <a:pt x="676" y="73"/>
                    <a:pt x="676" y="73"/>
                  </a:cubicBezTo>
                  <a:cubicBezTo>
                    <a:pt x="676" y="73"/>
                    <a:pt x="676" y="73"/>
                    <a:pt x="677" y="73"/>
                  </a:cubicBezTo>
                  <a:cubicBezTo>
                    <a:pt x="677" y="73"/>
                    <a:pt x="677" y="73"/>
                    <a:pt x="677" y="73"/>
                  </a:cubicBezTo>
                  <a:cubicBezTo>
                    <a:pt x="677" y="73"/>
                    <a:pt x="677" y="73"/>
                    <a:pt x="677" y="73"/>
                  </a:cubicBezTo>
                  <a:cubicBezTo>
                    <a:pt x="677" y="73"/>
                    <a:pt x="677" y="73"/>
                    <a:pt x="677" y="73"/>
                  </a:cubicBezTo>
                  <a:cubicBezTo>
                    <a:pt x="678" y="74"/>
                    <a:pt x="678" y="73"/>
                    <a:pt x="678" y="74"/>
                  </a:cubicBezTo>
                  <a:cubicBezTo>
                    <a:pt x="678" y="74"/>
                    <a:pt x="678" y="74"/>
                    <a:pt x="678" y="74"/>
                  </a:cubicBezTo>
                  <a:cubicBezTo>
                    <a:pt x="678" y="74"/>
                    <a:pt x="679" y="74"/>
                    <a:pt x="679" y="74"/>
                  </a:cubicBezTo>
                  <a:cubicBezTo>
                    <a:pt x="679" y="74"/>
                    <a:pt x="679" y="74"/>
                    <a:pt x="679" y="74"/>
                  </a:cubicBezTo>
                  <a:cubicBezTo>
                    <a:pt x="679" y="74"/>
                    <a:pt x="679" y="74"/>
                    <a:pt x="679" y="74"/>
                  </a:cubicBezTo>
                  <a:cubicBezTo>
                    <a:pt x="679" y="74"/>
                    <a:pt x="679" y="74"/>
                    <a:pt x="679" y="74"/>
                  </a:cubicBezTo>
                  <a:cubicBezTo>
                    <a:pt x="680" y="75"/>
                    <a:pt x="680" y="75"/>
                    <a:pt x="680" y="75"/>
                  </a:cubicBezTo>
                  <a:cubicBezTo>
                    <a:pt x="680" y="75"/>
                    <a:pt x="680" y="75"/>
                    <a:pt x="680" y="75"/>
                  </a:cubicBezTo>
                  <a:cubicBezTo>
                    <a:pt x="680" y="75"/>
                    <a:pt x="681" y="75"/>
                    <a:pt x="681" y="75"/>
                  </a:cubicBezTo>
                  <a:cubicBezTo>
                    <a:pt x="681" y="75"/>
                    <a:pt x="681" y="75"/>
                    <a:pt x="681" y="75"/>
                  </a:cubicBezTo>
                  <a:cubicBezTo>
                    <a:pt x="681" y="75"/>
                    <a:pt x="681" y="75"/>
                    <a:pt x="682" y="75"/>
                  </a:cubicBezTo>
                  <a:cubicBezTo>
                    <a:pt x="682" y="75"/>
                    <a:pt x="682" y="75"/>
                    <a:pt x="682" y="75"/>
                  </a:cubicBezTo>
                  <a:cubicBezTo>
                    <a:pt x="682" y="76"/>
                    <a:pt x="682" y="76"/>
                    <a:pt x="682" y="76"/>
                  </a:cubicBezTo>
                  <a:cubicBezTo>
                    <a:pt x="682" y="76"/>
                    <a:pt x="682" y="76"/>
                    <a:pt x="682" y="76"/>
                  </a:cubicBezTo>
                  <a:cubicBezTo>
                    <a:pt x="682" y="76"/>
                    <a:pt x="682" y="76"/>
                    <a:pt x="683" y="76"/>
                  </a:cubicBezTo>
                  <a:cubicBezTo>
                    <a:pt x="683" y="76"/>
                    <a:pt x="683" y="76"/>
                    <a:pt x="683" y="76"/>
                  </a:cubicBezTo>
                  <a:cubicBezTo>
                    <a:pt x="683" y="76"/>
                    <a:pt x="683" y="76"/>
                    <a:pt x="683" y="76"/>
                  </a:cubicBezTo>
                  <a:cubicBezTo>
                    <a:pt x="683" y="76"/>
                    <a:pt x="683" y="76"/>
                    <a:pt x="683" y="76"/>
                  </a:cubicBezTo>
                  <a:cubicBezTo>
                    <a:pt x="683" y="77"/>
                    <a:pt x="684" y="77"/>
                    <a:pt x="684" y="77"/>
                  </a:cubicBezTo>
                  <a:cubicBezTo>
                    <a:pt x="684" y="77"/>
                    <a:pt x="684" y="77"/>
                    <a:pt x="684" y="77"/>
                  </a:cubicBezTo>
                  <a:cubicBezTo>
                    <a:pt x="684" y="77"/>
                    <a:pt x="684" y="77"/>
                    <a:pt x="684" y="77"/>
                  </a:cubicBezTo>
                  <a:cubicBezTo>
                    <a:pt x="684" y="77"/>
                    <a:pt x="684" y="77"/>
                    <a:pt x="684" y="77"/>
                  </a:cubicBezTo>
                  <a:cubicBezTo>
                    <a:pt x="684" y="77"/>
                    <a:pt x="685" y="77"/>
                    <a:pt x="685" y="77"/>
                  </a:cubicBezTo>
                  <a:cubicBezTo>
                    <a:pt x="685" y="77"/>
                    <a:pt x="685" y="77"/>
                    <a:pt x="685" y="77"/>
                  </a:cubicBezTo>
                  <a:cubicBezTo>
                    <a:pt x="685" y="78"/>
                    <a:pt x="685" y="78"/>
                    <a:pt x="686" y="78"/>
                  </a:cubicBezTo>
                  <a:cubicBezTo>
                    <a:pt x="686" y="78"/>
                    <a:pt x="686" y="78"/>
                    <a:pt x="686" y="78"/>
                  </a:cubicBezTo>
                  <a:cubicBezTo>
                    <a:pt x="686" y="78"/>
                    <a:pt x="686" y="78"/>
                    <a:pt x="686" y="79"/>
                  </a:cubicBezTo>
                  <a:cubicBezTo>
                    <a:pt x="686" y="79"/>
                    <a:pt x="686" y="79"/>
                    <a:pt x="686" y="79"/>
                  </a:cubicBezTo>
                  <a:cubicBezTo>
                    <a:pt x="686" y="79"/>
                    <a:pt x="686" y="79"/>
                    <a:pt x="686" y="79"/>
                  </a:cubicBezTo>
                  <a:cubicBezTo>
                    <a:pt x="686" y="79"/>
                    <a:pt x="686" y="79"/>
                    <a:pt x="686" y="79"/>
                  </a:cubicBezTo>
                  <a:cubicBezTo>
                    <a:pt x="687" y="79"/>
                    <a:pt x="687" y="79"/>
                    <a:pt x="687" y="79"/>
                  </a:cubicBezTo>
                  <a:cubicBezTo>
                    <a:pt x="687" y="79"/>
                    <a:pt x="687" y="79"/>
                    <a:pt x="687" y="79"/>
                  </a:cubicBezTo>
                  <a:cubicBezTo>
                    <a:pt x="687" y="79"/>
                    <a:pt x="687" y="80"/>
                    <a:pt x="687" y="80"/>
                  </a:cubicBezTo>
                  <a:cubicBezTo>
                    <a:pt x="687" y="80"/>
                    <a:pt x="687" y="80"/>
                    <a:pt x="687" y="80"/>
                  </a:cubicBezTo>
                  <a:cubicBezTo>
                    <a:pt x="687" y="80"/>
                    <a:pt x="687" y="80"/>
                    <a:pt x="687" y="80"/>
                  </a:cubicBezTo>
                  <a:cubicBezTo>
                    <a:pt x="688" y="80"/>
                    <a:pt x="688" y="80"/>
                    <a:pt x="688" y="80"/>
                  </a:cubicBezTo>
                  <a:cubicBezTo>
                    <a:pt x="688" y="80"/>
                    <a:pt x="688" y="80"/>
                    <a:pt x="688" y="80"/>
                  </a:cubicBezTo>
                  <a:cubicBezTo>
                    <a:pt x="688" y="81"/>
                    <a:pt x="688" y="81"/>
                    <a:pt x="688" y="81"/>
                  </a:cubicBezTo>
                  <a:cubicBezTo>
                    <a:pt x="688" y="81"/>
                    <a:pt x="688" y="81"/>
                    <a:pt x="688" y="81"/>
                  </a:cubicBezTo>
                  <a:cubicBezTo>
                    <a:pt x="688" y="81"/>
                    <a:pt x="688" y="82"/>
                    <a:pt x="688" y="82"/>
                  </a:cubicBezTo>
                  <a:cubicBezTo>
                    <a:pt x="688" y="82"/>
                    <a:pt x="688" y="82"/>
                    <a:pt x="688" y="82"/>
                  </a:cubicBezTo>
                  <a:cubicBezTo>
                    <a:pt x="688" y="84"/>
                    <a:pt x="688" y="85"/>
                    <a:pt x="688" y="87"/>
                  </a:cubicBezTo>
                  <a:cubicBezTo>
                    <a:pt x="688" y="87"/>
                    <a:pt x="688" y="87"/>
                    <a:pt x="688" y="87"/>
                  </a:cubicBezTo>
                  <a:cubicBezTo>
                    <a:pt x="688" y="87"/>
                    <a:pt x="688" y="88"/>
                    <a:pt x="688" y="88"/>
                  </a:cubicBezTo>
                  <a:cubicBezTo>
                    <a:pt x="688" y="88"/>
                    <a:pt x="688" y="88"/>
                    <a:pt x="688" y="88"/>
                  </a:cubicBezTo>
                  <a:cubicBezTo>
                    <a:pt x="688" y="88"/>
                    <a:pt x="688" y="88"/>
                    <a:pt x="688" y="88"/>
                  </a:cubicBezTo>
                  <a:cubicBezTo>
                    <a:pt x="688" y="88"/>
                    <a:pt x="688" y="89"/>
                    <a:pt x="687" y="89"/>
                  </a:cubicBezTo>
                  <a:cubicBezTo>
                    <a:pt x="687" y="89"/>
                    <a:pt x="687" y="89"/>
                    <a:pt x="687" y="89"/>
                  </a:cubicBezTo>
                  <a:cubicBezTo>
                    <a:pt x="687" y="89"/>
                    <a:pt x="687" y="89"/>
                    <a:pt x="687" y="89"/>
                  </a:cubicBezTo>
                  <a:cubicBezTo>
                    <a:pt x="687" y="89"/>
                    <a:pt x="687" y="89"/>
                    <a:pt x="687" y="89"/>
                  </a:cubicBezTo>
                  <a:cubicBezTo>
                    <a:pt x="687" y="89"/>
                    <a:pt x="687" y="90"/>
                    <a:pt x="687" y="90"/>
                  </a:cubicBezTo>
                  <a:cubicBezTo>
                    <a:pt x="687" y="90"/>
                    <a:pt x="687" y="90"/>
                    <a:pt x="687" y="90"/>
                  </a:cubicBezTo>
                  <a:cubicBezTo>
                    <a:pt x="687" y="90"/>
                    <a:pt x="687" y="90"/>
                    <a:pt x="686" y="90"/>
                  </a:cubicBezTo>
                  <a:cubicBezTo>
                    <a:pt x="686" y="90"/>
                    <a:pt x="686" y="90"/>
                    <a:pt x="686" y="90"/>
                  </a:cubicBezTo>
                  <a:cubicBezTo>
                    <a:pt x="686" y="90"/>
                    <a:pt x="686" y="91"/>
                    <a:pt x="686" y="91"/>
                  </a:cubicBezTo>
                  <a:cubicBezTo>
                    <a:pt x="686" y="91"/>
                    <a:pt x="686" y="91"/>
                    <a:pt x="686" y="91"/>
                  </a:cubicBezTo>
                  <a:cubicBezTo>
                    <a:pt x="686" y="91"/>
                    <a:pt x="686" y="91"/>
                    <a:pt x="686" y="91"/>
                  </a:cubicBezTo>
                  <a:cubicBezTo>
                    <a:pt x="686" y="91"/>
                    <a:pt x="686" y="91"/>
                    <a:pt x="686" y="91"/>
                  </a:cubicBezTo>
                  <a:cubicBezTo>
                    <a:pt x="686" y="91"/>
                    <a:pt x="685" y="91"/>
                    <a:pt x="685" y="91"/>
                  </a:cubicBezTo>
                  <a:cubicBezTo>
                    <a:pt x="685" y="91"/>
                    <a:pt x="685" y="91"/>
                    <a:pt x="685" y="91"/>
                  </a:cubicBezTo>
                  <a:cubicBezTo>
                    <a:pt x="685" y="92"/>
                    <a:pt x="685" y="92"/>
                    <a:pt x="685" y="92"/>
                  </a:cubicBezTo>
                  <a:cubicBezTo>
                    <a:pt x="685" y="92"/>
                    <a:pt x="685" y="92"/>
                    <a:pt x="685" y="92"/>
                  </a:cubicBezTo>
                  <a:cubicBezTo>
                    <a:pt x="685" y="92"/>
                    <a:pt x="684" y="92"/>
                    <a:pt x="684" y="92"/>
                  </a:cubicBezTo>
                  <a:cubicBezTo>
                    <a:pt x="684" y="92"/>
                    <a:pt x="684" y="92"/>
                    <a:pt x="684" y="92"/>
                  </a:cubicBezTo>
                  <a:cubicBezTo>
                    <a:pt x="684" y="92"/>
                    <a:pt x="684" y="92"/>
                    <a:pt x="684" y="92"/>
                  </a:cubicBezTo>
                  <a:cubicBezTo>
                    <a:pt x="684" y="93"/>
                    <a:pt x="684" y="93"/>
                    <a:pt x="684" y="93"/>
                  </a:cubicBezTo>
                  <a:cubicBezTo>
                    <a:pt x="683" y="93"/>
                    <a:pt x="683" y="93"/>
                    <a:pt x="683" y="93"/>
                  </a:cubicBezTo>
                  <a:cubicBezTo>
                    <a:pt x="683" y="93"/>
                    <a:pt x="683" y="93"/>
                    <a:pt x="683" y="93"/>
                  </a:cubicBezTo>
                  <a:cubicBezTo>
                    <a:pt x="683" y="93"/>
                    <a:pt x="683" y="93"/>
                    <a:pt x="683" y="93"/>
                  </a:cubicBezTo>
                  <a:cubicBezTo>
                    <a:pt x="682" y="93"/>
                    <a:pt x="682" y="93"/>
                    <a:pt x="682" y="93"/>
                  </a:cubicBezTo>
                  <a:cubicBezTo>
                    <a:pt x="681" y="93"/>
                    <a:pt x="681" y="93"/>
                    <a:pt x="681" y="93"/>
                  </a:cubicBezTo>
                  <a:cubicBezTo>
                    <a:pt x="681" y="93"/>
                    <a:pt x="681" y="93"/>
                    <a:pt x="681" y="93"/>
                  </a:cubicBezTo>
                  <a:cubicBezTo>
                    <a:pt x="681" y="93"/>
                    <a:pt x="680" y="93"/>
                    <a:pt x="680" y="94"/>
                  </a:cubicBezTo>
                  <a:cubicBezTo>
                    <a:pt x="680" y="94"/>
                    <a:pt x="680" y="94"/>
                    <a:pt x="680" y="94"/>
                  </a:cubicBezTo>
                  <a:cubicBezTo>
                    <a:pt x="677" y="94"/>
                    <a:pt x="675" y="94"/>
                    <a:pt x="672" y="94"/>
                  </a:cubicBezTo>
                  <a:cubicBezTo>
                    <a:pt x="672" y="94"/>
                    <a:pt x="672" y="94"/>
                    <a:pt x="672" y="93"/>
                  </a:cubicBezTo>
                  <a:cubicBezTo>
                    <a:pt x="671" y="93"/>
                    <a:pt x="671" y="93"/>
                    <a:pt x="670" y="93"/>
                  </a:cubicBezTo>
                  <a:cubicBezTo>
                    <a:pt x="670" y="93"/>
                    <a:pt x="670" y="93"/>
                    <a:pt x="670" y="93"/>
                  </a:cubicBezTo>
                  <a:cubicBezTo>
                    <a:pt x="670" y="93"/>
                    <a:pt x="670" y="93"/>
                    <a:pt x="670" y="93"/>
                  </a:cubicBezTo>
                  <a:cubicBezTo>
                    <a:pt x="670" y="93"/>
                    <a:pt x="669" y="93"/>
                    <a:pt x="669" y="93"/>
                  </a:cubicBezTo>
                  <a:cubicBezTo>
                    <a:pt x="669" y="93"/>
                    <a:pt x="669" y="93"/>
                    <a:pt x="669" y="93"/>
                  </a:cubicBezTo>
                  <a:cubicBezTo>
                    <a:pt x="669" y="93"/>
                    <a:pt x="669" y="93"/>
                    <a:pt x="669" y="93"/>
                  </a:cubicBezTo>
                  <a:cubicBezTo>
                    <a:pt x="668" y="93"/>
                    <a:pt x="668" y="93"/>
                    <a:pt x="668" y="92"/>
                  </a:cubicBezTo>
                  <a:cubicBezTo>
                    <a:pt x="668" y="92"/>
                    <a:pt x="668" y="92"/>
                    <a:pt x="668" y="92"/>
                  </a:cubicBezTo>
                  <a:cubicBezTo>
                    <a:pt x="667" y="92"/>
                    <a:pt x="667" y="92"/>
                    <a:pt x="667" y="92"/>
                  </a:cubicBezTo>
                  <a:cubicBezTo>
                    <a:pt x="667" y="92"/>
                    <a:pt x="667" y="92"/>
                    <a:pt x="667" y="92"/>
                  </a:cubicBezTo>
                  <a:cubicBezTo>
                    <a:pt x="666" y="92"/>
                    <a:pt x="666" y="92"/>
                    <a:pt x="666" y="92"/>
                  </a:cubicBezTo>
                  <a:cubicBezTo>
                    <a:pt x="666" y="92"/>
                    <a:pt x="666" y="92"/>
                    <a:pt x="666" y="92"/>
                  </a:cubicBezTo>
                  <a:cubicBezTo>
                    <a:pt x="665" y="92"/>
                    <a:pt x="665" y="92"/>
                    <a:pt x="665" y="91"/>
                  </a:cubicBezTo>
                  <a:cubicBezTo>
                    <a:pt x="665" y="91"/>
                    <a:pt x="665" y="91"/>
                    <a:pt x="665" y="91"/>
                  </a:cubicBezTo>
                  <a:cubicBezTo>
                    <a:pt x="665" y="91"/>
                    <a:pt x="664" y="91"/>
                    <a:pt x="664" y="91"/>
                  </a:cubicBezTo>
                  <a:cubicBezTo>
                    <a:pt x="664" y="91"/>
                    <a:pt x="664" y="91"/>
                    <a:pt x="664" y="91"/>
                  </a:cubicBezTo>
                  <a:cubicBezTo>
                    <a:pt x="664" y="91"/>
                    <a:pt x="664" y="91"/>
                    <a:pt x="663" y="91"/>
                  </a:cubicBezTo>
                  <a:cubicBezTo>
                    <a:pt x="663" y="91"/>
                    <a:pt x="663" y="91"/>
                    <a:pt x="663" y="91"/>
                  </a:cubicBezTo>
                  <a:cubicBezTo>
                    <a:pt x="663" y="91"/>
                    <a:pt x="663" y="91"/>
                    <a:pt x="663" y="90"/>
                  </a:cubicBezTo>
                  <a:cubicBezTo>
                    <a:pt x="663" y="90"/>
                    <a:pt x="663" y="90"/>
                    <a:pt x="663" y="90"/>
                  </a:cubicBezTo>
                  <a:cubicBezTo>
                    <a:pt x="663" y="90"/>
                    <a:pt x="662" y="90"/>
                    <a:pt x="662" y="90"/>
                  </a:cubicBezTo>
                  <a:cubicBezTo>
                    <a:pt x="662" y="90"/>
                    <a:pt x="662" y="90"/>
                    <a:pt x="662" y="90"/>
                  </a:cubicBezTo>
                  <a:cubicBezTo>
                    <a:pt x="662" y="90"/>
                    <a:pt x="662" y="90"/>
                    <a:pt x="662" y="90"/>
                  </a:cubicBezTo>
                  <a:cubicBezTo>
                    <a:pt x="662" y="90"/>
                    <a:pt x="662" y="90"/>
                    <a:pt x="662" y="90"/>
                  </a:cubicBezTo>
                  <a:cubicBezTo>
                    <a:pt x="662" y="89"/>
                    <a:pt x="661" y="90"/>
                    <a:pt x="661" y="89"/>
                  </a:cubicBezTo>
                  <a:cubicBezTo>
                    <a:pt x="661" y="89"/>
                    <a:pt x="661" y="89"/>
                    <a:pt x="661" y="89"/>
                  </a:cubicBezTo>
                  <a:cubicBezTo>
                    <a:pt x="661" y="89"/>
                    <a:pt x="661" y="89"/>
                    <a:pt x="661" y="89"/>
                  </a:cubicBezTo>
                  <a:cubicBezTo>
                    <a:pt x="661" y="89"/>
                    <a:pt x="661" y="89"/>
                    <a:pt x="661" y="89"/>
                  </a:cubicBezTo>
                  <a:cubicBezTo>
                    <a:pt x="660" y="89"/>
                    <a:pt x="660" y="89"/>
                    <a:pt x="660" y="88"/>
                  </a:cubicBezTo>
                  <a:cubicBezTo>
                    <a:pt x="660" y="88"/>
                    <a:pt x="660" y="88"/>
                    <a:pt x="660" y="88"/>
                  </a:cubicBezTo>
                  <a:cubicBezTo>
                    <a:pt x="659" y="88"/>
                    <a:pt x="659" y="88"/>
                    <a:pt x="659" y="88"/>
                  </a:cubicBezTo>
                  <a:cubicBezTo>
                    <a:pt x="659" y="88"/>
                    <a:pt x="659" y="88"/>
                    <a:pt x="659" y="88"/>
                  </a:cubicBezTo>
                  <a:cubicBezTo>
                    <a:pt x="659" y="88"/>
                    <a:pt x="659" y="87"/>
                    <a:pt x="658" y="88"/>
                  </a:cubicBezTo>
                  <a:cubicBezTo>
                    <a:pt x="658" y="91"/>
                    <a:pt x="658" y="95"/>
                    <a:pt x="658" y="99"/>
                  </a:cubicBezTo>
                  <a:cubicBezTo>
                    <a:pt x="658" y="99"/>
                    <a:pt x="658" y="99"/>
                    <a:pt x="659" y="99"/>
                  </a:cubicBezTo>
                  <a:cubicBezTo>
                    <a:pt x="659" y="99"/>
                    <a:pt x="659" y="99"/>
                    <a:pt x="659" y="99"/>
                  </a:cubicBezTo>
                  <a:cubicBezTo>
                    <a:pt x="659" y="100"/>
                    <a:pt x="659" y="100"/>
                    <a:pt x="659" y="100"/>
                  </a:cubicBezTo>
                  <a:cubicBezTo>
                    <a:pt x="659" y="100"/>
                    <a:pt x="659" y="100"/>
                    <a:pt x="659" y="100"/>
                  </a:cubicBezTo>
                  <a:cubicBezTo>
                    <a:pt x="659" y="100"/>
                    <a:pt x="660" y="100"/>
                    <a:pt x="660" y="100"/>
                  </a:cubicBezTo>
                  <a:cubicBezTo>
                    <a:pt x="660" y="100"/>
                    <a:pt x="660" y="100"/>
                    <a:pt x="660" y="100"/>
                  </a:cubicBezTo>
                  <a:cubicBezTo>
                    <a:pt x="660" y="100"/>
                    <a:pt x="661" y="100"/>
                    <a:pt x="661" y="100"/>
                  </a:cubicBezTo>
                  <a:cubicBezTo>
                    <a:pt x="661" y="100"/>
                    <a:pt x="661" y="100"/>
                    <a:pt x="661" y="100"/>
                  </a:cubicBezTo>
                  <a:cubicBezTo>
                    <a:pt x="661" y="101"/>
                    <a:pt x="661" y="101"/>
                    <a:pt x="661" y="101"/>
                  </a:cubicBezTo>
                  <a:cubicBezTo>
                    <a:pt x="661" y="101"/>
                    <a:pt x="662" y="101"/>
                    <a:pt x="662" y="101"/>
                  </a:cubicBezTo>
                  <a:cubicBezTo>
                    <a:pt x="662" y="101"/>
                    <a:pt x="662" y="101"/>
                    <a:pt x="662" y="101"/>
                  </a:cubicBezTo>
                  <a:cubicBezTo>
                    <a:pt x="662" y="101"/>
                    <a:pt x="662" y="101"/>
                    <a:pt x="662" y="101"/>
                  </a:cubicBezTo>
                  <a:cubicBezTo>
                    <a:pt x="663" y="101"/>
                    <a:pt x="663" y="101"/>
                    <a:pt x="663" y="101"/>
                  </a:cubicBezTo>
                  <a:cubicBezTo>
                    <a:pt x="663" y="101"/>
                    <a:pt x="663" y="101"/>
                    <a:pt x="663" y="101"/>
                  </a:cubicBezTo>
                  <a:cubicBezTo>
                    <a:pt x="663" y="101"/>
                    <a:pt x="663" y="101"/>
                    <a:pt x="663" y="101"/>
                  </a:cubicBezTo>
                  <a:cubicBezTo>
                    <a:pt x="663" y="101"/>
                    <a:pt x="663" y="101"/>
                    <a:pt x="663" y="101"/>
                  </a:cubicBezTo>
                  <a:cubicBezTo>
                    <a:pt x="664" y="102"/>
                    <a:pt x="664" y="102"/>
                    <a:pt x="665" y="102"/>
                  </a:cubicBezTo>
                  <a:cubicBezTo>
                    <a:pt x="665" y="102"/>
                    <a:pt x="665" y="102"/>
                    <a:pt x="665" y="102"/>
                  </a:cubicBezTo>
                  <a:cubicBezTo>
                    <a:pt x="665" y="102"/>
                    <a:pt x="665" y="102"/>
                    <a:pt x="665" y="102"/>
                  </a:cubicBezTo>
                  <a:cubicBezTo>
                    <a:pt x="665" y="102"/>
                    <a:pt x="666" y="102"/>
                    <a:pt x="666" y="102"/>
                  </a:cubicBezTo>
                  <a:cubicBezTo>
                    <a:pt x="666" y="102"/>
                    <a:pt x="666" y="102"/>
                    <a:pt x="666" y="102"/>
                  </a:cubicBezTo>
                  <a:cubicBezTo>
                    <a:pt x="666" y="102"/>
                    <a:pt x="666" y="102"/>
                    <a:pt x="666" y="102"/>
                  </a:cubicBezTo>
                  <a:cubicBezTo>
                    <a:pt x="667" y="102"/>
                    <a:pt x="667" y="102"/>
                    <a:pt x="667" y="103"/>
                  </a:cubicBezTo>
                  <a:cubicBezTo>
                    <a:pt x="668" y="102"/>
                    <a:pt x="668" y="102"/>
                    <a:pt x="668" y="102"/>
                  </a:cubicBezTo>
                  <a:cubicBezTo>
                    <a:pt x="668" y="103"/>
                    <a:pt x="668" y="103"/>
                    <a:pt x="668" y="103"/>
                  </a:cubicBezTo>
                  <a:cubicBezTo>
                    <a:pt x="668" y="103"/>
                    <a:pt x="669" y="103"/>
                    <a:pt x="669" y="103"/>
                  </a:cubicBezTo>
                  <a:cubicBezTo>
                    <a:pt x="670" y="103"/>
                    <a:pt x="670" y="103"/>
                    <a:pt x="670" y="103"/>
                  </a:cubicBezTo>
                  <a:cubicBezTo>
                    <a:pt x="671" y="103"/>
                    <a:pt x="672" y="103"/>
                    <a:pt x="673" y="103"/>
                  </a:cubicBezTo>
                  <a:cubicBezTo>
                    <a:pt x="674" y="103"/>
                    <a:pt x="675" y="103"/>
                    <a:pt x="676" y="103"/>
                  </a:cubicBezTo>
                  <a:cubicBezTo>
                    <a:pt x="678" y="103"/>
                    <a:pt x="679" y="103"/>
                    <a:pt x="680" y="103"/>
                  </a:cubicBezTo>
                  <a:cubicBezTo>
                    <a:pt x="680" y="103"/>
                    <a:pt x="680" y="103"/>
                    <a:pt x="681" y="103"/>
                  </a:cubicBezTo>
                  <a:cubicBezTo>
                    <a:pt x="681" y="103"/>
                    <a:pt x="682" y="103"/>
                    <a:pt x="682" y="103"/>
                  </a:cubicBezTo>
                  <a:cubicBezTo>
                    <a:pt x="682" y="102"/>
                    <a:pt x="682" y="102"/>
                    <a:pt x="682" y="102"/>
                  </a:cubicBezTo>
                  <a:cubicBezTo>
                    <a:pt x="683" y="103"/>
                    <a:pt x="683" y="103"/>
                    <a:pt x="683" y="103"/>
                  </a:cubicBezTo>
                  <a:cubicBezTo>
                    <a:pt x="683" y="102"/>
                    <a:pt x="684" y="103"/>
                    <a:pt x="684" y="102"/>
                  </a:cubicBezTo>
                  <a:cubicBezTo>
                    <a:pt x="684" y="102"/>
                    <a:pt x="684" y="102"/>
                    <a:pt x="684" y="102"/>
                  </a:cubicBezTo>
                  <a:cubicBezTo>
                    <a:pt x="684" y="102"/>
                    <a:pt x="685" y="102"/>
                    <a:pt x="685" y="102"/>
                  </a:cubicBezTo>
                  <a:cubicBezTo>
                    <a:pt x="685" y="102"/>
                    <a:pt x="685" y="102"/>
                    <a:pt x="685" y="102"/>
                  </a:cubicBezTo>
                  <a:cubicBezTo>
                    <a:pt x="685" y="102"/>
                    <a:pt x="685" y="102"/>
                    <a:pt x="685" y="102"/>
                  </a:cubicBezTo>
                  <a:cubicBezTo>
                    <a:pt x="686" y="102"/>
                    <a:pt x="686" y="102"/>
                    <a:pt x="686" y="102"/>
                  </a:cubicBezTo>
                  <a:cubicBezTo>
                    <a:pt x="686" y="101"/>
                    <a:pt x="686" y="101"/>
                    <a:pt x="686" y="101"/>
                  </a:cubicBezTo>
                  <a:cubicBezTo>
                    <a:pt x="686" y="101"/>
                    <a:pt x="686" y="101"/>
                    <a:pt x="686" y="101"/>
                  </a:cubicBezTo>
                  <a:cubicBezTo>
                    <a:pt x="687" y="101"/>
                    <a:pt x="687" y="101"/>
                    <a:pt x="687" y="101"/>
                  </a:cubicBezTo>
                  <a:cubicBezTo>
                    <a:pt x="687" y="101"/>
                    <a:pt x="687" y="101"/>
                    <a:pt x="687" y="101"/>
                  </a:cubicBezTo>
                  <a:cubicBezTo>
                    <a:pt x="687" y="101"/>
                    <a:pt x="688" y="101"/>
                    <a:pt x="688" y="101"/>
                  </a:cubicBezTo>
                  <a:cubicBezTo>
                    <a:pt x="688" y="101"/>
                    <a:pt x="688" y="101"/>
                    <a:pt x="688" y="101"/>
                  </a:cubicBezTo>
                  <a:cubicBezTo>
                    <a:pt x="688" y="101"/>
                    <a:pt x="688" y="101"/>
                    <a:pt x="688" y="101"/>
                  </a:cubicBezTo>
                  <a:cubicBezTo>
                    <a:pt x="688" y="101"/>
                    <a:pt x="689" y="101"/>
                    <a:pt x="689" y="100"/>
                  </a:cubicBezTo>
                  <a:cubicBezTo>
                    <a:pt x="689" y="100"/>
                    <a:pt x="689" y="100"/>
                    <a:pt x="689" y="100"/>
                  </a:cubicBezTo>
                  <a:cubicBezTo>
                    <a:pt x="689" y="100"/>
                    <a:pt x="689" y="100"/>
                    <a:pt x="690" y="100"/>
                  </a:cubicBezTo>
                  <a:cubicBezTo>
                    <a:pt x="689" y="100"/>
                    <a:pt x="689" y="100"/>
                    <a:pt x="689" y="100"/>
                  </a:cubicBezTo>
                  <a:cubicBezTo>
                    <a:pt x="690" y="100"/>
                    <a:pt x="690" y="100"/>
                    <a:pt x="690" y="100"/>
                  </a:cubicBezTo>
                  <a:cubicBezTo>
                    <a:pt x="690" y="100"/>
                    <a:pt x="690" y="100"/>
                    <a:pt x="690" y="100"/>
                  </a:cubicBezTo>
                  <a:cubicBezTo>
                    <a:pt x="690" y="100"/>
                    <a:pt x="690" y="100"/>
                    <a:pt x="690" y="100"/>
                  </a:cubicBezTo>
                  <a:cubicBezTo>
                    <a:pt x="690" y="100"/>
                    <a:pt x="690" y="100"/>
                    <a:pt x="691" y="99"/>
                  </a:cubicBezTo>
                  <a:cubicBezTo>
                    <a:pt x="691" y="99"/>
                    <a:pt x="691" y="99"/>
                    <a:pt x="691" y="99"/>
                  </a:cubicBezTo>
                  <a:cubicBezTo>
                    <a:pt x="691" y="99"/>
                    <a:pt x="691" y="99"/>
                    <a:pt x="691" y="99"/>
                  </a:cubicBezTo>
                  <a:cubicBezTo>
                    <a:pt x="691" y="99"/>
                    <a:pt x="691" y="99"/>
                    <a:pt x="691" y="99"/>
                  </a:cubicBezTo>
                  <a:cubicBezTo>
                    <a:pt x="691" y="99"/>
                    <a:pt x="692" y="99"/>
                    <a:pt x="692" y="99"/>
                  </a:cubicBezTo>
                  <a:cubicBezTo>
                    <a:pt x="692" y="99"/>
                    <a:pt x="692" y="99"/>
                    <a:pt x="692" y="99"/>
                  </a:cubicBezTo>
                  <a:cubicBezTo>
                    <a:pt x="692" y="99"/>
                    <a:pt x="692" y="99"/>
                    <a:pt x="692" y="98"/>
                  </a:cubicBezTo>
                  <a:cubicBezTo>
                    <a:pt x="692" y="98"/>
                    <a:pt x="692" y="98"/>
                    <a:pt x="692" y="98"/>
                  </a:cubicBezTo>
                  <a:cubicBezTo>
                    <a:pt x="692" y="98"/>
                    <a:pt x="693" y="98"/>
                    <a:pt x="693" y="98"/>
                  </a:cubicBezTo>
                  <a:cubicBezTo>
                    <a:pt x="693" y="98"/>
                    <a:pt x="693" y="98"/>
                    <a:pt x="693" y="98"/>
                  </a:cubicBezTo>
                  <a:cubicBezTo>
                    <a:pt x="693" y="98"/>
                    <a:pt x="693" y="98"/>
                    <a:pt x="693" y="98"/>
                  </a:cubicBezTo>
                  <a:cubicBezTo>
                    <a:pt x="693" y="98"/>
                    <a:pt x="693" y="98"/>
                    <a:pt x="693" y="98"/>
                  </a:cubicBezTo>
                  <a:cubicBezTo>
                    <a:pt x="693" y="97"/>
                    <a:pt x="694" y="97"/>
                    <a:pt x="694" y="97"/>
                  </a:cubicBezTo>
                  <a:cubicBezTo>
                    <a:pt x="694" y="97"/>
                    <a:pt x="694" y="97"/>
                    <a:pt x="694" y="97"/>
                  </a:cubicBezTo>
                  <a:cubicBezTo>
                    <a:pt x="695" y="97"/>
                    <a:pt x="695" y="96"/>
                    <a:pt x="695" y="96"/>
                  </a:cubicBezTo>
                  <a:cubicBezTo>
                    <a:pt x="695" y="96"/>
                    <a:pt x="695" y="96"/>
                    <a:pt x="695" y="96"/>
                  </a:cubicBezTo>
                  <a:cubicBezTo>
                    <a:pt x="695" y="96"/>
                    <a:pt x="695" y="96"/>
                    <a:pt x="695" y="96"/>
                  </a:cubicBezTo>
                  <a:cubicBezTo>
                    <a:pt x="695" y="96"/>
                    <a:pt x="695" y="96"/>
                    <a:pt x="695" y="96"/>
                  </a:cubicBezTo>
                  <a:cubicBezTo>
                    <a:pt x="695" y="96"/>
                    <a:pt x="695" y="95"/>
                    <a:pt x="696" y="95"/>
                  </a:cubicBezTo>
                  <a:cubicBezTo>
                    <a:pt x="696" y="95"/>
                    <a:pt x="696" y="95"/>
                    <a:pt x="696" y="95"/>
                  </a:cubicBezTo>
                  <a:cubicBezTo>
                    <a:pt x="696" y="95"/>
                    <a:pt x="696" y="95"/>
                    <a:pt x="696" y="95"/>
                  </a:cubicBezTo>
                  <a:cubicBezTo>
                    <a:pt x="696" y="95"/>
                    <a:pt x="696" y="95"/>
                    <a:pt x="696" y="95"/>
                  </a:cubicBezTo>
                  <a:cubicBezTo>
                    <a:pt x="696" y="94"/>
                    <a:pt x="696" y="94"/>
                    <a:pt x="696" y="94"/>
                  </a:cubicBezTo>
                  <a:cubicBezTo>
                    <a:pt x="696" y="94"/>
                    <a:pt x="696" y="94"/>
                    <a:pt x="696" y="94"/>
                  </a:cubicBezTo>
                  <a:cubicBezTo>
                    <a:pt x="697" y="94"/>
                    <a:pt x="697" y="94"/>
                    <a:pt x="697" y="94"/>
                  </a:cubicBezTo>
                  <a:cubicBezTo>
                    <a:pt x="697" y="94"/>
                    <a:pt x="697" y="94"/>
                    <a:pt x="697" y="94"/>
                  </a:cubicBezTo>
                  <a:cubicBezTo>
                    <a:pt x="697" y="93"/>
                    <a:pt x="697" y="93"/>
                    <a:pt x="697" y="93"/>
                  </a:cubicBezTo>
                  <a:cubicBezTo>
                    <a:pt x="697" y="93"/>
                    <a:pt x="697" y="93"/>
                    <a:pt x="697" y="93"/>
                  </a:cubicBezTo>
                  <a:cubicBezTo>
                    <a:pt x="697" y="93"/>
                    <a:pt x="697" y="93"/>
                    <a:pt x="698" y="92"/>
                  </a:cubicBezTo>
                  <a:cubicBezTo>
                    <a:pt x="698" y="92"/>
                    <a:pt x="698" y="92"/>
                    <a:pt x="698" y="92"/>
                  </a:cubicBezTo>
                  <a:cubicBezTo>
                    <a:pt x="698" y="92"/>
                    <a:pt x="698" y="92"/>
                    <a:pt x="698" y="92"/>
                  </a:cubicBezTo>
                  <a:cubicBezTo>
                    <a:pt x="698" y="92"/>
                    <a:pt x="698" y="92"/>
                    <a:pt x="698" y="92"/>
                  </a:cubicBezTo>
                  <a:cubicBezTo>
                    <a:pt x="698" y="92"/>
                    <a:pt x="698" y="91"/>
                    <a:pt x="698" y="91"/>
                  </a:cubicBezTo>
                  <a:cubicBezTo>
                    <a:pt x="698" y="91"/>
                    <a:pt x="698" y="91"/>
                    <a:pt x="698" y="91"/>
                  </a:cubicBezTo>
                  <a:cubicBezTo>
                    <a:pt x="698" y="91"/>
                    <a:pt x="698" y="91"/>
                    <a:pt x="699" y="90"/>
                  </a:cubicBezTo>
                  <a:cubicBezTo>
                    <a:pt x="699" y="90"/>
                    <a:pt x="699" y="90"/>
                    <a:pt x="699" y="90"/>
                  </a:cubicBezTo>
                  <a:cubicBezTo>
                    <a:pt x="699" y="90"/>
                    <a:pt x="699" y="90"/>
                    <a:pt x="699" y="90"/>
                  </a:cubicBezTo>
                  <a:cubicBezTo>
                    <a:pt x="699" y="90"/>
                    <a:pt x="699" y="89"/>
                    <a:pt x="699" y="89"/>
                  </a:cubicBezTo>
                  <a:cubicBezTo>
                    <a:pt x="699" y="89"/>
                    <a:pt x="699" y="89"/>
                    <a:pt x="699" y="89"/>
                  </a:cubicBezTo>
                  <a:cubicBezTo>
                    <a:pt x="699" y="89"/>
                    <a:pt x="699" y="88"/>
                    <a:pt x="699" y="88"/>
                  </a:cubicBezTo>
                  <a:cubicBezTo>
                    <a:pt x="699" y="88"/>
                    <a:pt x="699" y="88"/>
                    <a:pt x="699" y="88"/>
                  </a:cubicBezTo>
                  <a:cubicBezTo>
                    <a:pt x="700" y="87"/>
                    <a:pt x="699" y="86"/>
                    <a:pt x="700" y="86"/>
                  </a:cubicBezTo>
                  <a:cubicBezTo>
                    <a:pt x="700" y="85"/>
                    <a:pt x="700" y="85"/>
                    <a:pt x="700" y="85"/>
                  </a:cubicBezTo>
                  <a:cubicBezTo>
                    <a:pt x="700" y="84"/>
                    <a:pt x="700" y="83"/>
                    <a:pt x="700" y="82"/>
                  </a:cubicBezTo>
                  <a:cubicBezTo>
                    <a:pt x="700" y="82"/>
                    <a:pt x="699" y="81"/>
                    <a:pt x="700" y="81"/>
                  </a:cubicBezTo>
                  <a:cubicBezTo>
                    <a:pt x="699" y="81"/>
                    <a:pt x="700" y="80"/>
                    <a:pt x="699" y="79"/>
                  </a:cubicBezTo>
                  <a:cubicBezTo>
                    <a:pt x="699" y="79"/>
                    <a:pt x="699" y="79"/>
                    <a:pt x="699" y="79"/>
                  </a:cubicBezTo>
                  <a:cubicBezTo>
                    <a:pt x="699" y="79"/>
                    <a:pt x="699" y="79"/>
                    <a:pt x="699" y="79"/>
                  </a:cubicBezTo>
                  <a:cubicBezTo>
                    <a:pt x="699" y="79"/>
                    <a:pt x="699" y="78"/>
                    <a:pt x="699" y="78"/>
                  </a:cubicBezTo>
                  <a:cubicBezTo>
                    <a:pt x="699" y="78"/>
                    <a:pt x="699" y="78"/>
                    <a:pt x="699" y="78"/>
                  </a:cubicBezTo>
                  <a:cubicBezTo>
                    <a:pt x="699" y="78"/>
                    <a:pt x="699" y="77"/>
                    <a:pt x="699" y="77"/>
                  </a:cubicBezTo>
                  <a:cubicBezTo>
                    <a:pt x="699" y="77"/>
                    <a:pt x="699" y="77"/>
                    <a:pt x="699" y="77"/>
                  </a:cubicBezTo>
                  <a:cubicBezTo>
                    <a:pt x="698" y="77"/>
                    <a:pt x="698" y="76"/>
                    <a:pt x="698" y="76"/>
                  </a:cubicBezTo>
                  <a:cubicBezTo>
                    <a:pt x="698" y="76"/>
                    <a:pt x="698" y="76"/>
                    <a:pt x="698" y="76"/>
                  </a:cubicBezTo>
                  <a:cubicBezTo>
                    <a:pt x="698" y="76"/>
                    <a:pt x="698" y="76"/>
                    <a:pt x="698" y="76"/>
                  </a:cubicBezTo>
                  <a:cubicBezTo>
                    <a:pt x="698" y="76"/>
                    <a:pt x="698" y="76"/>
                    <a:pt x="698" y="75"/>
                  </a:cubicBezTo>
                  <a:cubicBezTo>
                    <a:pt x="698" y="75"/>
                    <a:pt x="698" y="75"/>
                    <a:pt x="698" y="75"/>
                  </a:cubicBezTo>
                  <a:cubicBezTo>
                    <a:pt x="698" y="75"/>
                    <a:pt x="698" y="75"/>
                    <a:pt x="698" y="75"/>
                  </a:cubicBezTo>
                  <a:cubicBezTo>
                    <a:pt x="698" y="75"/>
                    <a:pt x="698" y="75"/>
                    <a:pt x="698" y="75"/>
                  </a:cubicBezTo>
                  <a:cubicBezTo>
                    <a:pt x="698" y="75"/>
                    <a:pt x="698" y="75"/>
                    <a:pt x="698" y="75"/>
                  </a:cubicBezTo>
                  <a:cubicBezTo>
                    <a:pt x="697" y="75"/>
                    <a:pt x="697" y="74"/>
                    <a:pt x="697" y="74"/>
                  </a:cubicBezTo>
                  <a:cubicBezTo>
                    <a:pt x="697" y="74"/>
                    <a:pt x="697" y="74"/>
                    <a:pt x="697" y="74"/>
                  </a:cubicBezTo>
                  <a:cubicBezTo>
                    <a:pt x="697" y="74"/>
                    <a:pt x="697" y="73"/>
                    <a:pt x="697" y="73"/>
                  </a:cubicBezTo>
                  <a:cubicBezTo>
                    <a:pt x="697" y="73"/>
                    <a:pt x="697" y="73"/>
                    <a:pt x="697" y="73"/>
                  </a:cubicBezTo>
                  <a:cubicBezTo>
                    <a:pt x="697" y="73"/>
                    <a:pt x="697" y="73"/>
                    <a:pt x="696" y="73"/>
                  </a:cubicBezTo>
                  <a:cubicBezTo>
                    <a:pt x="696" y="73"/>
                    <a:pt x="696" y="73"/>
                    <a:pt x="696" y="73"/>
                  </a:cubicBezTo>
                  <a:cubicBezTo>
                    <a:pt x="696" y="73"/>
                    <a:pt x="696" y="73"/>
                    <a:pt x="696" y="73"/>
                  </a:cubicBezTo>
                  <a:cubicBezTo>
                    <a:pt x="696" y="73"/>
                    <a:pt x="696" y="73"/>
                    <a:pt x="696" y="73"/>
                  </a:cubicBezTo>
                  <a:cubicBezTo>
                    <a:pt x="695" y="72"/>
                    <a:pt x="695" y="71"/>
                    <a:pt x="694" y="70"/>
                  </a:cubicBezTo>
                  <a:cubicBezTo>
                    <a:pt x="694" y="70"/>
                    <a:pt x="694" y="70"/>
                    <a:pt x="694" y="70"/>
                  </a:cubicBezTo>
                  <a:cubicBezTo>
                    <a:pt x="694" y="70"/>
                    <a:pt x="693" y="70"/>
                    <a:pt x="693" y="70"/>
                  </a:cubicBezTo>
                  <a:cubicBezTo>
                    <a:pt x="693" y="70"/>
                    <a:pt x="693" y="70"/>
                    <a:pt x="693" y="70"/>
                  </a:cubicBezTo>
                  <a:cubicBezTo>
                    <a:pt x="693" y="70"/>
                    <a:pt x="693" y="70"/>
                    <a:pt x="693" y="70"/>
                  </a:cubicBezTo>
                  <a:cubicBezTo>
                    <a:pt x="693" y="70"/>
                    <a:pt x="693" y="70"/>
                    <a:pt x="693" y="70"/>
                  </a:cubicBezTo>
                  <a:cubicBezTo>
                    <a:pt x="693" y="69"/>
                    <a:pt x="692" y="69"/>
                    <a:pt x="692" y="69"/>
                  </a:cubicBezTo>
                  <a:cubicBezTo>
                    <a:pt x="692" y="69"/>
                    <a:pt x="692" y="69"/>
                    <a:pt x="692" y="69"/>
                  </a:cubicBezTo>
                  <a:cubicBezTo>
                    <a:pt x="692" y="69"/>
                    <a:pt x="692" y="69"/>
                    <a:pt x="692" y="69"/>
                  </a:cubicBezTo>
                  <a:cubicBezTo>
                    <a:pt x="692" y="69"/>
                    <a:pt x="692" y="69"/>
                    <a:pt x="692" y="69"/>
                  </a:cubicBezTo>
                  <a:cubicBezTo>
                    <a:pt x="691" y="68"/>
                    <a:pt x="691" y="68"/>
                    <a:pt x="691" y="68"/>
                  </a:cubicBezTo>
                  <a:cubicBezTo>
                    <a:pt x="691" y="68"/>
                    <a:pt x="691" y="68"/>
                    <a:pt x="691" y="68"/>
                  </a:cubicBezTo>
                  <a:cubicBezTo>
                    <a:pt x="691" y="68"/>
                    <a:pt x="691" y="68"/>
                    <a:pt x="690" y="68"/>
                  </a:cubicBezTo>
                  <a:cubicBezTo>
                    <a:pt x="691" y="68"/>
                    <a:pt x="691" y="68"/>
                    <a:pt x="691" y="68"/>
                  </a:cubicBezTo>
                  <a:cubicBezTo>
                    <a:pt x="690" y="68"/>
                    <a:pt x="690" y="68"/>
                    <a:pt x="690" y="67"/>
                  </a:cubicBezTo>
                  <a:cubicBezTo>
                    <a:pt x="690" y="67"/>
                    <a:pt x="690" y="67"/>
                    <a:pt x="690" y="67"/>
                  </a:cubicBezTo>
                  <a:cubicBezTo>
                    <a:pt x="690" y="67"/>
                    <a:pt x="689" y="67"/>
                    <a:pt x="689" y="67"/>
                  </a:cubicBezTo>
                  <a:cubicBezTo>
                    <a:pt x="689" y="67"/>
                    <a:pt x="689" y="67"/>
                    <a:pt x="689" y="67"/>
                  </a:cubicBezTo>
                  <a:cubicBezTo>
                    <a:pt x="689" y="67"/>
                    <a:pt x="689" y="67"/>
                    <a:pt x="689" y="67"/>
                  </a:cubicBezTo>
                  <a:cubicBezTo>
                    <a:pt x="689" y="67"/>
                    <a:pt x="689" y="67"/>
                    <a:pt x="689" y="67"/>
                  </a:cubicBezTo>
                  <a:cubicBezTo>
                    <a:pt x="689" y="66"/>
                    <a:pt x="688" y="67"/>
                    <a:pt x="688" y="66"/>
                  </a:cubicBezTo>
                  <a:cubicBezTo>
                    <a:pt x="688" y="66"/>
                    <a:pt x="688" y="66"/>
                    <a:pt x="688" y="66"/>
                  </a:cubicBezTo>
                  <a:cubicBezTo>
                    <a:pt x="688" y="66"/>
                    <a:pt x="688" y="66"/>
                    <a:pt x="687" y="66"/>
                  </a:cubicBezTo>
                  <a:cubicBezTo>
                    <a:pt x="687" y="66"/>
                    <a:pt x="687" y="66"/>
                    <a:pt x="687" y="66"/>
                  </a:cubicBezTo>
                  <a:cubicBezTo>
                    <a:pt x="687" y="66"/>
                    <a:pt x="687" y="66"/>
                    <a:pt x="687" y="66"/>
                  </a:cubicBezTo>
                  <a:cubicBezTo>
                    <a:pt x="687" y="66"/>
                    <a:pt x="687" y="66"/>
                    <a:pt x="687" y="66"/>
                  </a:cubicBezTo>
                  <a:cubicBezTo>
                    <a:pt x="687" y="65"/>
                    <a:pt x="686" y="66"/>
                    <a:pt x="686" y="65"/>
                  </a:cubicBezTo>
                  <a:cubicBezTo>
                    <a:pt x="686" y="65"/>
                    <a:pt x="686" y="65"/>
                    <a:pt x="686" y="65"/>
                  </a:cubicBezTo>
                  <a:cubicBezTo>
                    <a:pt x="686" y="65"/>
                    <a:pt x="686" y="65"/>
                    <a:pt x="685" y="65"/>
                  </a:cubicBezTo>
                  <a:cubicBezTo>
                    <a:pt x="685" y="65"/>
                    <a:pt x="685" y="65"/>
                    <a:pt x="685" y="65"/>
                  </a:cubicBezTo>
                  <a:cubicBezTo>
                    <a:pt x="685" y="65"/>
                    <a:pt x="685" y="65"/>
                    <a:pt x="685" y="65"/>
                  </a:cubicBezTo>
                  <a:cubicBezTo>
                    <a:pt x="685" y="65"/>
                    <a:pt x="685" y="65"/>
                    <a:pt x="685" y="65"/>
                  </a:cubicBezTo>
                  <a:cubicBezTo>
                    <a:pt x="684" y="64"/>
                    <a:pt x="684" y="64"/>
                    <a:pt x="684" y="64"/>
                  </a:cubicBezTo>
                  <a:cubicBezTo>
                    <a:pt x="684" y="64"/>
                    <a:pt x="684" y="64"/>
                    <a:pt x="684" y="64"/>
                  </a:cubicBezTo>
                  <a:cubicBezTo>
                    <a:pt x="684" y="64"/>
                    <a:pt x="683" y="64"/>
                    <a:pt x="683" y="64"/>
                  </a:cubicBezTo>
                  <a:cubicBezTo>
                    <a:pt x="683" y="64"/>
                    <a:pt x="683" y="64"/>
                    <a:pt x="683" y="64"/>
                  </a:cubicBezTo>
                  <a:cubicBezTo>
                    <a:pt x="683" y="64"/>
                    <a:pt x="683" y="64"/>
                    <a:pt x="683" y="64"/>
                  </a:cubicBezTo>
                  <a:cubicBezTo>
                    <a:pt x="683" y="64"/>
                    <a:pt x="682" y="64"/>
                    <a:pt x="682" y="64"/>
                  </a:cubicBezTo>
                  <a:cubicBezTo>
                    <a:pt x="682" y="64"/>
                    <a:pt x="682" y="64"/>
                    <a:pt x="682" y="64"/>
                  </a:cubicBezTo>
                  <a:cubicBezTo>
                    <a:pt x="682" y="63"/>
                    <a:pt x="682" y="63"/>
                    <a:pt x="681" y="63"/>
                  </a:cubicBezTo>
                  <a:cubicBezTo>
                    <a:pt x="682" y="63"/>
                    <a:pt x="682" y="63"/>
                    <a:pt x="682" y="63"/>
                  </a:cubicBezTo>
                  <a:cubicBezTo>
                    <a:pt x="681" y="63"/>
                    <a:pt x="681" y="63"/>
                    <a:pt x="681" y="63"/>
                  </a:cubicBezTo>
                  <a:cubicBezTo>
                    <a:pt x="681" y="63"/>
                    <a:pt x="681" y="63"/>
                    <a:pt x="681" y="63"/>
                  </a:cubicBezTo>
                  <a:cubicBezTo>
                    <a:pt x="680" y="63"/>
                    <a:pt x="680" y="63"/>
                    <a:pt x="680" y="63"/>
                  </a:cubicBezTo>
                  <a:cubicBezTo>
                    <a:pt x="680" y="63"/>
                    <a:pt x="680" y="63"/>
                    <a:pt x="680" y="63"/>
                  </a:cubicBezTo>
                  <a:close/>
                  <a:moveTo>
                    <a:pt x="310" y="98"/>
                  </a:moveTo>
                  <a:cubicBezTo>
                    <a:pt x="310" y="99"/>
                    <a:pt x="311" y="99"/>
                    <a:pt x="312" y="100"/>
                  </a:cubicBezTo>
                  <a:cubicBezTo>
                    <a:pt x="316" y="102"/>
                    <a:pt x="321" y="103"/>
                    <a:pt x="326" y="103"/>
                  </a:cubicBezTo>
                  <a:cubicBezTo>
                    <a:pt x="330" y="103"/>
                    <a:pt x="335" y="103"/>
                    <a:pt x="339" y="101"/>
                  </a:cubicBezTo>
                  <a:cubicBezTo>
                    <a:pt x="346" y="98"/>
                    <a:pt x="351" y="93"/>
                    <a:pt x="351" y="84"/>
                  </a:cubicBezTo>
                  <a:cubicBezTo>
                    <a:pt x="352" y="78"/>
                    <a:pt x="350" y="73"/>
                    <a:pt x="345" y="69"/>
                  </a:cubicBezTo>
                  <a:cubicBezTo>
                    <a:pt x="342" y="68"/>
                    <a:pt x="339" y="66"/>
                    <a:pt x="337" y="65"/>
                  </a:cubicBezTo>
                  <a:cubicBezTo>
                    <a:pt x="335" y="64"/>
                    <a:pt x="333" y="63"/>
                    <a:pt x="331" y="62"/>
                  </a:cubicBezTo>
                  <a:cubicBezTo>
                    <a:pt x="328" y="61"/>
                    <a:pt x="326" y="60"/>
                    <a:pt x="325" y="59"/>
                  </a:cubicBezTo>
                  <a:cubicBezTo>
                    <a:pt x="321" y="56"/>
                    <a:pt x="320" y="49"/>
                    <a:pt x="324" y="45"/>
                  </a:cubicBezTo>
                  <a:cubicBezTo>
                    <a:pt x="326" y="43"/>
                    <a:pt x="328" y="42"/>
                    <a:pt x="331" y="42"/>
                  </a:cubicBezTo>
                  <a:cubicBezTo>
                    <a:pt x="337" y="42"/>
                    <a:pt x="342" y="43"/>
                    <a:pt x="347" y="46"/>
                  </a:cubicBezTo>
                  <a:cubicBezTo>
                    <a:pt x="347" y="46"/>
                    <a:pt x="348" y="46"/>
                    <a:pt x="348" y="46"/>
                  </a:cubicBezTo>
                  <a:cubicBezTo>
                    <a:pt x="348" y="43"/>
                    <a:pt x="348" y="41"/>
                    <a:pt x="348" y="38"/>
                  </a:cubicBezTo>
                  <a:cubicBezTo>
                    <a:pt x="348" y="36"/>
                    <a:pt x="348" y="36"/>
                    <a:pt x="347" y="35"/>
                  </a:cubicBezTo>
                  <a:cubicBezTo>
                    <a:pt x="341" y="33"/>
                    <a:pt x="335" y="32"/>
                    <a:pt x="329" y="33"/>
                  </a:cubicBezTo>
                  <a:cubicBezTo>
                    <a:pt x="324" y="34"/>
                    <a:pt x="319" y="36"/>
                    <a:pt x="316" y="39"/>
                  </a:cubicBezTo>
                  <a:cubicBezTo>
                    <a:pt x="312" y="43"/>
                    <a:pt x="310" y="48"/>
                    <a:pt x="310" y="53"/>
                  </a:cubicBezTo>
                  <a:cubicBezTo>
                    <a:pt x="310" y="60"/>
                    <a:pt x="313" y="64"/>
                    <a:pt x="319" y="68"/>
                  </a:cubicBezTo>
                  <a:cubicBezTo>
                    <a:pt x="320" y="69"/>
                    <a:pt x="322" y="70"/>
                    <a:pt x="324" y="71"/>
                  </a:cubicBezTo>
                  <a:cubicBezTo>
                    <a:pt x="326" y="72"/>
                    <a:pt x="329" y="73"/>
                    <a:pt x="332" y="74"/>
                  </a:cubicBezTo>
                  <a:cubicBezTo>
                    <a:pt x="333" y="75"/>
                    <a:pt x="335" y="76"/>
                    <a:pt x="337" y="78"/>
                  </a:cubicBezTo>
                  <a:cubicBezTo>
                    <a:pt x="338" y="79"/>
                    <a:pt x="340" y="80"/>
                    <a:pt x="340" y="82"/>
                  </a:cubicBezTo>
                  <a:cubicBezTo>
                    <a:pt x="341" y="87"/>
                    <a:pt x="340" y="92"/>
                    <a:pt x="334" y="93"/>
                  </a:cubicBezTo>
                  <a:cubicBezTo>
                    <a:pt x="329" y="94"/>
                    <a:pt x="324" y="94"/>
                    <a:pt x="319" y="93"/>
                  </a:cubicBezTo>
                  <a:cubicBezTo>
                    <a:pt x="316" y="92"/>
                    <a:pt x="313" y="90"/>
                    <a:pt x="310" y="87"/>
                  </a:cubicBezTo>
                  <a:cubicBezTo>
                    <a:pt x="310" y="91"/>
                    <a:pt x="310" y="94"/>
                    <a:pt x="310" y="98"/>
                  </a:cubicBezTo>
                  <a:close/>
                  <a:moveTo>
                    <a:pt x="1177" y="95"/>
                  </a:moveTo>
                  <a:cubicBezTo>
                    <a:pt x="1177" y="95"/>
                    <a:pt x="1177" y="95"/>
                    <a:pt x="1177" y="95"/>
                  </a:cubicBezTo>
                  <a:cubicBezTo>
                    <a:pt x="1177" y="95"/>
                    <a:pt x="1177" y="95"/>
                    <a:pt x="1177" y="96"/>
                  </a:cubicBezTo>
                  <a:cubicBezTo>
                    <a:pt x="1177" y="96"/>
                    <a:pt x="1177" y="96"/>
                    <a:pt x="1177" y="96"/>
                  </a:cubicBezTo>
                  <a:cubicBezTo>
                    <a:pt x="1177" y="96"/>
                    <a:pt x="1177" y="96"/>
                    <a:pt x="1177" y="96"/>
                  </a:cubicBezTo>
                  <a:cubicBezTo>
                    <a:pt x="1177" y="96"/>
                    <a:pt x="1177" y="96"/>
                    <a:pt x="1177" y="96"/>
                  </a:cubicBezTo>
                  <a:cubicBezTo>
                    <a:pt x="1177" y="96"/>
                    <a:pt x="1177" y="96"/>
                    <a:pt x="1178" y="97"/>
                  </a:cubicBezTo>
                  <a:cubicBezTo>
                    <a:pt x="1178" y="97"/>
                    <a:pt x="1178" y="97"/>
                    <a:pt x="1178" y="97"/>
                  </a:cubicBezTo>
                  <a:cubicBezTo>
                    <a:pt x="1178" y="97"/>
                    <a:pt x="1178" y="97"/>
                    <a:pt x="1178" y="97"/>
                  </a:cubicBezTo>
                  <a:cubicBezTo>
                    <a:pt x="1178" y="97"/>
                    <a:pt x="1178" y="97"/>
                    <a:pt x="1178" y="97"/>
                  </a:cubicBezTo>
                  <a:cubicBezTo>
                    <a:pt x="1178" y="97"/>
                    <a:pt x="1178" y="98"/>
                    <a:pt x="1178" y="98"/>
                  </a:cubicBezTo>
                  <a:cubicBezTo>
                    <a:pt x="1178" y="98"/>
                    <a:pt x="1178" y="98"/>
                    <a:pt x="1178" y="98"/>
                  </a:cubicBezTo>
                  <a:cubicBezTo>
                    <a:pt x="1178" y="98"/>
                    <a:pt x="1178" y="98"/>
                    <a:pt x="1179" y="98"/>
                  </a:cubicBezTo>
                  <a:cubicBezTo>
                    <a:pt x="1179" y="98"/>
                    <a:pt x="1179" y="98"/>
                    <a:pt x="1179" y="98"/>
                  </a:cubicBezTo>
                  <a:cubicBezTo>
                    <a:pt x="1179" y="98"/>
                    <a:pt x="1179" y="98"/>
                    <a:pt x="1179" y="98"/>
                  </a:cubicBezTo>
                  <a:cubicBezTo>
                    <a:pt x="1179" y="98"/>
                    <a:pt x="1179" y="98"/>
                    <a:pt x="1179" y="98"/>
                  </a:cubicBezTo>
                  <a:cubicBezTo>
                    <a:pt x="1179" y="98"/>
                    <a:pt x="1179" y="99"/>
                    <a:pt x="1179" y="99"/>
                  </a:cubicBezTo>
                  <a:cubicBezTo>
                    <a:pt x="1179" y="99"/>
                    <a:pt x="1179" y="99"/>
                    <a:pt x="1179" y="99"/>
                  </a:cubicBezTo>
                  <a:cubicBezTo>
                    <a:pt x="1179" y="99"/>
                    <a:pt x="1180" y="99"/>
                    <a:pt x="1180" y="99"/>
                  </a:cubicBezTo>
                  <a:cubicBezTo>
                    <a:pt x="1180" y="99"/>
                    <a:pt x="1180" y="99"/>
                    <a:pt x="1180" y="99"/>
                  </a:cubicBezTo>
                  <a:cubicBezTo>
                    <a:pt x="1180" y="99"/>
                    <a:pt x="1180" y="99"/>
                    <a:pt x="1180" y="99"/>
                  </a:cubicBezTo>
                  <a:cubicBezTo>
                    <a:pt x="1180" y="99"/>
                    <a:pt x="1180" y="99"/>
                    <a:pt x="1180" y="99"/>
                  </a:cubicBezTo>
                  <a:cubicBezTo>
                    <a:pt x="1180" y="100"/>
                    <a:pt x="1180" y="100"/>
                    <a:pt x="1180" y="100"/>
                  </a:cubicBezTo>
                  <a:cubicBezTo>
                    <a:pt x="1180" y="100"/>
                    <a:pt x="1180" y="100"/>
                    <a:pt x="1180" y="100"/>
                  </a:cubicBezTo>
                  <a:cubicBezTo>
                    <a:pt x="1180" y="100"/>
                    <a:pt x="1181" y="100"/>
                    <a:pt x="1181" y="100"/>
                  </a:cubicBezTo>
                  <a:cubicBezTo>
                    <a:pt x="1181" y="100"/>
                    <a:pt x="1181" y="100"/>
                    <a:pt x="1181" y="100"/>
                  </a:cubicBezTo>
                  <a:cubicBezTo>
                    <a:pt x="1181" y="100"/>
                    <a:pt x="1181" y="100"/>
                    <a:pt x="1181" y="100"/>
                  </a:cubicBezTo>
                  <a:cubicBezTo>
                    <a:pt x="1181" y="100"/>
                    <a:pt x="1181" y="100"/>
                    <a:pt x="1181" y="100"/>
                  </a:cubicBezTo>
                  <a:cubicBezTo>
                    <a:pt x="1182" y="101"/>
                    <a:pt x="1182" y="101"/>
                    <a:pt x="1182" y="101"/>
                  </a:cubicBezTo>
                  <a:cubicBezTo>
                    <a:pt x="1182" y="101"/>
                    <a:pt x="1182" y="101"/>
                    <a:pt x="1182" y="101"/>
                  </a:cubicBezTo>
                  <a:cubicBezTo>
                    <a:pt x="1182" y="101"/>
                    <a:pt x="1183" y="101"/>
                    <a:pt x="1183" y="101"/>
                  </a:cubicBezTo>
                  <a:cubicBezTo>
                    <a:pt x="1183" y="101"/>
                    <a:pt x="1183" y="101"/>
                    <a:pt x="1183" y="101"/>
                  </a:cubicBezTo>
                  <a:cubicBezTo>
                    <a:pt x="1183" y="101"/>
                    <a:pt x="1183" y="101"/>
                    <a:pt x="1183" y="102"/>
                  </a:cubicBezTo>
                  <a:cubicBezTo>
                    <a:pt x="1183" y="102"/>
                    <a:pt x="1183" y="102"/>
                    <a:pt x="1183" y="102"/>
                  </a:cubicBezTo>
                  <a:cubicBezTo>
                    <a:pt x="1184" y="102"/>
                    <a:pt x="1184" y="102"/>
                    <a:pt x="1184" y="102"/>
                  </a:cubicBezTo>
                  <a:cubicBezTo>
                    <a:pt x="1184" y="102"/>
                    <a:pt x="1184" y="102"/>
                    <a:pt x="1184" y="102"/>
                  </a:cubicBezTo>
                  <a:cubicBezTo>
                    <a:pt x="1184" y="102"/>
                    <a:pt x="1185" y="102"/>
                    <a:pt x="1185" y="102"/>
                  </a:cubicBezTo>
                  <a:cubicBezTo>
                    <a:pt x="1185" y="102"/>
                    <a:pt x="1185" y="102"/>
                    <a:pt x="1185" y="102"/>
                  </a:cubicBezTo>
                  <a:cubicBezTo>
                    <a:pt x="1186" y="103"/>
                    <a:pt x="1186" y="102"/>
                    <a:pt x="1186" y="103"/>
                  </a:cubicBezTo>
                  <a:cubicBezTo>
                    <a:pt x="1187" y="102"/>
                    <a:pt x="1187" y="102"/>
                    <a:pt x="1187" y="102"/>
                  </a:cubicBezTo>
                  <a:cubicBezTo>
                    <a:pt x="1187" y="103"/>
                    <a:pt x="1187" y="103"/>
                    <a:pt x="1187" y="103"/>
                  </a:cubicBezTo>
                  <a:cubicBezTo>
                    <a:pt x="1187" y="103"/>
                    <a:pt x="1188" y="103"/>
                    <a:pt x="1188" y="103"/>
                  </a:cubicBezTo>
                  <a:cubicBezTo>
                    <a:pt x="1189" y="103"/>
                    <a:pt x="1189" y="103"/>
                    <a:pt x="1189" y="103"/>
                  </a:cubicBezTo>
                  <a:cubicBezTo>
                    <a:pt x="1191" y="103"/>
                    <a:pt x="1193" y="103"/>
                    <a:pt x="1195" y="103"/>
                  </a:cubicBezTo>
                  <a:cubicBezTo>
                    <a:pt x="1196" y="103"/>
                    <a:pt x="1196" y="103"/>
                    <a:pt x="1196" y="103"/>
                  </a:cubicBezTo>
                  <a:cubicBezTo>
                    <a:pt x="1196" y="103"/>
                    <a:pt x="1197" y="103"/>
                    <a:pt x="1198" y="103"/>
                  </a:cubicBezTo>
                  <a:cubicBezTo>
                    <a:pt x="1198" y="102"/>
                    <a:pt x="1198" y="102"/>
                    <a:pt x="1198" y="102"/>
                  </a:cubicBezTo>
                  <a:cubicBezTo>
                    <a:pt x="1198" y="103"/>
                    <a:pt x="1198" y="103"/>
                    <a:pt x="1198" y="103"/>
                  </a:cubicBezTo>
                  <a:cubicBezTo>
                    <a:pt x="1198" y="102"/>
                    <a:pt x="1199" y="102"/>
                    <a:pt x="1199" y="102"/>
                  </a:cubicBezTo>
                  <a:cubicBezTo>
                    <a:pt x="1199" y="102"/>
                    <a:pt x="1199" y="102"/>
                    <a:pt x="1199" y="102"/>
                  </a:cubicBezTo>
                  <a:cubicBezTo>
                    <a:pt x="1199" y="102"/>
                    <a:pt x="1200" y="102"/>
                    <a:pt x="1200" y="102"/>
                  </a:cubicBezTo>
                  <a:cubicBezTo>
                    <a:pt x="1200" y="102"/>
                    <a:pt x="1200" y="102"/>
                    <a:pt x="1200" y="102"/>
                  </a:cubicBezTo>
                  <a:cubicBezTo>
                    <a:pt x="1200" y="102"/>
                    <a:pt x="1201" y="102"/>
                    <a:pt x="1201" y="102"/>
                  </a:cubicBezTo>
                  <a:cubicBezTo>
                    <a:pt x="1201" y="101"/>
                    <a:pt x="1201" y="101"/>
                    <a:pt x="1201" y="101"/>
                  </a:cubicBezTo>
                  <a:cubicBezTo>
                    <a:pt x="1201" y="101"/>
                    <a:pt x="1201" y="101"/>
                    <a:pt x="1201" y="101"/>
                  </a:cubicBezTo>
                  <a:cubicBezTo>
                    <a:pt x="1201" y="101"/>
                    <a:pt x="1202" y="101"/>
                    <a:pt x="1202" y="101"/>
                  </a:cubicBezTo>
                  <a:cubicBezTo>
                    <a:pt x="1202" y="101"/>
                    <a:pt x="1202" y="101"/>
                    <a:pt x="1202" y="101"/>
                  </a:cubicBezTo>
                  <a:cubicBezTo>
                    <a:pt x="1202" y="101"/>
                    <a:pt x="1202" y="101"/>
                    <a:pt x="1202" y="101"/>
                  </a:cubicBezTo>
                  <a:cubicBezTo>
                    <a:pt x="1202" y="98"/>
                    <a:pt x="1202" y="95"/>
                    <a:pt x="1202" y="92"/>
                  </a:cubicBezTo>
                  <a:cubicBezTo>
                    <a:pt x="1202" y="92"/>
                    <a:pt x="1202" y="92"/>
                    <a:pt x="1202" y="92"/>
                  </a:cubicBezTo>
                  <a:cubicBezTo>
                    <a:pt x="1202" y="92"/>
                    <a:pt x="1202" y="92"/>
                    <a:pt x="1202" y="92"/>
                  </a:cubicBezTo>
                  <a:cubicBezTo>
                    <a:pt x="1201" y="92"/>
                    <a:pt x="1201" y="92"/>
                    <a:pt x="1201" y="92"/>
                  </a:cubicBezTo>
                  <a:cubicBezTo>
                    <a:pt x="1201" y="92"/>
                    <a:pt x="1201" y="92"/>
                    <a:pt x="1201" y="92"/>
                  </a:cubicBezTo>
                  <a:cubicBezTo>
                    <a:pt x="1201" y="92"/>
                    <a:pt x="1201" y="92"/>
                    <a:pt x="1201" y="92"/>
                  </a:cubicBezTo>
                  <a:cubicBezTo>
                    <a:pt x="1201" y="92"/>
                    <a:pt x="1201" y="92"/>
                    <a:pt x="1201" y="92"/>
                  </a:cubicBezTo>
                  <a:cubicBezTo>
                    <a:pt x="1200" y="93"/>
                    <a:pt x="1200" y="93"/>
                    <a:pt x="1200" y="93"/>
                  </a:cubicBezTo>
                  <a:cubicBezTo>
                    <a:pt x="1200" y="93"/>
                    <a:pt x="1200" y="93"/>
                    <a:pt x="1200" y="93"/>
                  </a:cubicBezTo>
                  <a:cubicBezTo>
                    <a:pt x="1200" y="93"/>
                    <a:pt x="1200" y="93"/>
                    <a:pt x="1200" y="93"/>
                  </a:cubicBezTo>
                  <a:cubicBezTo>
                    <a:pt x="1199" y="93"/>
                    <a:pt x="1199" y="93"/>
                    <a:pt x="1199" y="93"/>
                  </a:cubicBezTo>
                  <a:cubicBezTo>
                    <a:pt x="1199" y="93"/>
                    <a:pt x="1199" y="93"/>
                    <a:pt x="1199" y="93"/>
                  </a:cubicBezTo>
                  <a:cubicBezTo>
                    <a:pt x="1199" y="93"/>
                    <a:pt x="1199" y="93"/>
                    <a:pt x="1199" y="93"/>
                  </a:cubicBezTo>
                  <a:cubicBezTo>
                    <a:pt x="1198" y="93"/>
                    <a:pt x="1198" y="93"/>
                    <a:pt x="1197" y="93"/>
                  </a:cubicBezTo>
                  <a:cubicBezTo>
                    <a:pt x="1197" y="94"/>
                    <a:pt x="1197" y="94"/>
                    <a:pt x="1197" y="94"/>
                  </a:cubicBezTo>
                  <a:cubicBezTo>
                    <a:pt x="1196" y="94"/>
                    <a:pt x="1195" y="94"/>
                    <a:pt x="1193" y="94"/>
                  </a:cubicBezTo>
                  <a:cubicBezTo>
                    <a:pt x="1193" y="94"/>
                    <a:pt x="1193" y="94"/>
                    <a:pt x="1193" y="94"/>
                  </a:cubicBezTo>
                  <a:cubicBezTo>
                    <a:pt x="1192" y="93"/>
                    <a:pt x="1192" y="93"/>
                    <a:pt x="1191" y="93"/>
                  </a:cubicBezTo>
                  <a:cubicBezTo>
                    <a:pt x="1191" y="93"/>
                    <a:pt x="1191" y="93"/>
                    <a:pt x="1191" y="93"/>
                  </a:cubicBezTo>
                  <a:cubicBezTo>
                    <a:pt x="1191" y="93"/>
                    <a:pt x="1191" y="93"/>
                    <a:pt x="1190" y="93"/>
                  </a:cubicBezTo>
                  <a:cubicBezTo>
                    <a:pt x="1190" y="93"/>
                    <a:pt x="1190" y="93"/>
                    <a:pt x="1190" y="93"/>
                  </a:cubicBezTo>
                  <a:cubicBezTo>
                    <a:pt x="1190" y="93"/>
                    <a:pt x="1190" y="93"/>
                    <a:pt x="1190" y="93"/>
                  </a:cubicBezTo>
                  <a:cubicBezTo>
                    <a:pt x="1190" y="93"/>
                    <a:pt x="1190" y="93"/>
                    <a:pt x="1190" y="93"/>
                  </a:cubicBezTo>
                  <a:cubicBezTo>
                    <a:pt x="1190" y="92"/>
                    <a:pt x="1189" y="92"/>
                    <a:pt x="1189" y="92"/>
                  </a:cubicBezTo>
                  <a:cubicBezTo>
                    <a:pt x="1189" y="92"/>
                    <a:pt x="1189" y="92"/>
                    <a:pt x="1189" y="92"/>
                  </a:cubicBezTo>
                  <a:cubicBezTo>
                    <a:pt x="1189" y="92"/>
                    <a:pt x="1189" y="92"/>
                    <a:pt x="1189" y="92"/>
                  </a:cubicBezTo>
                  <a:cubicBezTo>
                    <a:pt x="1189" y="92"/>
                    <a:pt x="1189" y="92"/>
                    <a:pt x="1189" y="92"/>
                  </a:cubicBezTo>
                  <a:cubicBezTo>
                    <a:pt x="1188" y="91"/>
                    <a:pt x="1188" y="91"/>
                    <a:pt x="1188" y="91"/>
                  </a:cubicBezTo>
                  <a:cubicBezTo>
                    <a:pt x="1188" y="91"/>
                    <a:pt x="1188" y="91"/>
                    <a:pt x="1188" y="91"/>
                  </a:cubicBezTo>
                  <a:cubicBezTo>
                    <a:pt x="1188" y="91"/>
                    <a:pt x="1187" y="90"/>
                    <a:pt x="1187" y="90"/>
                  </a:cubicBezTo>
                  <a:cubicBezTo>
                    <a:pt x="1187" y="90"/>
                    <a:pt x="1187" y="90"/>
                    <a:pt x="1187" y="90"/>
                  </a:cubicBezTo>
                  <a:cubicBezTo>
                    <a:pt x="1187" y="90"/>
                    <a:pt x="1187" y="90"/>
                    <a:pt x="1187" y="90"/>
                  </a:cubicBezTo>
                  <a:cubicBezTo>
                    <a:pt x="1187" y="90"/>
                    <a:pt x="1187" y="90"/>
                    <a:pt x="1187" y="90"/>
                  </a:cubicBezTo>
                  <a:cubicBezTo>
                    <a:pt x="1187" y="90"/>
                    <a:pt x="1187" y="89"/>
                    <a:pt x="1187" y="89"/>
                  </a:cubicBezTo>
                  <a:cubicBezTo>
                    <a:pt x="1187" y="89"/>
                    <a:pt x="1187" y="89"/>
                    <a:pt x="1187" y="89"/>
                  </a:cubicBezTo>
                  <a:cubicBezTo>
                    <a:pt x="1186" y="89"/>
                    <a:pt x="1186" y="89"/>
                    <a:pt x="1186" y="88"/>
                  </a:cubicBezTo>
                  <a:cubicBezTo>
                    <a:pt x="1186" y="88"/>
                    <a:pt x="1186" y="88"/>
                    <a:pt x="1186" y="88"/>
                  </a:cubicBezTo>
                  <a:cubicBezTo>
                    <a:pt x="1186" y="88"/>
                    <a:pt x="1186" y="88"/>
                    <a:pt x="1186" y="88"/>
                  </a:cubicBezTo>
                  <a:cubicBezTo>
                    <a:pt x="1186" y="88"/>
                    <a:pt x="1186" y="88"/>
                    <a:pt x="1186" y="87"/>
                  </a:cubicBezTo>
                  <a:cubicBezTo>
                    <a:pt x="1186" y="87"/>
                    <a:pt x="1186" y="87"/>
                    <a:pt x="1186" y="87"/>
                  </a:cubicBezTo>
                  <a:cubicBezTo>
                    <a:pt x="1186" y="86"/>
                    <a:pt x="1186" y="86"/>
                    <a:pt x="1186" y="85"/>
                  </a:cubicBezTo>
                  <a:cubicBezTo>
                    <a:pt x="1185" y="85"/>
                    <a:pt x="1185" y="85"/>
                    <a:pt x="1186" y="85"/>
                  </a:cubicBezTo>
                  <a:cubicBezTo>
                    <a:pt x="1185" y="84"/>
                    <a:pt x="1185" y="84"/>
                    <a:pt x="1185" y="84"/>
                  </a:cubicBezTo>
                  <a:cubicBezTo>
                    <a:pt x="1185" y="71"/>
                    <a:pt x="1185" y="58"/>
                    <a:pt x="1185" y="45"/>
                  </a:cubicBezTo>
                  <a:cubicBezTo>
                    <a:pt x="1185" y="44"/>
                    <a:pt x="1186" y="44"/>
                    <a:pt x="1187" y="44"/>
                  </a:cubicBezTo>
                  <a:cubicBezTo>
                    <a:pt x="1191" y="44"/>
                    <a:pt x="1196" y="44"/>
                    <a:pt x="1201" y="44"/>
                  </a:cubicBezTo>
                  <a:cubicBezTo>
                    <a:pt x="1201" y="44"/>
                    <a:pt x="1202" y="44"/>
                    <a:pt x="1202" y="43"/>
                  </a:cubicBezTo>
                  <a:cubicBezTo>
                    <a:pt x="1202" y="40"/>
                    <a:pt x="1202" y="37"/>
                    <a:pt x="1202" y="34"/>
                  </a:cubicBezTo>
                  <a:cubicBezTo>
                    <a:pt x="1202" y="34"/>
                    <a:pt x="1201" y="34"/>
                    <a:pt x="1201" y="34"/>
                  </a:cubicBezTo>
                  <a:cubicBezTo>
                    <a:pt x="1196" y="34"/>
                    <a:pt x="1191" y="34"/>
                    <a:pt x="1187" y="34"/>
                  </a:cubicBezTo>
                  <a:cubicBezTo>
                    <a:pt x="1186" y="34"/>
                    <a:pt x="1185" y="34"/>
                    <a:pt x="1185" y="33"/>
                  </a:cubicBezTo>
                  <a:cubicBezTo>
                    <a:pt x="1185" y="29"/>
                    <a:pt x="1185" y="24"/>
                    <a:pt x="1185" y="20"/>
                  </a:cubicBezTo>
                  <a:cubicBezTo>
                    <a:pt x="1185" y="19"/>
                    <a:pt x="1185" y="17"/>
                    <a:pt x="1185" y="15"/>
                  </a:cubicBezTo>
                  <a:cubicBezTo>
                    <a:pt x="1185" y="15"/>
                    <a:pt x="1186" y="14"/>
                    <a:pt x="1185" y="15"/>
                  </a:cubicBezTo>
                  <a:cubicBezTo>
                    <a:pt x="1185" y="15"/>
                    <a:pt x="1185" y="15"/>
                    <a:pt x="1185" y="15"/>
                  </a:cubicBezTo>
                  <a:cubicBezTo>
                    <a:pt x="1184" y="15"/>
                    <a:pt x="1184" y="15"/>
                    <a:pt x="1183" y="15"/>
                  </a:cubicBezTo>
                  <a:cubicBezTo>
                    <a:pt x="1184" y="15"/>
                    <a:pt x="1184" y="15"/>
                    <a:pt x="1184" y="15"/>
                  </a:cubicBezTo>
                  <a:cubicBezTo>
                    <a:pt x="1183" y="15"/>
                    <a:pt x="1183" y="15"/>
                    <a:pt x="1182" y="15"/>
                  </a:cubicBezTo>
                  <a:cubicBezTo>
                    <a:pt x="1182" y="15"/>
                    <a:pt x="1182" y="15"/>
                    <a:pt x="1182" y="15"/>
                  </a:cubicBezTo>
                  <a:cubicBezTo>
                    <a:pt x="1182" y="15"/>
                    <a:pt x="1182" y="15"/>
                    <a:pt x="1181" y="16"/>
                  </a:cubicBezTo>
                  <a:cubicBezTo>
                    <a:pt x="1181" y="16"/>
                    <a:pt x="1181" y="16"/>
                    <a:pt x="1181" y="16"/>
                  </a:cubicBezTo>
                  <a:cubicBezTo>
                    <a:pt x="1181" y="16"/>
                    <a:pt x="1181" y="16"/>
                    <a:pt x="1180" y="16"/>
                  </a:cubicBezTo>
                  <a:cubicBezTo>
                    <a:pt x="1180" y="16"/>
                    <a:pt x="1180" y="16"/>
                    <a:pt x="1180" y="16"/>
                  </a:cubicBezTo>
                  <a:cubicBezTo>
                    <a:pt x="1180" y="16"/>
                    <a:pt x="1180" y="16"/>
                    <a:pt x="1180" y="16"/>
                  </a:cubicBezTo>
                  <a:cubicBezTo>
                    <a:pt x="1180" y="16"/>
                    <a:pt x="1180" y="16"/>
                    <a:pt x="1179" y="16"/>
                  </a:cubicBezTo>
                  <a:cubicBezTo>
                    <a:pt x="1179" y="16"/>
                    <a:pt x="1179" y="16"/>
                    <a:pt x="1179" y="16"/>
                  </a:cubicBezTo>
                  <a:cubicBezTo>
                    <a:pt x="1179" y="16"/>
                    <a:pt x="1179" y="16"/>
                    <a:pt x="1179" y="16"/>
                  </a:cubicBezTo>
                  <a:cubicBezTo>
                    <a:pt x="1179" y="16"/>
                    <a:pt x="1179" y="16"/>
                    <a:pt x="1178" y="17"/>
                  </a:cubicBezTo>
                  <a:cubicBezTo>
                    <a:pt x="1178" y="17"/>
                    <a:pt x="1178" y="17"/>
                    <a:pt x="1178" y="17"/>
                  </a:cubicBezTo>
                  <a:cubicBezTo>
                    <a:pt x="1178" y="17"/>
                    <a:pt x="1178" y="17"/>
                    <a:pt x="1178" y="17"/>
                  </a:cubicBezTo>
                  <a:cubicBezTo>
                    <a:pt x="1178" y="17"/>
                    <a:pt x="1177" y="17"/>
                    <a:pt x="1177" y="17"/>
                  </a:cubicBezTo>
                  <a:cubicBezTo>
                    <a:pt x="1177" y="17"/>
                    <a:pt x="1177" y="17"/>
                    <a:pt x="1177" y="17"/>
                  </a:cubicBezTo>
                  <a:cubicBezTo>
                    <a:pt x="1177" y="17"/>
                    <a:pt x="1176" y="17"/>
                    <a:pt x="1176" y="17"/>
                  </a:cubicBezTo>
                  <a:cubicBezTo>
                    <a:pt x="1176" y="17"/>
                    <a:pt x="1176" y="17"/>
                    <a:pt x="1176" y="17"/>
                  </a:cubicBezTo>
                  <a:cubicBezTo>
                    <a:pt x="1176" y="17"/>
                    <a:pt x="1175" y="17"/>
                    <a:pt x="1175" y="18"/>
                  </a:cubicBezTo>
                  <a:cubicBezTo>
                    <a:pt x="1175" y="18"/>
                    <a:pt x="1175" y="18"/>
                    <a:pt x="1175" y="18"/>
                  </a:cubicBezTo>
                  <a:cubicBezTo>
                    <a:pt x="1174" y="18"/>
                    <a:pt x="1174" y="19"/>
                    <a:pt x="1174" y="19"/>
                  </a:cubicBezTo>
                  <a:cubicBezTo>
                    <a:pt x="1174" y="24"/>
                    <a:pt x="1174" y="28"/>
                    <a:pt x="1174" y="32"/>
                  </a:cubicBezTo>
                  <a:cubicBezTo>
                    <a:pt x="1174" y="34"/>
                    <a:pt x="1174" y="34"/>
                    <a:pt x="1173" y="34"/>
                  </a:cubicBezTo>
                  <a:cubicBezTo>
                    <a:pt x="1170" y="34"/>
                    <a:pt x="1167" y="34"/>
                    <a:pt x="1164" y="34"/>
                  </a:cubicBezTo>
                  <a:cubicBezTo>
                    <a:pt x="1163" y="34"/>
                    <a:pt x="1163" y="35"/>
                    <a:pt x="1163" y="36"/>
                  </a:cubicBezTo>
                  <a:cubicBezTo>
                    <a:pt x="1163" y="38"/>
                    <a:pt x="1163" y="40"/>
                    <a:pt x="1163" y="42"/>
                  </a:cubicBezTo>
                  <a:cubicBezTo>
                    <a:pt x="1163" y="43"/>
                    <a:pt x="1163" y="44"/>
                    <a:pt x="1164" y="44"/>
                  </a:cubicBezTo>
                  <a:cubicBezTo>
                    <a:pt x="1167" y="43"/>
                    <a:pt x="1170" y="44"/>
                    <a:pt x="1173" y="44"/>
                  </a:cubicBezTo>
                  <a:cubicBezTo>
                    <a:pt x="1174" y="43"/>
                    <a:pt x="1174" y="44"/>
                    <a:pt x="1174" y="45"/>
                  </a:cubicBezTo>
                  <a:cubicBezTo>
                    <a:pt x="1174" y="58"/>
                    <a:pt x="1174" y="71"/>
                    <a:pt x="1174" y="84"/>
                  </a:cubicBezTo>
                  <a:cubicBezTo>
                    <a:pt x="1174" y="84"/>
                    <a:pt x="1174" y="85"/>
                    <a:pt x="1174" y="85"/>
                  </a:cubicBezTo>
                  <a:cubicBezTo>
                    <a:pt x="1175" y="86"/>
                    <a:pt x="1175" y="86"/>
                    <a:pt x="1174" y="87"/>
                  </a:cubicBezTo>
                  <a:cubicBezTo>
                    <a:pt x="1175" y="87"/>
                    <a:pt x="1174" y="88"/>
                    <a:pt x="1175" y="89"/>
                  </a:cubicBezTo>
                  <a:cubicBezTo>
                    <a:pt x="1175" y="89"/>
                    <a:pt x="1175" y="89"/>
                    <a:pt x="1175" y="89"/>
                  </a:cubicBezTo>
                  <a:cubicBezTo>
                    <a:pt x="1175" y="90"/>
                    <a:pt x="1175" y="90"/>
                    <a:pt x="1175" y="91"/>
                  </a:cubicBezTo>
                  <a:cubicBezTo>
                    <a:pt x="1175" y="91"/>
                    <a:pt x="1175" y="91"/>
                    <a:pt x="1175" y="91"/>
                  </a:cubicBezTo>
                  <a:cubicBezTo>
                    <a:pt x="1175" y="91"/>
                    <a:pt x="1175" y="91"/>
                    <a:pt x="1175" y="91"/>
                  </a:cubicBezTo>
                  <a:cubicBezTo>
                    <a:pt x="1175" y="91"/>
                    <a:pt x="1175" y="92"/>
                    <a:pt x="1176" y="92"/>
                  </a:cubicBezTo>
                  <a:cubicBezTo>
                    <a:pt x="1175" y="92"/>
                    <a:pt x="1175" y="92"/>
                    <a:pt x="1175" y="92"/>
                  </a:cubicBezTo>
                  <a:cubicBezTo>
                    <a:pt x="1176" y="92"/>
                    <a:pt x="1176" y="93"/>
                    <a:pt x="1176" y="93"/>
                  </a:cubicBezTo>
                  <a:cubicBezTo>
                    <a:pt x="1176" y="93"/>
                    <a:pt x="1176" y="93"/>
                    <a:pt x="1176" y="93"/>
                  </a:cubicBezTo>
                  <a:cubicBezTo>
                    <a:pt x="1176" y="93"/>
                    <a:pt x="1176" y="94"/>
                    <a:pt x="1176" y="94"/>
                  </a:cubicBezTo>
                  <a:cubicBezTo>
                    <a:pt x="1176" y="94"/>
                    <a:pt x="1176" y="94"/>
                    <a:pt x="1176" y="94"/>
                  </a:cubicBezTo>
                  <a:cubicBezTo>
                    <a:pt x="1176" y="94"/>
                    <a:pt x="1176" y="94"/>
                    <a:pt x="1176" y="94"/>
                  </a:cubicBezTo>
                  <a:cubicBezTo>
                    <a:pt x="1176" y="94"/>
                    <a:pt x="1176" y="95"/>
                    <a:pt x="1177" y="95"/>
                  </a:cubicBezTo>
                  <a:close/>
                  <a:moveTo>
                    <a:pt x="715" y="91"/>
                  </a:moveTo>
                  <a:cubicBezTo>
                    <a:pt x="715" y="91"/>
                    <a:pt x="715" y="91"/>
                    <a:pt x="715" y="91"/>
                  </a:cubicBezTo>
                  <a:cubicBezTo>
                    <a:pt x="716" y="92"/>
                    <a:pt x="715" y="92"/>
                    <a:pt x="716" y="92"/>
                  </a:cubicBezTo>
                  <a:cubicBezTo>
                    <a:pt x="716" y="92"/>
                    <a:pt x="716" y="92"/>
                    <a:pt x="716" y="92"/>
                  </a:cubicBezTo>
                  <a:cubicBezTo>
                    <a:pt x="716" y="93"/>
                    <a:pt x="716" y="93"/>
                    <a:pt x="716" y="93"/>
                  </a:cubicBezTo>
                  <a:cubicBezTo>
                    <a:pt x="716" y="93"/>
                    <a:pt x="716" y="93"/>
                    <a:pt x="716" y="93"/>
                  </a:cubicBezTo>
                  <a:cubicBezTo>
                    <a:pt x="716" y="94"/>
                    <a:pt x="716" y="94"/>
                    <a:pt x="716" y="94"/>
                  </a:cubicBezTo>
                  <a:cubicBezTo>
                    <a:pt x="716" y="94"/>
                    <a:pt x="716" y="94"/>
                    <a:pt x="716" y="94"/>
                  </a:cubicBezTo>
                  <a:cubicBezTo>
                    <a:pt x="717" y="94"/>
                    <a:pt x="717" y="95"/>
                    <a:pt x="717" y="95"/>
                  </a:cubicBezTo>
                  <a:cubicBezTo>
                    <a:pt x="717" y="95"/>
                    <a:pt x="717" y="95"/>
                    <a:pt x="717" y="95"/>
                  </a:cubicBezTo>
                  <a:cubicBezTo>
                    <a:pt x="717" y="95"/>
                    <a:pt x="717" y="95"/>
                    <a:pt x="717" y="96"/>
                  </a:cubicBezTo>
                  <a:cubicBezTo>
                    <a:pt x="717" y="96"/>
                    <a:pt x="717" y="96"/>
                    <a:pt x="717" y="96"/>
                  </a:cubicBezTo>
                  <a:cubicBezTo>
                    <a:pt x="717" y="96"/>
                    <a:pt x="717" y="96"/>
                    <a:pt x="717" y="96"/>
                  </a:cubicBezTo>
                  <a:cubicBezTo>
                    <a:pt x="717" y="96"/>
                    <a:pt x="717" y="96"/>
                    <a:pt x="717" y="96"/>
                  </a:cubicBezTo>
                  <a:cubicBezTo>
                    <a:pt x="718" y="97"/>
                    <a:pt x="718" y="97"/>
                    <a:pt x="718" y="97"/>
                  </a:cubicBezTo>
                  <a:cubicBezTo>
                    <a:pt x="718" y="97"/>
                    <a:pt x="718" y="97"/>
                    <a:pt x="718" y="97"/>
                  </a:cubicBezTo>
                  <a:cubicBezTo>
                    <a:pt x="718" y="97"/>
                    <a:pt x="718" y="98"/>
                    <a:pt x="718" y="98"/>
                  </a:cubicBezTo>
                  <a:cubicBezTo>
                    <a:pt x="718" y="98"/>
                    <a:pt x="718" y="98"/>
                    <a:pt x="718" y="98"/>
                  </a:cubicBezTo>
                  <a:cubicBezTo>
                    <a:pt x="719" y="98"/>
                    <a:pt x="719" y="98"/>
                    <a:pt x="719" y="98"/>
                  </a:cubicBezTo>
                  <a:cubicBezTo>
                    <a:pt x="719" y="98"/>
                    <a:pt x="719" y="98"/>
                    <a:pt x="719" y="98"/>
                  </a:cubicBezTo>
                  <a:cubicBezTo>
                    <a:pt x="719" y="99"/>
                    <a:pt x="720" y="99"/>
                    <a:pt x="720" y="99"/>
                  </a:cubicBezTo>
                  <a:cubicBezTo>
                    <a:pt x="720" y="99"/>
                    <a:pt x="720" y="99"/>
                    <a:pt x="720" y="99"/>
                  </a:cubicBezTo>
                  <a:cubicBezTo>
                    <a:pt x="720" y="100"/>
                    <a:pt x="720" y="100"/>
                    <a:pt x="721" y="100"/>
                  </a:cubicBezTo>
                  <a:cubicBezTo>
                    <a:pt x="721" y="100"/>
                    <a:pt x="721" y="100"/>
                    <a:pt x="721" y="100"/>
                  </a:cubicBezTo>
                  <a:cubicBezTo>
                    <a:pt x="721" y="100"/>
                    <a:pt x="721" y="100"/>
                    <a:pt x="721" y="100"/>
                  </a:cubicBezTo>
                  <a:cubicBezTo>
                    <a:pt x="721" y="100"/>
                    <a:pt x="721" y="100"/>
                    <a:pt x="721" y="100"/>
                  </a:cubicBezTo>
                  <a:cubicBezTo>
                    <a:pt x="721" y="100"/>
                    <a:pt x="721" y="100"/>
                    <a:pt x="722" y="100"/>
                  </a:cubicBezTo>
                  <a:cubicBezTo>
                    <a:pt x="722" y="100"/>
                    <a:pt x="722" y="100"/>
                    <a:pt x="722" y="100"/>
                  </a:cubicBezTo>
                  <a:cubicBezTo>
                    <a:pt x="722" y="101"/>
                    <a:pt x="722" y="101"/>
                    <a:pt x="722" y="101"/>
                  </a:cubicBezTo>
                  <a:cubicBezTo>
                    <a:pt x="722" y="101"/>
                    <a:pt x="722" y="101"/>
                    <a:pt x="722" y="101"/>
                  </a:cubicBezTo>
                  <a:cubicBezTo>
                    <a:pt x="722" y="101"/>
                    <a:pt x="722" y="101"/>
                    <a:pt x="723" y="101"/>
                  </a:cubicBezTo>
                  <a:cubicBezTo>
                    <a:pt x="723" y="101"/>
                    <a:pt x="723" y="101"/>
                    <a:pt x="723" y="101"/>
                  </a:cubicBezTo>
                  <a:cubicBezTo>
                    <a:pt x="723" y="101"/>
                    <a:pt x="723" y="101"/>
                    <a:pt x="723" y="101"/>
                  </a:cubicBezTo>
                  <a:cubicBezTo>
                    <a:pt x="723" y="101"/>
                    <a:pt x="723" y="101"/>
                    <a:pt x="723" y="101"/>
                  </a:cubicBezTo>
                  <a:cubicBezTo>
                    <a:pt x="724" y="102"/>
                    <a:pt x="724" y="102"/>
                    <a:pt x="724" y="102"/>
                  </a:cubicBezTo>
                  <a:cubicBezTo>
                    <a:pt x="724" y="102"/>
                    <a:pt x="724" y="102"/>
                    <a:pt x="724" y="102"/>
                  </a:cubicBezTo>
                  <a:cubicBezTo>
                    <a:pt x="725" y="102"/>
                    <a:pt x="725" y="102"/>
                    <a:pt x="725" y="102"/>
                  </a:cubicBezTo>
                  <a:cubicBezTo>
                    <a:pt x="725" y="102"/>
                    <a:pt x="725" y="102"/>
                    <a:pt x="725" y="102"/>
                  </a:cubicBezTo>
                  <a:cubicBezTo>
                    <a:pt x="725" y="102"/>
                    <a:pt x="725" y="102"/>
                    <a:pt x="725" y="102"/>
                  </a:cubicBezTo>
                  <a:cubicBezTo>
                    <a:pt x="726" y="103"/>
                    <a:pt x="726" y="102"/>
                    <a:pt x="727" y="103"/>
                  </a:cubicBezTo>
                  <a:cubicBezTo>
                    <a:pt x="727" y="102"/>
                    <a:pt x="727" y="102"/>
                    <a:pt x="727" y="102"/>
                  </a:cubicBezTo>
                  <a:cubicBezTo>
                    <a:pt x="727" y="103"/>
                    <a:pt x="727" y="103"/>
                    <a:pt x="727" y="103"/>
                  </a:cubicBezTo>
                  <a:cubicBezTo>
                    <a:pt x="727" y="103"/>
                    <a:pt x="728" y="103"/>
                    <a:pt x="728" y="103"/>
                  </a:cubicBezTo>
                  <a:cubicBezTo>
                    <a:pt x="729" y="103"/>
                    <a:pt x="729" y="103"/>
                    <a:pt x="729" y="103"/>
                  </a:cubicBezTo>
                  <a:cubicBezTo>
                    <a:pt x="731" y="103"/>
                    <a:pt x="733" y="103"/>
                    <a:pt x="735" y="103"/>
                  </a:cubicBezTo>
                  <a:cubicBezTo>
                    <a:pt x="736" y="103"/>
                    <a:pt x="736" y="103"/>
                    <a:pt x="736" y="103"/>
                  </a:cubicBezTo>
                  <a:cubicBezTo>
                    <a:pt x="737" y="103"/>
                    <a:pt x="737" y="103"/>
                    <a:pt x="738" y="103"/>
                  </a:cubicBezTo>
                  <a:cubicBezTo>
                    <a:pt x="738" y="102"/>
                    <a:pt x="738" y="102"/>
                    <a:pt x="738" y="102"/>
                  </a:cubicBezTo>
                  <a:cubicBezTo>
                    <a:pt x="738" y="103"/>
                    <a:pt x="738" y="103"/>
                    <a:pt x="738" y="103"/>
                  </a:cubicBezTo>
                  <a:cubicBezTo>
                    <a:pt x="738" y="102"/>
                    <a:pt x="739" y="102"/>
                    <a:pt x="739" y="102"/>
                  </a:cubicBezTo>
                  <a:cubicBezTo>
                    <a:pt x="739" y="102"/>
                    <a:pt x="739" y="102"/>
                    <a:pt x="739" y="102"/>
                  </a:cubicBezTo>
                  <a:cubicBezTo>
                    <a:pt x="739" y="102"/>
                    <a:pt x="739" y="102"/>
                    <a:pt x="739" y="102"/>
                  </a:cubicBezTo>
                  <a:cubicBezTo>
                    <a:pt x="740" y="102"/>
                    <a:pt x="740" y="102"/>
                    <a:pt x="740" y="102"/>
                  </a:cubicBezTo>
                  <a:cubicBezTo>
                    <a:pt x="740" y="102"/>
                    <a:pt x="740" y="102"/>
                    <a:pt x="740" y="102"/>
                  </a:cubicBezTo>
                  <a:cubicBezTo>
                    <a:pt x="741" y="102"/>
                    <a:pt x="741" y="102"/>
                    <a:pt x="741" y="102"/>
                  </a:cubicBezTo>
                  <a:cubicBezTo>
                    <a:pt x="741" y="102"/>
                    <a:pt x="741" y="102"/>
                    <a:pt x="741" y="102"/>
                  </a:cubicBezTo>
                  <a:cubicBezTo>
                    <a:pt x="741" y="101"/>
                    <a:pt x="742" y="101"/>
                    <a:pt x="742" y="101"/>
                  </a:cubicBezTo>
                  <a:cubicBezTo>
                    <a:pt x="742" y="101"/>
                    <a:pt x="742" y="101"/>
                    <a:pt x="742" y="101"/>
                  </a:cubicBezTo>
                  <a:cubicBezTo>
                    <a:pt x="742" y="101"/>
                    <a:pt x="742" y="101"/>
                    <a:pt x="742" y="100"/>
                  </a:cubicBezTo>
                  <a:cubicBezTo>
                    <a:pt x="742" y="98"/>
                    <a:pt x="742" y="95"/>
                    <a:pt x="742" y="92"/>
                  </a:cubicBezTo>
                  <a:cubicBezTo>
                    <a:pt x="742" y="92"/>
                    <a:pt x="742" y="92"/>
                    <a:pt x="742" y="92"/>
                  </a:cubicBezTo>
                  <a:cubicBezTo>
                    <a:pt x="742" y="92"/>
                    <a:pt x="742" y="92"/>
                    <a:pt x="742" y="92"/>
                  </a:cubicBezTo>
                  <a:cubicBezTo>
                    <a:pt x="742" y="92"/>
                    <a:pt x="741" y="92"/>
                    <a:pt x="741" y="92"/>
                  </a:cubicBezTo>
                  <a:cubicBezTo>
                    <a:pt x="741" y="92"/>
                    <a:pt x="741" y="92"/>
                    <a:pt x="741" y="92"/>
                  </a:cubicBezTo>
                  <a:cubicBezTo>
                    <a:pt x="741" y="92"/>
                    <a:pt x="741" y="92"/>
                    <a:pt x="740" y="93"/>
                  </a:cubicBezTo>
                  <a:cubicBezTo>
                    <a:pt x="740" y="93"/>
                    <a:pt x="740" y="93"/>
                    <a:pt x="740" y="93"/>
                  </a:cubicBezTo>
                  <a:cubicBezTo>
                    <a:pt x="740" y="93"/>
                    <a:pt x="740" y="93"/>
                    <a:pt x="740" y="93"/>
                  </a:cubicBezTo>
                  <a:cubicBezTo>
                    <a:pt x="740" y="93"/>
                    <a:pt x="740" y="93"/>
                    <a:pt x="740" y="93"/>
                  </a:cubicBezTo>
                  <a:cubicBezTo>
                    <a:pt x="739" y="93"/>
                    <a:pt x="739" y="93"/>
                    <a:pt x="739" y="93"/>
                  </a:cubicBezTo>
                  <a:cubicBezTo>
                    <a:pt x="739" y="93"/>
                    <a:pt x="739" y="93"/>
                    <a:pt x="739" y="93"/>
                  </a:cubicBezTo>
                  <a:cubicBezTo>
                    <a:pt x="738" y="94"/>
                    <a:pt x="738" y="93"/>
                    <a:pt x="737" y="94"/>
                  </a:cubicBezTo>
                  <a:cubicBezTo>
                    <a:pt x="737" y="94"/>
                    <a:pt x="737" y="94"/>
                    <a:pt x="737" y="94"/>
                  </a:cubicBezTo>
                  <a:cubicBezTo>
                    <a:pt x="736" y="94"/>
                    <a:pt x="735" y="94"/>
                    <a:pt x="733" y="94"/>
                  </a:cubicBezTo>
                  <a:cubicBezTo>
                    <a:pt x="733" y="94"/>
                    <a:pt x="733" y="94"/>
                    <a:pt x="733" y="93"/>
                  </a:cubicBezTo>
                  <a:cubicBezTo>
                    <a:pt x="732" y="93"/>
                    <a:pt x="732" y="93"/>
                    <a:pt x="731" y="93"/>
                  </a:cubicBezTo>
                  <a:cubicBezTo>
                    <a:pt x="731" y="93"/>
                    <a:pt x="731" y="93"/>
                    <a:pt x="731" y="93"/>
                  </a:cubicBezTo>
                  <a:cubicBezTo>
                    <a:pt x="731" y="93"/>
                    <a:pt x="731" y="93"/>
                    <a:pt x="731" y="93"/>
                  </a:cubicBezTo>
                  <a:cubicBezTo>
                    <a:pt x="731" y="93"/>
                    <a:pt x="731" y="93"/>
                    <a:pt x="730" y="93"/>
                  </a:cubicBezTo>
                  <a:cubicBezTo>
                    <a:pt x="730" y="93"/>
                    <a:pt x="730" y="93"/>
                    <a:pt x="730" y="93"/>
                  </a:cubicBezTo>
                  <a:cubicBezTo>
                    <a:pt x="730" y="93"/>
                    <a:pt x="730" y="93"/>
                    <a:pt x="730" y="93"/>
                  </a:cubicBezTo>
                  <a:cubicBezTo>
                    <a:pt x="730" y="93"/>
                    <a:pt x="730" y="93"/>
                    <a:pt x="730" y="92"/>
                  </a:cubicBezTo>
                  <a:cubicBezTo>
                    <a:pt x="730" y="92"/>
                    <a:pt x="730" y="92"/>
                    <a:pt x="730" y="92"/>
                  </a:cubicBezTo>
                  <a:cubicBezTo>
                    <a:pt x="729" y="92"/>
                    <a:pt x="729" y="92"/>
                    <a:pt x="729" y="92"/>
                  </a:cubicBezTo>
                  <a:cubicBezTo>
                    <a:pt x="729" y="92"/>
                    <a:pt x="729" y="92"/>
                    <a:pt x="729" y="92"/>
                  </a:cubicBezTo>
                  <a:cubicBezTo>
                    <a:pt x="729" y="92"/>
                    <a:pt x="729" y="92"/>
                    <a:pt x="729" y="92"/>
                  </a:cubicBezTo>
                  <a:cubicBezTo>
                    <a:pt x="729" y="92"/>
                    <a:pt x="729" y="92"/>
                    <a:pt x="729" y="92"/>
                  </a:cubicBezTo>
                  <a:cubicBezTo>
                    <a:pt x="728" y="92"/>
                    <a:pt x="728" y="92"/>
                    <a:pt x="728" y="91"/>
                  </a:cubicBezTo>
                  <a:cubicBezTo>
                    <a:pt x="728" y="91"/>
                    <a:pt x="728" y="91"/>
                    <a:pt x="728" y="91"/>
                  </a:cubicBezTo>
                  <a:cubicBezTo>
                    <a:pt x="728" y="91"/>
                    <a:pt x="728" y="91"/>
                    <a:pt x="728" y="91"/>
                  </a:cubicBezTo>
                  <a:cubicBezTo>
                    <a:pt x="728" y="91"/>
                    <a:pt x="728" y="91"/>
                    <a:pt x="728" y="91"/>
                  </a:cubicBezTo>
                  <a:cubicBezTo>
                    <a:pt x="728" y="91"/>
                    <a:pt x="727" y="90"/>
                    <a:pt x="727" y="90"/>
                  </a:cubicBezTo>
                  <a:cubicBezTo>
                    <a:pt x="727" y="90"/>
                    <a:pt x="727" y="90"/>
                    <a:pt x="727" y="90"/>
                  </a:cubicBezTo>
                  <a:cubicBezTo>
                    <a:pt x="727" y="90"/>
                    <a:pt x="727" y="90"/>
                    <a:pt x="727" y="89"/>
                  </a:cubicBezTo>
                  <a:cubicBezTo>
                    <a:pt x="727" y="89"/>
                    <a:pt x="727" y="89"/>
                    <a:pt x="727" y="89"/>
                  </a:cubicBezTo>
                  <a:cubicBezTo>
                    <a:pt x="727" y="89"/>
                    <a:pt x="727" y="89"/>
                    <a:pt x="726" y="89"/>
                  </a:cubicBezTo>
                  <a:cubicBezTo>
                    <a:pt x="726" y="89"/>
                    <a:pt x="726" y="89"/>
                    <a:pt x="726" y="89"/>
                  </a:cubicBezTo>
                  <a:cubicBezTo>
                    <a:pt x="726" y="88"/>
                    <a:pt x="726" y="88"/>
                    <a:pt x="726" y="88"/>
                  </a:cubicBezTo>
                  <a:cubicBezTo>
                    <a:pt x="726" y="88"/>
                    <a:pt x="726" y="88"/>
                    <a:pt x="726" y="88"/>
                  </a:cubicBezTo>
                  <a:cubicBezTo>
                    <a:pt x="726" y="87"/>
                    <a:pt x="726" y="87"/>
                    <a:pt x="726" y="87"/>
                  </a:cubicBezTo>
                  <a:cubicBezTo>
                    <a:pt x="726" y="87"/>
                    <a:pt x="726" y="87"/>
                    <a:pt x="726" y="86"/>
                  </a:cubicBezTo>
                  <a:cubicBezTo>
                    <a:pt x="726" y="86"/>
                    <a:pt x="726" y="86"/>
                    <a:pt x="726" y="86"/>
                  </a:cubicBezTo>
                  <a:cubicBezTo>
                    <a:pt x="725" y="85"/>
                    <a:pt x="726" y="84"/>
                    <a:pt x="725" y="83"/>
                  </a:cubicBezTo>
                  <a:cubicBezTo>
                    <a:pt x="725" y="82"/>
                    <a:pt x="725" y="81"/>
                    <a:pt x="725" y="80"/>
                  </a:cubicBezTo>
                  <a:cubicBezTo>
                    <a:pt x="725" y="68"/>
                    <a:pt x="725" y="57"/>
                    <a:pt x="725" y="45"/>
                  </a:cubicBezTo>
                  <a:cubicBezTo>
                    <a:pt x="725" y="45"/>
                    <a:pt x="725" y="44"/>
                    <a:pt x="725" y="44"/>
                  </a:cubicBezTo>
                  <a:cubicBezTo>
                    <a:pt x="726" y="43"/>
                    <a:pt x="727" y="44"/>
                    <a:pt x="727" y="44"/>
                  </a:cubicBezTo>
                  <a:cubicBezTo>
                    <a:pt x="732" y="44"/>
                    <a:pt x="736" y="44"/>
                    <a:pt x="741" y="44"/>
                  </a:cubicBezTo>
                  <a:cubicBezTo>
                    <a:pt x="742" y="44"/>
                    <a:pt x="742" y="43"/>
                    <a:pt x="742" y="42"/>
                  </a:cubicBezTo>
                  <a:cubicBezTo>
                    <a:pt x="742" y="40"/>
                    <a:pt x="742" y="38"/>
                    <a:pt x="742" y="36"/>
                  </a:cubicBezTo>
                  <a:cubicBezTo>
                    <a:pt x="742" y="35"/>
                    <a:pt x="742" y="34"/>
                    <a:pt x="741" y="34"/>
                  </a:cubicBezTo>
                  <a:cubicBezTo>
                    <a:pt x="736" y="34"/>
                    <a:pt x="732" y="34"/>
                    <a:pt x="728" y="34"/>
                  </a:cubicBezTo>
                  <a:cubicBezTo>
                    <a:pt x="727" y="34"/>
                    <a:pt x="726" y="34"/>
                    <a:pt x="725" y="34"/>
                  </a:cubicBezTo>
                  <a:cubicBezTo>
                    <a:pt x="725" y="34"/>
                    <a:pt x="725" y="34"/>
                    <a:pt x="725" y="34"/>
                  </a:cubicBezTo>
                  <a:cubicBezTo>
                    <a:pt x="725" y="27"/>
                    <a:pt x="725" y="21"/>
                    <a:pt x="725" y="15"/>
                  </a:cubicBezTo>
                  <a:cubicBezTo>
                    <a:pt x="725" y="14"/>
                    <a:pt x="725" y="14"/>
                    <a:pt x="725" y="14"/>
                  </a:cubicBezTo>
                  <a:cubicBezTo>
                    <a:pt x="725" y="15"/>
                    <a:pt x="725" y="15"/>
                    <a:pt x="725" y="15"/>
                  </a:cubicBezTo>
                  <a:cubicBezTo>
                    <a:pt x="725" y="15"/>
                    <a:pt x="725" y="15"/>
                    <a:pt x="725" y="15"/>
                  </a:cubicBezTo>
                  <a:cubicBezTo>
                    <a:pt x="724" y="15"/>
                    <a:pt x="724" y="15"/>
                    <a:pt x="724" y="15"/>
                  </a:cubicBezTo>
                  <a:cubicBezTo>
                    <a:pt x="724" y="15"/>
                    <a:pt x="724" y="15"/>
                    <a:pt x="724" y="15"/>
                  </a:cubicBezTo>
                  <a:cubicBezTo>
                    <a:pt x="723" y="15"/>
                    <a:pt x="723" y="15"/>
                    <a:pt x="723" y="15"/>
                  </a:cubicBezTo>
                  <a:cubicBezTo>
                    <a:pt x="723" y="15"/>
                    <a:pt x="723" y="15"/>
                    <a:pt x="723" y="15"/>
                  </a:cubicBezTo>
                  <a:cubicBezTo>
                    <a:pt x="723" y="15"/>
                    <a:pt x="723" y="15"/>
                    <a:pt x="723" y="15"/>
                  </a:cubicBezTo>
                  <a:cubicBezTo>
                    <a:pt x="722" y="15"/>
                    <a:pt x="722" y="15"/>
                    <a:pt x="722" y="15"/>
                  </a:cubicBezTo>
                  <a:cubicBezTo>
                    <a:pt x="722" y="15"/>
                    <a:pt x="722" y="15"/>
                    <a:pt x="722" y="16"/>
                  </a:cubicBezTo>
                  <a:cubicBezTo>
                    <a:pt x="722" y="16"/>
                    <a:pt x="721" y="16"/>
                    <a:pt x="721" y="16"/>
                  </a:cubicBezTo>
                  <a:cubicBezTo>
                    <a:pt x="721" y="16"/>
                    <a:pt x="721" y="16"/>
                    <a:pt x="721" y="16"/>
                  </a:cubicBezTo>
                  <a:cubicBezTo>
                    <a:pt x="720" y="16"/>
                    <a:pt x="720" y="16"/>
                    <a:pt x="720" y="16"/>
                  </a:cubicBezTo>
                  <a:cubicBezTo>
                    <a:pt x="720" y="16"/>
                    <a:pt x="720" y="16"/>
                    <a:pt x="719" y="16"/>
                  </a:cubicBezTo>
                  <a:cubicBezTo>
                    <a:pt x="719" y="16"/>
                    <a:pt x="719" y="16"/>
                    <a:pt x="719" y="16"/>
                  </a:cubicBezTo>
                  <a:cubicBezTo>
                    <a:pt x="719" y="17"/>
                    <a:pt x="718" y="16"/>
                    <a:pt x="718" y="17"/>
                  </a:cubicBezTo>
                  <a:cubicBezTo>
                    <a:pt x="718" y="17"/>
                    <a:pt x="718" y="17"/>
                    <a:pt x="718" y="17"/>
                  </a:cubicBezTo>
                  <a:cubicBezTo>
                    <a:pt x="718" y="17"/>
                    <a:pt x="717" y="17"/>
                    <a:pt x="717" y="17"/>
                  </a:cubicBezTo>
                  <a:cubicBezTo>
                    <a:pt x="717" y="17"/>
                    <a:pt x="717" y="17"/>
                    <a:pt x="717" y="17"/>
                  </a:cubicBezTo>
                  <a:cubicBezTo>
                    <a:pt x="717" y="17"/>
                    <a:pt x="716" y="17"/>
                    <a:pt x="716" y="17"/>
                  </a:cubicBezTo>
                  <a:cubicBezTo>
                    <a:pt x="716" y="17"/>
                    <a:pt x="716" y="17"/>
                    <a:pt x="716" y="17"/>
                  </a:cubicBezTo>
                  <a:cubicBezTo>
                    <a:pt x="716" y="18"/>
                    <a:pt x="715" y="17"/>
                    <a:pt x="715" y="18"/>
                  </a:cubicBezTo>
                  <a:cubicBezTo>
                    <a:pt x="715" y="18"/>
                    <a:pt x="715" y="18"/>
                    <a:pt x="715" y="18"/>
                  </a:cubicBezTo>
                  <a:cubicBezTo>
                    <a:pt x="714" y="18"/>
                    <a:pt x="714" y="19"/>
                    <a:pt x="714" y="20"/>
                  </a:cubicBezTo>
                  <a:cubicBezTo>
                    <a:pt x="714" y="24"/>
                    <a:pt x="714" y="28"/>
                    <a:pt x="714" y="33"/>
                  </a:cubicBezTo>
                  <a:cubicBezTo>
                    <a:pt x="714" y="34"/>
                    <a:pt x="714" y="34"/>
                    <a:pt x="713" y="34"/>
                  </a:cubicBezTo>
                  <a:cubicBezTo>
                    <a:pt x="710" y="34"/>
                    <a:pt x="707" y="34"/>
                    <a:pt x="704" y="34"/>
                  </a:cubicBezTo>
                  <a:cubicBezTo>
                    <a:pt x="703" y="34"/>
                    <a:pt x="703" y="34"/>
                    <a:pt x="703" y="36"/>
                  </a:cubicBezTo>
                  <a:cubicBezTo>
                    <a:pt x="703" y="38"/>
                    <a:pt x="703" y="40"/>
                    <a:pt x="703" y="42"/>
                  </a:cubicBezTo>
                  <a:cubicBezTo>
                    <a:pt x="703" y="43"/>
                    <a:pt x="703" y="44"/>
                    <a:pt x="705" y="44"/>
                  </a:cubicBezTo>
                  <a:cubicBezTo>
                    <a:pt x="708" y="44"/>
                    <a:pt x="711" y="43"/>
                    <a:pt x="714" y="44"/>
                  </a:cubicBezTo>
                  <a:cubicBezTo>
                    <a:pt x="714" y="44"/>
                    <a:pt x="714" y="44"/>
                    <a:pt x="714" y="44"/>
                  </a:cubicBezTo>
                  <a:cubicBezTo>
                    <a:pt x="715" y="44"/>
                    <a:pt x="714" y="45"/>
                    <a:pt x="714" y="46"/>
                  </a:cubicBezTo>
                  <a:cubicBezTo>
                    <a:pt x="714" y="59"/>
                    <a:pt x="714" y="72"/>
                    <a:pt x="714" y="85"/>
                  </a:cubicBezTo>
                  <a:cubicBezTo>
                    <a:pt x="714" y="86"/>
                    <a:pt x="714" y="87"/>
                    <a:pt x="715" y="87"/>
                  </a:cubicBezTo>
                  <a:cubicBezTo>
                    <a:pt x="715" y="87"/>
                    <a:pt x="715" y="88"/>
                    <a:pt x="715" y="88"/>
                  </a:cubicBezTo>
                  <a:cubicBezTo>
                    <a:pt x="715" y="88"/>
                    <a:pt x="715" y="89"/>
                    <a:pt x="715" y="90"/>
                  </a:cubicBezTo>
                  <a:cubicBezTo>
                    <a:pt x="715" y="90"/>
                    <a:pt x="715" y="90"/>
                    <a:pt x="715" y="90"/>
                  </a:cubicBezTo>
                  <a:cubicBezTo>
                    <a:pt x="715" y="90"/>
                    <a:pt x="715" y="91"/>
                    <a:pt x="715" y="91"/>
                  </a:cubicBezTo>
                  <a:close/>
                  <a:moveTo>
                    <a:pt x="189" y="46"/>
                  </a:moveTo>
                  <a:cubicBezTo>
                    <a:pt x="189" y="44"/>
                    <a:pt x="189" y="42"/>
                    <a:pt x="189" y="39"/>
                  </a:cubicBezTo>
                  <a:cubicBezTo>
                    <a:pt x="189" y="36"/>
                    <a:pt x="189" y="36"/>
                    <a:pt x="186" y="35"/>
                  </a:cubicBezTo>
                  <a:cubicBezTo>
                    <a:pt x="179" y="32"/>
                    <a:pt x="173" y="32"/>
                    <a:pt x="166" y="33"/>
                  </a:cubicBezTo>
                  <a:cubicBezTo>
                    <a:pt x="155" y="35"/>
                    <a:pt x="146" y="42"/>
                    <a:pt x="142" y="52"/>
                  </a:cubicBezTo>
                  <a:cubicBezTo>
                    <a:pt x="137" y="62"/>
                    <a:pt x="137" y="72"/>
                    <a:pt x="140" y="82"/>
                  </a:cubicBezTo>
                  <a:cubicBezTo>
                    <a:pt x="143" y="91"/>
                    <a:pt x="150" y="98"/>
                    <a:pt x="159" y="101"/>
                  </a:cubicBezTo>
                  <a:cubicBezTo>
                    <a:pt x="165" y="103"/>
                    <a:pt x="170" y="104"/>
                    <a:pt x="176" y="103"/>
                  </a:cubicBezTo>
                  <a:cubicBezTo>
                    <a:pt x="180" y="102"/>
                    <a:pt x="184" y="101"/>
                    <a:pt x="187" y="99"/>
                  </a:cubicBezTo>
                  <a:cubicBezTo>
                    <a:pt x="188" y="99"/>
                    <a:pt x="189" y="98"/>
                    <a:pt x="189" y="97"/>
                  </a:cubicBezTo>
                  <a:cubicBezTo>
                    <a:pt x="189" y="94"/>
                    <a:pt x="189" y="92"/>
                    <a:pt x="189" y="90"/>
                  </a:cubicBezTo>
                  <a:cubicBezTo>
                    <a:pt x="189" y="89"/>
                    <a:pt x="189" y="89"/>
                    <a:pt x="188" y="88"/>
                  </a:cubicBezTo>
                  <a:cubicBezTo>
                    <a:pt x="188" y="89"/>
                    <a:pt x="188" y="89"/>
                    <a:pt x="187" y="89"/>
                  </a:cubicBezTo>
                  <a:cubicBezTo>
                    <a:pt x="182" y="93"/>
                    <a:pt x="176" y="94"/>
                    <a:pt x="170" y="94"/>
                  </a:cubicBezTo>
                  <a:cubicBezTo>
                    <a:pt x="162" y="93"/>
                    <a:pt x="156" y="89"/>
                    <a:pt x="152" y="82"/>
                  </a:cubicBezTo>
                  <a:cubicBezTo>
                    <a:pt x="148" y="72"/>
                    <a:pt x="148" y="63"/>
                    <a:pt x="153" y="54"/>
                  </a:cubicBezTo>
                  <a:cubicBezTo>
                    <a:pt x="156" y="47"/>
                    <a:pt x="162" y="43"/>
                    <a:pt x="169" y="42"/>
                  </a:cubicBezTo>
                  <a:cubicBezTo>
                    <a:pt x="176" y="41"/>
                    <a:pt x="182" y="43"/>
                    <a:pt x="187" y="46"/>
                  </a:cubicBezTo>
                  <a:cubicBezTo>
                    <a:pt x="187" y="46"/>
                    <a:pt x="188" y="47"/>
                    <a:pt x="189" y="47"/>
                  </a:cubicBezTo>
                  <a:cubicBezTo>
                    <a:pt x="189" y="47"/>
                    <a:pt x="189" y="47"/>
                    <a:pt x="189" y="46"/>
                  </a:cubicBezTo>
                  <a:close/>
                  <a:moveTo>
                    <a:pt x="1487" y="28"/>
                  </a:moveTo>
                  <a:cubicBezTo>
                    <a:pt x="1487" y="28"/>
                    <a:pt x="1487" y="28"/>
                    <a:pt x="1487" y="28"/>
                  </a:cubicBezTo>
                  <a:cubicBezTo>
                    <a:pt x="1487" y="28"/>
                    <a:pt x="1487" y="28"/>
                    <a:pt x="1487" y="28"/>
                  </a:cubicBezTo>
                  <a:cubicBezTo>
                    <a:pt x="1487" y="28"/>
                    <a:pt x="1488" y="28"/>
                    <a:pt x="1488" y="28"/>
                  </a:cubicBezTo>
                  <a:cubicBezTo>
                    <a:pt x="1488" y="28"/>
                    <a:pt x="1488" y="28"/>
                    <a:pt x="1488" y="28"/>
                  </a:cubicBezTo>
                  <a:cubicBezTo>
                    <a:pt x="1488" y="28"/>
                    <a:pt x="1488" y="28"/>
                    <a:pt x="1488" y="27"/>
                  </a:cubicBezTo>
                  <a:cubicBezTo>
                    <a:pt x="1488" y="27"/>
                    <a:pt x="1488" y="27"/>
                    <a:pt x="1488" y="27"/>
                  </a:cubicBezTo>
                  <a:cubicBezTo>
                    <a:pt x="1489" y="27"/>
                    <a:pt x="1489" y="27"/>
                    <a:pt x="1489" y="27"/>
                  </a:cubicBezTo>
                  <a:cubicBezTo>
                    <a:pt x="1489" y="27"/>
                    <a:pt x="1489" y="27"/>
                    <a:pt x="1489" y="27"/>
                  </a:cubicBezTo>
                  <a:cubicBezTo>
                    <a:pt x="1489" y="27"/>
                    <a:pt x="1490" y="27"/>
                    <a:pt x="1490" y="27"/>
                  </a:cubicBezTo>
                  <a:cubicBezTo>
                    <a:pt x="1490" y="27"/>
                    <a:pt x="1490" y="27"/>
                    <a:pt x="1490" y="27"/>
                  </a:cubicBezTo>
                  <a:cubicBezTo>
                    <a:pt x="1490" y="26"/>
                    <a:pt x="1490" y="27"/>
                    <a:pt x="1490" y="26"/>
                  </a:cubicBezTo>
                  <a:cubicBezTo>
                    <a:pt x="1490" y="26"/>
                    <a:pt x="1490" y="26"/>
                    <a:pt x="1490" y="26"/>
                  </a:cubicBezTo>
                  <a:cubicBezTo>
                    <a:pt x="1491" y="26"/>
                    <a:pt x="1491" y="26"/>
                    <a:pt x="1491" y="26"/>
                  </a:cubicBezTo>
                  <a:cubicBezTo>
                    <a:pt x="1491" y="26"/>
                    <a:pt x="1491" y="26"/>
                    <a:pt x="1491" y="26"/>
                  </a:cubicBezTo>
                  <a:cubicBezTo>
                    <a:pt x="1491" y="26"/>
                    <a:pt x="1491" y="26"/>
                    <a:pt x="1491" y="26"/>
                  </a:cubicBezTo>
                  <a:cubicBezTo>
                    <a:pt x="1491" y="26"/>
                    <a:pt x="1491" y="26"/>
                    <a:pt x="1492" y="26"/>
                  </a:cubicBezTo>
                  <a:cubicBezTo>
                    <a:pt x="1492" y="26"/>
                    <a:pt x="1492" y="26"/>
                    <a:pt x="1492" y="26"/>
                  </a:cubicBezTo>
                  <a:cubicBezTo>
                    <a:pt x="1492" y="25"/>
                    <a:pt x="1492" y="25"/>
                    <a:pt x="1492" y="25"/>
                  </a:cubicBezTo>
                  <a:cubicBezTo>
                    <a:pt x="1492" y="25"/>
                    <a:pt x="1492" y="25"/>
                    <a:pt x="1492" y="25"/>
                  </a:cubicBezTo>
                  <a:cubicBezTo>
                    <a:pt x="1492" y="25"/>
                    <a:pt x="1493" y="25"/>
                    <a:pt x="1493" y="25"/>
                  </a:cubicBezTo>
                  <a:cubicBezTo>
                    <a:pt x="1493" y="25"/>
                    <a:pt x="1493" y="25"/>
                    <a:pt x="1493" y="25"/>
                  </a:cubicBezTo>
                  <a:cubicBezTo>
                    <a:pt x="1493" y="25"/>
                    <a:pt x="1493" y="25"/>
                    <a:pt x="1494" y="24"/>
                  </a:cubicBezTo>
                  <a:cubicBezTo>
                    <a:pt x="1494" y="25"/>
                    <a:pt x="1494" y="25"/>
                    <a:pt x="1494" y="25"/>
                  </a:cubicBezTo>
                  <a:cubicBezTo>
                    <a:pt x="1494" y="25"/>
                    <a:pt x="1494" y="24"/>
                    <a:pt x="1494" y="24"/>
                  </a:cubicBezTo>
                  <a:cubicBezTo>
                    <a:pt x="1494" y="24"/>
                    <a:pt x="1494" y="24"/>
                    <a:pt x="1494" y="24"/>
                  </a:cubicBezTo>
                  <a:cubicBezTo>
                    <a:pt x="1494" y="24"/>
                    <a:pt x="1495" y="24"/>
                    <a:pt x="1495" y="24"/>
                  </a:cubicBezTo>
                  <a:cubicBezTo>
                    <a:pt x="1495" y="24"/>
                    <a:pt x="1495" y="24"/>
                    <a:pt x="1495" y="24"/>
                  </a:cubicBezTo>
                  <a:cubicBezTo>
                    <a:pt x="1495" y="24"/>
                    <a:pt x="1495" y="24"/>
                    <a:pt x="1495" y="24"/>
                  </a:cubicBezTo>
                  <a:cubicBezTo>
                    <a:pt x="1495" y="24"/>
                    <a:pt x="1495" y="24"/>
                    <a:pt x="1495" y="24"/>
                  </a:cubicBezTo>
                  <a:cubicBezTo>
                    <a:pt x="1495" y="23"/>
                    <a:pt x="1496" y="23"/>
                    <a:pt x="1496" y="23"/>
                  </a:cubicBezTo>
                  <a:cubicBezTo>
                    <a:pt x="1496" y="23"/>
                    <a:pt x="1496" y="23"/>
                    <a:pt x="1496" y="23"/>
                  </a:cubicBezTo>
                  <a:cubicBezTo>
                    <a:pt x="1496" y="23"/>
                    <a:pt x="1496" y="23"/>
                    <a:pt x="1496" y="23"/>
                  </a:cubicBezTo>
                  <a:cubicBezTo>
                    <a:pt x="1496" y="23"/>
                    <a:pt x="1496" y="23"/>
                    <a:pt x="1496" y="23"/>
                  </a:cubicBezTo>
                  <a:cubicBezTo>
                    <a:pt x="1496" y="23"/>
                    <a:pt x="1497" y="23"/>
                    <a:pt x="1497" y="22"/>
                  </a:cubicBezTo>
                  <a:cubicBezTo>
                    <a:pt x="1497" y="22"/>
                    <a:pt x="1497" y="22"/>
                    <a:pt x="1497" y="22"/>
                  </a:cubicBezTo>
                  <a:cubicBezTo>
                    <a:pt x="1497" y="22"/>
                    <a:pt x="1497" y="22"/>
                    <a:pt x="1497" y="22"/>
                  </a:cubicBezTo>
                  <a:cubicBezTo>
                    <a:pt x="1497" y="22"/>
                    <a:pt x="1497" y="22"/>
                    <a:pt x="1497" y="22"/>
                  </a:cubicBezTo>
                  <a:cubicBezTo>
                    <a:pt x="1497" y="22"/>
                    <a:pt x="1498" y="22"/>
                    <a:pt x="1498" y="21"/>
                  </a:cubicBezTo>
                  <a:cubicBezTo>
                    <a:pt x="1498" y="21"/>
                    <a:pt x="1498" y="21"/>
                    <a:pt x="1498" y="21"/>
                  </a:cubicBezTo>
                  <a:cubicBezTo>
                    <a:pt x="1498" y="21"/>
                    <a:pt x="1498" y="21"/>
                    <a:pt x="1498" y="21"/>
                  </a:cubicBezTo>
                  <a:cubicBezTo>
                    <a:pt x="1498" y="21"/>
                    <a:pt x="1498" y="21"/>
                    <a:pt x="1498" y="21"/>
                  </a:cubicBezTo>
                  <a:cubicBezTo>
                    <a:pt x="1500" y="21"/>
                    <a:pt x="1499" y="22"/>
                    <a:pt x="1499" y="23"/>
                  </a:cubicBezTo>
                  <a:cubicBezTo>
                    <a:pt x="1499" y="48"/>
                    <a:pt x="1499" y="74"/>
                    <a:pt x="1499" y="99"/>
                  </a:cubicBezTo>
                  <a:cubicBezTo>
                    <a:pt x="1499" y="100"/>
                    <a:pt x="1499" y="100"/>
                    <a:pt x="1499" y="100"/>
                  </a:cubicBezTo>
                  <a:cubicBezTo>
                    <a:pt x="1499" y="101"/>
                    <a:pt x="1499" y="102"/>
                    <a:pt x="1500" y="102"/>
                  </a:cubicBezTo>
                  <a:cubicBezTo>
                    <a:pt x="1503" y="102"/>
                    <a:pt x="1505" y="102"/>
                    <a:pt x="1508" y="102"/>
                  </a:cubicBezTo>
                  <a:cubicBezTo>
                    <a:pt x="1508" y="102"/>
                    <a:pt x="1509" y="102"/>
                    <a:pt x="1510" y="101"/>
                  </a:cubicBezTo>
                  <a:cubicBezTo>
                    <a:pt x="1510" y="101"/>
                    <a:pt x="1510" y="101"/>
                    <a:pt x="1510" y="101"/>
                  </a:cubicBezTo>
                  <a:cubicBezTo>
                    <a:pt x="1510" y="101"/>
                    <a:pt x="1510" y="100"/>
                    <a:pt x="1510" y="100"/>
                  </a:cubicBezTo>
                  <a:cubicBezTo>
                    <a:pt x="1510" y="69"/>
                    <a:pt x="1510" y="38"/>
                    <a:pt x="1510" y="7"/>
                  </a:cubicBezTo>
                  <a:cubicBezTo>
                    <a:pt x="1510" y="7"/>
                    <a:pt x="1510" y="6"/>
                    <a:pt x="1510" y="6"/>
                  </a:cubicBezTo>
                  <a:cubicBezTo>
                    <a:pt x="1510" y="6"/>
                    <a:pt x="1510" y="5"/>
                    <a:pt x="1509" y="5"/>
                  </a:cubicBezTo>
                  <a:cubicBezTo>
                    <a:pt x="1508" y="5"/>
                    <a:pt x="1507" y="5"/>
                    <a:pt x="1505" y="5"/>
                  </a:cubicBezTo>
                  <a:cubicBezTo>
                    <a:pt x="1506" y="5"/>
                    <a:pt x="1506" y="5"/>
                    <a:pt x="1506" y="5"/>
                  </a:cubicBezTo>
                  <a:cubicBezTo>
                    <a:pt x="1505" y="6"/>
                    <a:pt x="1505" y="6"/>
                    <a:pt x="1505" y="6"/>
                  </a:cubicBezTo>
                  <a:cubicBezTo>
                    <a:pt x="1505" y="6"/>
                    <a:pt x="1505" y="6"/>
                    <a:pt x="1505" y="6"/>
                  </a:cubicBezTo>
                  <a:cubicBezTo>
                    <a:pt x="1505" y="6"/>
                    <a:pt x="1505" y="6"/>
                    <a:pt x="1505" y="6"/>
                  </a:cubicBezTo>
                  <a:cubicBezTo>
                    <a:pt x="1505" y="6"/>
                    <a:pt x="1505" y="6"/>
                    <a:pt x="1505" y="6"/>
                  </a:cubicBezTo>
                  <a:cubicBezTo>
                    <a:pt x="1505" y="6"/>
                    <a:pt x="1504" y="6"/>
                    <a:pt x="1504" y="7"/>
                  </a:cubicBezTo>
                  <a:cubicBezTo>
                    <a:pt x="1504" y="7"/>
                    <a:pt x="1504" y="7"/>
                    <a:pt x="1504" y="7"/>
                  </a:cubicBezTo>
                  <a:cubicBezTo>
                    <a:pt x="1504" y="7"/>
                    <a:pt x="1504" y="7"/>
                    <a:pt x="1504" y="7"/>
                  </a:cubicBezTo>
                  <a:cubicBezTo>
                    <a:pt x="1504" y="7"/>
                    <a:pt x="1504" y="7"/>
                    <a:pt x="1504" y="7"/>
                  </a:cubicBezTo>
                  <a:cubicBezTo>
                    <a:pt x="1504" y="7"/>
                    <a:pt x="1504" y="7"/>
                    <a:pt x="1503" y="7"/>
                  </a:cubicBezTo>
                  <a:cubicBezTo>
                    <a:pt x="1503" y="7"/>
                    <a:pt x="1503" y="7"/>
                    <a:pt x="1503" y="7"/>
                  </a:cubicBezTo>
                  <a:cubicBezTo>
                    <a:pt x="1503" y="7"/>
                    <a:pt x="1503" y="7"/>
                    <a:pt x="1503" y="7"/>
                  </a:cubicBezTo>
                  <a:cubicBezTo>
                    <a:pt x="1503" y="8"/>
                    <a:pt x="1503" y="8"/>
                    <a:pt x="1503" y="8"/>
                  </a:cubicBezTo>
                  <a:cubicBezTo>
                    <a:pt x="1503" y="8"/>
                    <a:pt x="1502" y="8"/>
                    <a:pt x="1502" y="8"/>
                  </a:cubicBezTo>
                  <a:cubicBezTo>
                    <a:pt x="1502" y="8"/>
                    <a:pt x="1502" y="8"/>
                    <a:pt x="1502" y="8"/>
                  </a:cubicBezTo>
                  <a:cubicBezTo>
                    <a:pt x="1502" y="8"/>
                    <a:pt x="1502" y="8"/>
                    <a:pt x="1502" y="8"/>
                  </a:cubicBezTo>
                  <a:cubicBezTo>
                    <a:pt x="1502" y="8"/>
                    <a:pt x="1502" y="8"/>
                    <a:pt x="1502" y="8"/>
                  </a:cubicBezTo>
                  <a:cubicBezTo>
                    <a:pt x="1502" y="8"/>
                    <a:pt x="1501" y="8"/>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0" y="10"/>
                    <a:pt x="1500" y="9"/>
                    <a:pt x="1500" y="10"/>
                  </a:cubicBezTo>
                  <a:cubicBezTo>
                    <a:pt x="1500" y="10"/>
                    <a:pt x="1500" y="10"/>
                    <a:pt x="1500" y="10"/>
                  </a:cubicBezTo>
                  <a:cubicBezTo>
                    <a:pt x="1500" y="10"/>
                    <a:pt x="1500" y="10"/>
                    <a:pt x="1500" y="10"/>
                  </a:cubicBezTo>
                  <a:cubicBezTo>
                    <a:pt x="1500" y="10"/>
                    <a:pt x="1500" y="10"/>
                    <a:pt x="1500" y="10"/>
                  </a:cubicBezTo>
                  <a:cubicBezTo>
                    <a:pt x="1499" y="10"/>
                    <a:pt x="1499" y="10"/>
                    <a:pt x="1499" y="10"/>
                  </a:cubicBezTo>
                  <a:cubicBezTo>
                    <a:pt x="1499" y="10"/>
                    <a:pt x="1499" y="10"/>
                    <a:pt x="1499" y="10"/>
                  </a:cubicBezTo>
                  <a:cubicBezTo>
                    <a:pt x="1499" y="11"/>
                    <a:pt x="1498" y="10"/>
                    <a:pt x="1498" y="11"/>
                  </a:cubicBezTo>
                  <a:cubicBezTo>
                    <a:pt x="1498" y="11"/>
                    <a:pt x="1498" y="11"/>
                    <a:pt x="1498" y="11"/>
                  </a:cubicBezTo>
                  <a:cubicBezTo>
                    <a:pt x="1498" y="11"/>
                    <a:pt x="1498" y="11"/>
                    <a:pt x="1498" y="11"/>
                  </a:cubicBezTo>
                  <a:cubicBezTo>
                    <a:pt x="1498" y="11"/>
                    <a:pt x="1498" y="11"/>
                    <a:pt x="1498" y="11"/>
                  </a:cubicBezTo>
                  <a:cubicBezTo>
                    <a:pt x="1498" y="11"/>
                    <a:pt x="1497" y="11"/>
                    <a:pt x="1497" y="11"/>
                  </a:cubicBezTo>
                  <a:cubicBezTo>
                    <a:pt x="1497" y="11"/>
                    <a:pt x="1497" y="11"/>
                    <a:pt x="1497" y="11"/>
                  </a:cubicBezTo>
                  <a:cubicBezTo>
                    <a:pt x="1497" y="11"/>
                    <a:pt x="1497" y="12"/>
                    <a:pt x="1497" y="12"/>
                  </a:cubicBezTo>
                  <a:cubicBezTo>
                    <a:pt x="1497" y="12"/>
                    <a:pt x="1497" y="12"/>
                    <a:pt x="1497" y="12"/>
                  </a:cubicBezTo>
                  <a:cubicBezTo>
                    <a:pt x="1497" y="12"/>
                    <a:pt x="1496" y="12"/>
                    <a:pt x="1496" y="12"/>
                  </a:cubicBezTo>
                  <a:cubicBezTo>
                    <a:pt x="1496" y="12"/>
                    <a:pt x="1496" y="12"/>
                    <a:pt x="1496" y="12"/>
                  </a:cubicBezTo>
                  <a:cubicBezTo>
                    <a:pt x="1496" y="12"/>
                    <a:pt x="1496" y="12"/>
                    <a:pt x="1495" y="12"/>
                  </a:cubicBezTo>
                  <a:cubicBezTo>
                    <a:pt x="1495" y="12"/>
                    <a:pt x="1495" y="12"/>
                    <a:pt x="1495" y="12"/>
                  </a:cubicBezTo>
                  <a:cubicBezTo>
                    <a:pt x="1495" y="13"/>
                    <a:pt x="1495" y="13"/>
                    <a:pt x="1495" y="13"/>
                  </a:cubicBezTo>
                  <a:cubicBezTo>
                    <a:pt x="1495" y="13"/>
                    <a:pt x="1495" y="13"/>
                    <a:pt x="1495" y="13"/>
                  </a:cubicBezTo>
                  <a:cubicBezTo>
                    <a:pt x="1495" y="13"/>
                    <a:pt x="1494" y="13"/>
                    <a:pt x="1494" y="13"/>
                  </a:cubicBezTo>
                  <a:cubicBezTo>
                    <a:pt x="1494" y="13"/>
                    <a:pt x="1494" y="13"/>
                    <a:pt x="1494" y="13"/>
                  </a:cubicBezTo>
                  <a:cubicBezTo>
                    <a:pt x="1494" y="13"/>
                    <a:pt x="1494" y="13"/>
                    <a:pt x="1494" y="13"/>
                  </a:cubicBezTo>
                  <a:cubicBezTo>
                    <a:pt x="1494" y="13"/>
                    <a:pt x="1494" y="13"/>
                    <a:pt x="1494" y="13"/>
                  </a:cubicBezTo>
                  <a:cubicBezTo>
                    <a:pt x="1493" y="14"/>
                    <a:pt x="1493" y="14"/>
                    <a:pt x="1493" y="14"/>
                  </a:cubicBezTo>
                  <a:cubicBezTo>
                    <a:pt x="1493" y="14"/>
                    <a:pt x="1493" y="14"/>
                    <a:pt x="1493" y="14"/>
                  </a:cubicBezTo>
                  <a:cubicBezTo>
                    <a:pt x="1493" y="14"/>
                    <a:pt x="1492" y="14"/>
                    <a:pt x="1492" y="14"/>
                  </a:cubicBezTo>
                  <a:cubicBezTo>
                    <a:pt x="1492" y="14"/>
                    <a:pt x="1492" y="14"/>
                    <a:pt x="1492" y="14"/>
                  </a:cubicBezTo>
                  <a:cubicBezTo>
                    <a:pt x="1492" y="14"/>
                    <a:pt x="1492" y="14"/>
                    <a:pt x="1492" y="15"/>
                  </a:cubicBezTo>
                  <a:cubicBezTo>
                    <a:pt x="1492" y="15"/>
                    <a:pt x="1492" y="15"/>
                    <a:pt x="1492" y="15"/>
                  </a:cubicBezTo>
                  <a:cubicBezTo>
                    <a:pt x="1491" y="15"/>
                    <a:pt x="1491" y="15"/>
                    <a:pt x="1491" y="15"/>
                  </a:cubicBezTo>
                  <a:cubicBezTo>
                    <a:pt x="1491" y="15"/>
                    <a:pt x="1491" y="15"/>
                    <a:pt x="1491" y="15"/>
                  </a:cubicBezTo>
                  <a:cubicBezTo>
                    <a:pt x="1491" y="15"/>
                    <a:pt x="1490" y="15"/>
                    <a:pt x="1490" y="15"/>
                  </a:cubicBezTo>
                  <a:cubicBezTo>
                    <a:pt x="1490" y="15"/>
                    <a:pt x="1490" y="15"/>
                    <a:pt x="1490" y="15"/>
                  </a:cubicBezTo>
                  <a:cubicBezTo>
                    <a:pt x="1490" y="15"/>
                    <a:pt x="1490" y="15"/>
                    <a:pt x="1489" y="16"/>
                  </a:cubicBezTo>
                  <a:cubicBezTo>
                    <a:pt x="1490" y="16"/>
                    <a:pt x="1490" y="16"/>
                    <a:pt x="1490" y="16"/>
                  </a:cubicBezTo>
                  <a:cubicBezTo>
                    <a:pt x="1489" y="16"/>
                    <a:pt x="1489" y="16"/>
                    <a:pt x="1489" y="16"/>
                  </a:cubicBezTo>
                  <a:cubicBezTo>
                    <a:pt x="1489" y="16"/>
                    <a:pt x="1489" y="16"/>
                    <a:pt x="1489" y="16"/>
                  </a:cubicBezTo>
                  <a:cubicBezTo>
                    <a:pt x="1489" y="16"/>
                    <a:pt x="1488" y="16"/>
                    <a:pt x="1488" y="16"/>
                  </a:cubicBezTo>
                  <a:cubicBezTo>
                    <a:pt x="1488" y="16"/>
                    <a:pt x="1488" y="16"/>
                    <a:pt x="1488" y="16"/>
                  </a:cubicBezTo>
                  <a:cubicBezTo>
                    <a:pt x="1488" y="16"/>
                    <a:pt x="1488" y="16"/>
                    <a:pt x="1487" y="17"/>
                  </a:cubicBezTo>
                  <a:cubicBezTo>
                    <a:pt x="1487" y="17"/>
                    <a:pt x="1487" y="17"/>
                    <a:pt x="1487" y="17"/>
                  </a:cubicBezTo>
                  <a:cubicBezTo>
                    <a:pt x="1487" y="17"/>
                    <a:pt x="1487" y="17"/>
                    <a:pt x="1487" y="17"/>
                  </a:cubicBezTo>
                  <a:cubicBezTo>
                    <a:pt x="1487" y="17"/>
                    <a:pt x="1487" y="17"/>
                    <a:pt x="1487" y="17"/>
                  </a:cubicBezTo>
                  <a:cubicBezTo>
                    <a:pt x="1486" y="17"/>
                    <a:pt x="1486" y="17"/>
                    <a:pt x="1486" y="17"/>
                  </a:cubicBezTo>
                  <a:cubicBezTo>
                    <a:pt x="1486" y="17"/>
                    <a:pt x="1486" y="17"/>
                    <a:pt x="1486" y="17"/>
                  </a:cubicBezTo>
                  <a:cubicBezTo>
                    <a:pt x="1486" y="17"/>
                    <a:pt x="1486" y="17"/>
                    <a:pt x="1486" y="17"/>
                  </a:cubicBezTo>
                  <a:cubicBezTo>
                    <a:pt x="1486" y="17"/>
                    <a:pt x="1485" y="17"/>
                    <a:pt x="1485" y="18"/>
                  </a:cubicBezTo>
                  <a:cubicBezTo>
                    <a:pt x="1485" y="18"/>
                    <a:pt x="1485" y="18"/>
                    <a:pt x="1485" y="18"/>
                  </a:cubicBezTo>
                  <a:cubicBezTo>
                    <a:pt x="1485" y="18"/>
                    <a:pt x="1484" y="18"/>
                    <a:pt x="1484" y="18"/>
                  </a:cubicBezTo>
                  <a:cubicBezTo>
                    <a:pt x="1484" y="18"/>
                    <a:pt x="1484" y="18"/>
                    <a:pt x="1484" y="18"/>
                  </a:cubicBezTo>
                  <a:cubicBezTo>
                    <a:pt x="1484" y="18"/>
                    <a:pt x="1484" y="18"/>
                    <a:pt x="1484" y="18"/>
                  </a:cubicBezTo>
                  <a:cubicBezTo>
                    <a:pt x="1483" y="18"/>
                    <a:pt x="1483" y="18"/>
                    <a:pt x="1483" y="18"/>
                  </a:cubicBezTo>
                  <a:cubicBezTo>
                    <a:pt x="1483" y="18"/>
                    <a:pt x="1483" y="18"/>
                    <a:pt x="1482" y="19"/>
                  </a:cubicBezTo>
                  <a:cubicBezTo>
                    <a:pt x="1482" y="19"/>
                    <a:pt x="1482" y="19"/>
                    <a:pt x="1482" y="19"/>
                  </a:cubicBezTo>
                  <a:cubicBezTo>
                    <a:pt x="1482" y="19"/>
                    <a:pt x="1482" y="19"/>
                    <a:pt x="1481" y="19"/>
                  </a:cubicBezTo>
                  <a:cubicBezTo>
                    <a:pt x="1481" y="19"/>
                    <a:pt x="1481" y="19"/>
                    <a:pt x="1481" y="19"/>
                  </a:cubicBezTo>
                  <a:cubicBezTo>
                    <a:pt x="1481" y="19"/>
                    <a:pt x="1481" y="19"/>
                    <a:pt x="1480" y="19"/>
                  </a:cubicBezTo>
                  <a:cubicBezTo>
                    <a:pt x="1480" y="19"/>
                    <a:pt x="1480" y="19"/>
                    <a:pt x="1480" y="19"/>
                  </a:cubicBezTo>
                  <a:cubicBezTo>
                    <a:pt x="1480" y="20"/>
                    <a:pt x="1480" y="19"/>
                    <a:pt x="1479" y="20"/>
                  </a:cubicBezTo>
                  <a:cubicBezTo>
                    <a:pt x="1479" y="20"/>
                    <a:pt x="1479" y="20"/>
                    <a:pt x="1479" y="20"/>
                  </a:cubicBezTo>
                  <a:cubicBezTo>
                    <a:pt x="1479" y="20"/>
                    <a:pt x="1479" y="20"/>
                    <a:pt x="1478" y="20"/>
                  </a:cubicBezTo>
                  <a:cubicBezTo>
                    <a:pt x="1478" y="20"/>
                    <a:pt x="1478" y="20"/>
                    <a:pt x="1478" y="20"/>
                  </a:cubicBezTo>
                  <a:cubicBezTo>
                    <a:pt x="1478" y="20"/>
                    <a:pt x="1477" y="20"/>
                    <a:pt x="1477" y="21"/>
                  </a:cubicBezTo>
                  <a:cubicBezTo>
                    <a:pt x="1477" y="24"/>
                    <a:pt x="1477" y="28"/>
                    <a:pt x="1477" y="31"/>
                  </a:cubicBezTo>
                  <a:cubicBezTo>
                    <a:pt x="1478" y="32"/>
                    <a:pt x="1478" y="31"/>
                    <a:pt x="1479" y="31"/>
                  </a:cubicBezTo>
                  <a:cubicBezTo>
                    <a:pt x="1479" y="31"/>
                    <a:pt x="1479" y="31"/>
                    <a:pt x="1479" y="31"/>
                  </a:cubicBezTo>
                  <a:cubicBezTo>
                    <a:pt x="1479" y="31"/>
                    <a:pt x="1479" y="31"/>
                    <a:pt x="1480" y="31"/>
                  </a:cubicBezTo>
                  <a:cubicBezTo>
                    <a:pt x="1480" y="31"/>
                    <a:pt x="1480" y="31"/>
                    <a:pt x="1480" y="31"/>
                  </a:cubicBezTo>
                  <a:cubicBezTo>
                    <a:pt x="1480" y="31"/>
                    <a:pt x="1480" y="31"/>
                    <a:pt x="1480" y="31"/>
                  </a:cubicBezTo>
                  <a:cubicBezTo>
                    <a:pt x="1480" y="31"/>
                    <a:pt x="1481" y="31"/>
                    <a:pt x="1481" y="31"/>
                  </a:cubicBezTo>
                  <a:cubicBezTo>
                    <a:pt x="1481" y="30"/>
                    <a:pt x="1481" y="30"/>
                    <a:pt x="1481" y="30"/>
                  </a:cubicBezTo>
                  <a:cubicBezTo>
                    <a:pt x="1481" y="30"/>
                    <a:pt x="1481" y="30"/>
                    <a:pt x="1481" y="30"/>
                  </a:cubicBezTo>
                  <a:cubicBezTo>
                    <a:pt x="1481" y="30"/>
                    <a:pt x="1482" y="30"/>
                    <a:pt x="1482" y="30"/>
                  </a:cubicBezTo>
                  <a:cubicBezTo>
                    <a:pt x="1482" y="30"/>
                    <a:pt x="1482" y="30"/>
                    <a:pt x="1482" y="30"/>
                  </a:cubicBezTo>
                  <a:cubicBezTo>
                    <a:pt x="1482" y="30"/>
                    <a:pt x="1483" y="30"/>
                    <a:pt x="1483" y="30"/>
                  </a:cubicBezTo>
                  <a:cubicBezTo>
                    <a:pt x="1483" y="30"/>
                    <a:pt x="1483" y="30"/>
                    <a:pt x="1483" y="30"/>
                  </a:cubicBezTo>
                  <a:cubicBezTo>
                    <a:pt x="1483" y="30"/>
                    <a:pt x="1483" y="30"/>
                    <a:pt x="1484" y="29"/>
                  </a:cubicBezTo>
                  <a:cubicBezTo>
                    <a:pt x="1484" y="29"/>
                    <a:pt x="1484" y="29"/>
                    <a:pt x="1484" y="29"/>
                  </a:cubicBezTo>
                  <a:cubicBezTo>
                    <a:pt x="1484" y="29"/>
                    <a:pt x="1484" y="29"/>
                    <a:pt x="1484" y="29"/>
                  </a:cubicBezTo>
                  <a:cubicBezTo>
                    <a:pt x="1484" y="29"/>
                    <a:pt x="1484" y="29"/>
                    <a:pt x="1485" y="29"/>
                  </a:cubicBezTo>
                  <a:cubicBezTo>
                    <a:pt x="1485" y="29"/>
                    <a:pt x="1485" y="29"/>
                    <a:pt x="1485" y="29"/>
                  </a:cubicBezTo>
                  <a:cubicBezTo>
                    <a:pt x="1485" y="29"/>
                    <a:pt x="1485" y="29"/>
                    <a:pt x="1485" y="29"/>
                  </a:cubicBezTo>
                  <a:cubicBezTo>
                    <a:pt x="1485" y="29"/>
                    <a:pt x="1485" y="29"/>
                    <a:pt x="1485" y="29"/>
                  </a:cubicBezTo>
                  <a:cubicBezTo>
                    <a:pt x="1485" y="29"/>
                    <a:pt x="1486" y="29"/>
                    <a:pt x="1486" y="28"/>
                  </a:cubicBezTo>
                  <a:cubicBezTo>
                    <a:pt x="1486" y="28"/>
                    <a:pt x="1486" y="28"/>
                    <a:pt x="1486" y="28"/>
                  </a:cubicBezTo>
                  <a:cubicBezTo>
                    <a:pt x="1486" y="28"/>
                    <a:pt x="1486" y="28"/>
                    <a:pt x="1486" y="28"/>
                  </a:cubicBezTo>
                  <a:cubicBezTo>
                    <a:pt x="1486" y="28"/>
                    <a:pt x="1487" y="28"/>
                    <a:pt x="1487" y="28"/>
                  </a:cubicBezTo>
                  <a:close/>
                  <a:moveTo>
                    <a:pt x="211" y="46"/>
                  </a:moveTo>
                  <a:cubicBezTo>
                    <a:pt x="211" y="42"/>
                    <a:pt x="211" y="39"/>
                    <a:pt x="211" y="36"/>
                  </a:cubicBezTo>
                  <a:cubicBezTo>
                    <a:pt x="211" y="34"/>
                    <a:pt x="211" y="34"/>
                    <a:pt x="210" y="34"/>
                  </a:cubicBezTo>
                  <a:cubicBezTo>
                    <a:pt x="208" y="34"/>
                    <a:pt x="205" y="34"/>
                    <a:pt x="203" y="34"/>
                  </a:cubicBezTo>
                  <a:cubicBezTo>
                    <a:pt x="200" y="34"/>
                    <a:pt x="201" y="34"/>
                    <a:pt x="201" y="36"/>
                  </a:cubicBezTo>
                  <a:cubicBezTo>
                    <a:pt x="201" y="57"/>
                    <a:pt x="201" y="78"/>
                    <a:pt x="201" y="99"/>
                  </a:cubicBezTo>
                  <a:cubicBezTo>
                    <a:pt x="201" y="100"/>
                    <a:pt x="201" y="100"/>
                    <a:pt x="201" y="100"/>
                  </a:cubicBezTo>
                  <a:cubicBezTo>
                    <a:pt x="201" y="101"/>
                    <a:pt x="201" y="101"/>
                    <a:pt x="202" y="101"/>
                  </a:cubicBezTo>
                  <a:cubicBezTo>
                    <a:pt x="205" y="101"/>
                    <a:pt x="207" y="101"/>
                    <a:pt x="210" y="101"/>
                  </a:cubicBezTo>
                  <a:cubicBezTo>
                    <a:pt x="212" y="101"/>
                    <a:pt x="211" y="102"/>
                    <a:pt x="211" y="100"/>
                  </a:cubicBezTo>
                  <a:cubicBezTo>
                    <a:pt x="211" y="89"/>
                    <a:pt x="211" y="78"/>
                    <a:pt x="211" y="68"/>
                  </a:cubicBezTo>
                  <a:cubicBezTo>
                    <a:pt x="211" y="65"/>
                    <a:pt x="212" y="63"/>
                    <a:pt x="212" y="60"/>
                  </a:cubicBezTo>
                  <a:cubicBezTo>
                    <a:pt x="213" y="55"/>
                    <a:pt x="214" y="51"/>
                    <a:pt x="218" y="47"/>
                  </a:cubicBezTo>
                  <a:cubicBezTo>
                    <a:pt x="220" y="44"/>
                    <a:pt x="224" y="43"/>
                    <a:pt x="228" y="43"/>
                  </a:cubicBezTo>
                  <a:cubicBezTo>
                    <a:pt x="230" y="43"/>
                    <a:pt x="233" y="44"/>
                    <a:pt x="236" y="45"/>
                  </a:cubicBezTo>
                  <a:cubicBezTo>
                    <a:pt x="236" y="42"/>
                    <a:pt x="236" y="39"/>
                    <a:pt x="236" y="35"/>
                  </a:cubicBezTo>
                  <a:cubicBezTo>
                    <a:pt x="236" y="34"/>
                    <a:pt x="236" y="34"/>
                    <a:pt x="234" y="34"/>
                  </a:cubicBezTo>
                  <a:cubicBezTo>
                    <a:pt x="227" y="32"/>
                    <a:pt x="221" y="34"/>
                    <a:pt x="216" y="40"/>
                  </a:cubicBezTo>
                  <a:cubicBezTo>
                    <a:pt x="214" y="42"/>
                    <a:pt x="213" y="44"/>
                    <a:pt x="212" y="46"/>
                  </a:cubicBezTo>
                  <a:cubicBezTo>
                    <a:pt x="212" y="47"/>
                    <a:pt x="212" y="47"/>
                    <a:pt x="212" y="48"/>
                  </a:cubicBezTo>
                  <a:cubicBezTo>
                    <a:pt x="211" y="47"/>
                    <a:pt x="211" y="46"/>
                    <a:pt x="211" y="46"/>
                  </a:cubicBezTo>
                  <a:close/>
                  <a:moveTo>
                    <a:pt x="1289" y="58"/>
                  </a:moveTo>
                  <a:cubicBezTo>
                    <a:pt x="1289" y="58"/>
                    <a:pt x="1289" y="58"/>
                    <a:pt x="1289" y="58"/>
                  </a:cubicBezTo>
                  <a:cubicBezTo>
                    <a:pt x="1289" y="58"/>
                    <a:pt x="1289" y="57"/>
                    <a:pt x="1289" y="57"/>
                  </a:cubicBezTo>
                  <a:cubicBezTo>
                    <a:pt x="1289" y="57"/>
                    <a:pt x="1289" y="57"/>
                    <a:pt x="1289" y="57"/>
                  </a:cubicBezTo>
                  <a:cubicBezTo>
                    <a:pt x="1290" y="56"/>
                    <a:pt x="1289" y="56"/>
                    <a:pt x="1290" y="56"/>
                  </a:cubicBezTo>
                  <a:cubicBezTo>
                    <a:pt x="1290" y="56"/>
                    <a:pt x="1290" y="56"/>
                    <a:pt x="1290" y="56"/>
                  </a:cubicBezTo>
                  <a:cubicBezTo>
                    <a:pt x="1290" y="55"/>
                    <a:pt x="1290" y="55"/>
                    <a:pt x="1290" y="55"/>
                  </a:cubicBezTo>
                  <a:cubicBezTo>
                    <a:pt x="1290" y="55"/>
                    <a:pt x="1290" y="55"/>
                    <a:pt x="1290" y="55"/>
                  </a:cubicBezTo>
                  <a:cubicBezTo>
                    <a:pt x="1290" y="54"/>
                    <a:pt x="1290" y="54"/>
                    <a:pt x="1290" y="54"/>
                  </a:cubicBezTo>
                  <a:cubicBezTo>
                    <a:pt x="1290" y="54"/>
                    <a:pt x="1290" y="54"/>
                    <a:pt x="1290" y="54"/>
                  </a:cubicBezTo>
                  <a:cubicBezTo>
                    <a:pt x="1291" y="54"/>
                    <a:pt x="1291" y="53"/>
                    <a:pt x="1291" y="53"/>
                  </a:cubicBezTo>
                  <a:cubicBezTo>
                    <a:pt x="1291" y="53"/>
                    <a:pt x="1291" y="53"/>
                    <a:pt x="1291" y="53"/>
                  </a:cubicBezTo>
                  <a:cubicBezTo>
                    <a:pt x="1291" y="53"/>
                    <a:pt x="1291" y="53"/>
                    <a:pt x="1291" y="52"/>
                  </a:cubicBezTo>
                  <a:cubicBezTo>
                    <a:pt x="1291" y="52"/>
                    <a:pt x="1291" y="52"/>
                    <a:pt x="1291" y="52"/>
                  </a:cubicBezTo>
                  <a:cubicBezTo>
                    <a:pt x="1291" y="52"/>
                    <a:pt x="1291" y="52"/>
                    <a:pt x="1291" y="52"/>
                  </a:cubicBezTo>
                  <a:cubicBezTo>
                    <a:pt x="1291" y="52"/>
                    <a:pt x="1291" y="52"/>
                    <a:pt x="1291" y="52"/>
                  </a:cubicBezTo>
                  <a:cubicBezTo>
                    <a:pt x="1292" y="52"/>
                    <a:pt x="1292" y="51"/>
                    <a:pt x="1292" y="51"/>
                  </a:cubicBezTo>
                  <a:cubicBezTo>
                    <a:pt x="1292" y="51"/>
                    <a:pt x="1292" y="51"/>
                    <a:pt x="1292" y="51"/>
                  </a:cubicBezTo>
                  <a:cubicBezTo>
                    <a:pt x="1292" y="51"/>
                    <a:pt x="1292" y="51"/>
                    <a:pt x="1292" y="50"/>
                  </a:cubicBezTo>
                  <a:cubicBezTo>
                    <a:pt x="1292" y="50"/>
                    <a:pt x="1292" y="50"/>
                    <a:pt x="1292" y="50"/>
                  </a:cubicBezTo>
                  <a:cubicBezTo>
                    <a:pt x="1292" y="50"/>
                    <a:pt x="1292" y="50"/>
                    <a:pt x="1292" y="50"/>
                  </a:cubicBezTo>
                  <a:cubicBezTo>
                    <a:pt x="1292" y="50"/>
                    <a:pt x="1292" y="50"/>
                    <a:pt x="1292" y="50"/>
                  </a:cubicBezTo>
                  <a:cubicBezTo>
                    <a:pt x="1293" y="50"/>
                    <a:pt x="1293" y="49"/>
                    <a:pt x="1293" y="49"/>
                  </a:cubicBezTo>
                  <a:cubicBezTo>
                    <a:pt x="1293" y="49"/>
                    <a:pt x="1293" y="49"/>
                    <a:pt x="1293" y="49"/>
                  </a:cubicBezTo>
                  <a:cubicBezTo>
                    <a:pt x="1293" y="49"/>
                    <a:pt x="1293" y="49"/>
                    <a:pt x="1293" y="49"/>
                  </a:cubicBezTo>
                  <a:cubicBezTo>
                    <a:pt x="1293" y="49"/>
                    <a:pt x="1293" y="49"/>
                    <a:pt x="1293" y="49"/>
                  </a:cubicBezTo>
                  <a:cubicBezTo>
                    <a:pt x="1293" y="49"/>
                    <a:pt x="1293" y="49"/>
                    <a:pt x="1293" y="48"/>
                  </a:cubicBezTo>
                  <a:cubicBezTo>
                    <a:pt x="1293" y="49"/>
                    <a:pt x="1293" y="49"/>
                    <a:pt x="1293" y="49"/>
                  </a:cubicBezTo>
                  <a:cubicBezTo>
                    <a:pt x="1294" y="48"/>
                    <a:pt x="1294" y="48"/>
                    <a:pt x="1294" y="48"/>
                  </a:cubicBezTo>
                  <a:cubicBezTo>
                    <a:pt x="1294" y="48"/>
                    <a:pt x="1294" y="48"/>
                    <a:pt x="1294" y="48"/>
                  </a:cubicBezTo>
                  <a:cubicBezTo>
                    <a:pt x="1294" y="48"/>
                    <a:pt x="1294" y="48"/>
                    <a:pt x="1294" y="48"/>
                  </a:cubicBezTo>
                  <a:cubicBezTo>
                    <a:pt x="1294" y="48"/>
                    <a:pt x="1294" y="48"/>
                    <a:pt x="1294" y="48"/>
                  </a:cubicBezTo>
                  <a:cubicBezTo>
                    <a:pt x="1294" y="47"/>
                    <a:pt x="1294"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6"/>
                    <a:pt x="1295" y="46"/>
                    <a:pt x="1296" y="46"/>
                  </a:cubicBezTo>
                  <a:cubicBezTo>
                    <a:pt x="1296" y="46"/>
                    <a:pt x="1296" y="46"/>
                    <a:pt x="1296" y="46"/>
                  </a:cubicBezTo>
                  <a:cubicBezTo>
                    <a:pt x="1296" y="46"/>
                    <a:pt x="1296" y="46"/>
                    <a:pt x="1296" y="46"/>
                  </a:cubicBezTo>
                  <a:cubicBezTo>
                    <a:pt x="1296" y="46"/>
                    <a:pt x="1296" y="46"/>
                    <a:pt x="1296" y="46"/>
                  </a:cubicBezTo>
                  <a:cubicBezTo>
                    <a:pt x="1296" y="46"/>
                    <a:pt x="1296" y="46"/>
                    <a:pt x="1297" y="45"/>
                  </a:cubicBezTo>
                  <a:cubicBezTo>
                    <a:pt x="1297" y="45"/>
                    <a:pt x="1297" y="45"/>
                    <a:pt x="1297" y="45"/>
                  </a:cubicBezTo>
                  <a:cubicBezTo>
                    <a:pt x="1297" y="45"/>
                    <a:pt x="1297" y="45"/>
                    <a:pt x="1297" y="45"/>
                  </a:cubicBezTo>
                  <a:cubicBezTo>
                    <a:pt x="1297" y="45"/>
                    <a:pt x="1297" y="45"/>
                    <a:pt x="1297" y="45"/>
                  </a:cubicBezTo>
                  <a:cubicBezTo>
                    <a:pt x="1297" y="45"/>
                    <a:pt x="1297" y="45"/>
                    <a:pt x="1298" y="45"/>
                  </a:cubicBezTo>
                  <a:cubicBezTo>
                    <a:pt x="1298" y="45"/>
                    <a:pt x="1298" y="45"/>
                    <a:pt x="1298" y="45"/>
                  </a:cubicBezTo>
                  <a:cubicBezTo>
                    <a:pt x="1298" y="45"/>
                    <a:pt x="1298" y="45"/>
                    <a:pt x="1298" y="44"/>
                  </a:cubicBezTo>
                  <a:cubicBezTo>
                    <a:pt x="1298" y="44"/>
                    <a:pt x="1298" y="44"/>
                    <a:pt x="1298" y="44"/>
                  </a:cubicBezTo>
                  <a:cubicBezTo>
                    <a:pt x="1299" y="44"/>
                    <a:pt x="1299" y="44"/>
                    <a:pt x="1299" y="44"/>
                  </a:cubicBezTo>
                  <a:cubicBezTo>
                    <a:pt x="1299" y="44"/>
                    <a:pt x="1299" y="44"/>
                    <a:pt x="1299" y="44"/>
                  </a:cubicBezTo>
                  <a:cubicBezTo>
                    <a:pt x="1299" y="44"/>
                    <a:pt x="1300" y="44"/>
                    <a:pt x="1300" y="44"/>
                  </a:cubicBezTo>
                  <a:cubicBezTo>
                    <a:pt x="1300" y="44"/>
                    <a:pt x="1300" y="44"/>
                    <a:pt x="1300" y="44"/>
                  </a:cubicBezTo>
                  <a:cubicBezTo>
                    <a:pt x="1300" y="44"/>
                    <a:pt x="1300" y="44"/>
                    <a:pt x="1300" y="44"/>
                  </a:cubicBezTo>
                  <a:cubicBezTo>
                    <a:pt x="1301" y="44"/>
                    <a:pt x="1301" y="44"/>
                    <a:pt x="1301" y="43"/>
                  </a:cubicBezTo>
                  <a:cubicBezTo>
                    <a:pt x="1302" y="43"/>
                    <a:pt x="1302" y="43"/>
                    <a:pt x="1302" y="43"/>
                  </a:cubicBezTo>
                  <a:cubicBezTo>
                    <a:pt x="1302" y="43"/>
                    <a:pt x="1302" y="43"/>
                    <a:pt x="1302" y="43"/>
                  </a:cubicBezTo>
                  <a:cubicBezTo>
                    <a:pt x="1303" y="43"/>
                    <a:pt x="1305" y="43"/>
                    <a:pt x="1307" y="43"/>
                  </a:cubicBezTo>
                  <a:cubicBezTo>
                    <a:pt x="1307" y="43"/>
                    <a:pt x="1307" y="43"/>
                    <a:pt x="1307" y="43"/>
                  </a:cubicBezTo>
                  <a:cubicBezTo>
                    <a:pt x="1308" y="44"/>
                    <a:pt x="1308" y="43"/>
                    <a:pt x="1309" y="44"/>
                  </a:cubicBezTo>
                  <a:cubicBezTo>
                    <a:pt x="1309" y="44"/>
                    <a:pt x="1309" y="44"/>
                    <a:pt x="1309" y="44"/>
                  </a:cubicBezTo>
                  <a:cubicBezTo>
                    <a:pt x="1309" y="44"/>
                    <a:pt x="1309" y="44"/>
                    <a:pt x="1309" y="44"/>
                  </a:cubicBezTo>
                  <a:cubicBezTo>
                    <a:pt x="1309" y="44"/>
                    <a:pt x="1309" y="44"/>
                    <a:pt x="1310" y="44"/>
                  </a:cubicBezTo>
                  <a:cubicBezTo>
                    <a:pt x="1310" y="44"/>
                    <a:pt x="1310" y="44"/>
                    <a:pt x="1310" y="44"/>
                  </a:cubicBezTo>
                  <a:cubicBezTo>
                    <a:pt x="1310" y="44"/>
                    <a:pt x="1310" y="44"/>
                    <a:pt x="1310" y="44"/>
                  </a:cubicBezTo>
                  <a:cubicBezTo>
                    <a:pt x="1310" y="44"/>
                    <a:pt x="1310" y="44"/>
                    <a:pt x="1311" y="44"/>
                  </a:cubicBezTo>
                  <a:cubicBezTo>
                    <a:pt x="1311" y="44"/>
                    <a:pt x="1311" y="44"/>
                    <a:pt x="1311" y="44"/>
                  </a:cubicBezTo>
                  <a:cubicBezTo>
                    <a:pt x="1311" y="45"/>
                    <a:pt x="1311" y="45"/>
                    <a:pt x="1311" y="45"/>
                  </a:cubicBezTo>
                  <a:cubicBezTo>
                    <a:pt x="1311" y="45"/>
                    <a:pt x="1311" y="45"/>
                    <a:pt x="1311" y="45"/>
                  </a:cubicBezTo>
                  <a:cubicBezTo>
                    <a:pt x="1311" y="45"/>
                    <a:pt x="1311" y="45"/>
                    <a:pt x="1312" y="45"/>
                  </a:cubicBezTo>
                  <a:cubicBezTo>
                    <a:pt x="1312" y="45"/>
                    <a:pt x="1312" y="45"/>
                    <a:pt x="1312" y="45"/>
                  </a:cubicBezTo>
                  <a:cubicBezTo>
                    <a:pt x="1312" y="45"/>
                    <a:pt x="1312" y="45"/>
                    <a:pt x="1312" y="45"/>
                  </a:cubicBezTo>
                  <a:cubicBezTo>
                    <a:pt x="1312" y="41"/>
                    <a:pt x="1312" y="38"/>
                    <a:pt x="1312" y="34"/>
                  </a:cubicBezTo>
                  <a:cubicBezTo>
                    <a:pt x="1312" y="34"/>
                    <a:pt x="1312" y="34"/>
                    <a:pt x="1311" y="34"/>
                  </a:cubicBezTo>
                  <a:cubicBezTo>
                    <a:pt x="1311" y="34"/>
                    <a:pt x="1311" y="34"/>
                    <a:pt x="1311" y="34"/>
                  </a:cubicBezTo>
                  <a:cubicBezTo>
                    <a:pt x="1311" y="33"/>
                    <a:pt x="1310" y="34"/>
                    <a:pt x="1310" y="33"/>
                  </a:cubicBezTo>
                  <a:cubicBezTo>
                    <a:pt x="1310" y="33"/>
                    <a:pt x="1310" y="33"/>
                    <a:pt x="1309" y="33"/>
                  </a:cubicBezTo>
                  <a:cubicBezTo>
                    <a:pt x="1307" y="33"/>
                    <a:pt x="1305" y="33"/>
                    <a:pt x="1303" y="33"/>
                  </a:cubicBezTo>
                  <a:cubicBezTo>
                    <a:pt x="1302" y="33"/>
                    <a:pt x="1302" y="33"/>
                    <a:pt x="1302" y="33"/>
                  </a:cubicBezTo>
                  <a:cubicBezTo>
                    <a:pt x="1302" y="33"/>
                    <a:pt x="1302" y="33"/>
                    <a:pt x="1302" y="33"/>
                  </a:cubicBezTo>
                  <a:cubicBezTo>
                    <a:pt x="1302" y="34"/>
                    <a:pt x="1301" y="33"/>
                    <a:pt x="1301" y="34"/>
                  </a:cubicBezTo>
                  <a:cubicBezTo>
                    <a:pt x="1301" y="34"/>
                    <a:pt x="1301" y="34"/>
                    <a:pt x="1301" y="34"/>
                  </a:cubicBezTo>
                  <a:cubicBezTo>
                    <a:pt x="1301" y="34"/>
                    <a:pt x="1301" y="34"/>
                    <a:pt x="1301" y="34"/>
                  </a:cubicBezTo>
                  <a:cubicBezTo>
                    <a:pt x="1301" y="34"/>
                    <a:pt x="1300" y="34"/>
                    <a:pt x="1300" y="34"/>
                  </a:cubicBezTo>
                  <a:cubicBezTo>
                    <a:pt x="1300" y="34"/>
                    <a:pt x="1300" y="34"/>
                    <a:pt x="1300" y="34"/>
                  </a:cubicBezTo>
                  <a:cubicBezTo>
                    <a:pt x="1300" y="34"/>
                    <a:pt x="1300" y="34"/>
                    <a:pt x="1300" y="34"/>
                  </a:cubicBezTo>
                  <a:cubicBezTo>
                    <a:pt x="1300" y="34"/>
                    <a:pt x="1299" y="34"/>
                    <a:pt x="1299" y="34"/>
                  </a:cubicBezTo>
                  <a:cubicBezTo>
                    <a:pt x="1299" y="34"/>
                    <a:pt x="1299" y="34"/>
                    <a:pt x="1299" y="34"/>
                  </a:cubicBezTo>
                  <a:cubicBezTo>
                    <a:pt x="1299" y="35"/>
                    <a:pt x="1299" y="34"/>
                    <a:pt x="1298" y="35"/>
                  </a:cubicBezTo>
                  <a:cubicBezTo>
                    <a:pt x="1298" y="35"/>
                    <a:pt x="1298" y="35"/>
                    <a:pt x="1298" y="35"/>
                  </a:cubicBezTo>
                  <a:cubicBezTo>
                    <a:pt x="1298" y="35"/>
                    <a:pt x="1298" y="35"/>
                    <a:pt x="1298" y="35"/>
                  </a:cubicBezTo>
                  <a:cubicBezTo>
                    <a:pt x="1298" y="35"/>
                    <a:pt x="1298" y="35"/>
                    <a:pt x="1298" y="35"/>
                  </a:cubicBezTo>
                  <a:cubicBezTo>
                    <a:pt x="1298" y="35"/>
                    <a:pt x="1297" y="35"/>
                    <a:pt x="1297" y="35"/>
                  </a:cubicBezTo>
                  <a:cubicBezTo>
                    <a:pt x="1297" y="35"/>
                    <a:pt x="1297" y="35"/>
                    <a:pt x="1297" y="35"/>
                  </a:cubicBezTo>
                  <a:cubicBezTo>
                    <a:pt x="1297" y="36"/>
                    <a:pt x="1297" y="36"/>
                    <a:pt x="1297" y="36"/>
                  </a:cubicBezTo>
                  <a:cubicBezTo>
                    <a:pt x="1297" y="36"/>
                    <a:pt x="1297" y="36"/>
                    <a:pt x="1297" y="36"/>
                  </a:cubicBezTo>
                  <a:cubicBezTo>
                    <a:pt x="1296" y="36"/>
                    <a:pt x="1296" y="36"/>
                    <a:pt x="1296" y="36"/>
                  </a:cubicBezTo>
                  <a:cubicBezTo>
                    <a:pt x="1296" y="36"/>
                    <a:pt x="1296" y="36"/>
                    <a:pt x="1296" y="36"/>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4" y="38"/>
                    <a:pt x="1293" y="38"/>
                    <a:pt x="1293" y="39"/>
                  </a:cubicBezTo>
                  <a:cubicBezTo>
                    <a:pt x="1293" y="39"/>
                    <a:pt x="1293" y="39"/>
                    <a:pt x="1293" y="39"/>
                  </a:cubicBezTo>
                  <a:cubicBezTo>
                    <a:pt x="1293" y="39"/>
                    <a:pt x="1293" y="39"/>
                    <a:pt x="1293" y="39"/>
                  </a:cubicBezTo>
                  <a:cubicBezTo>
                    <a:pt x="1293" y="39"/>
                    <a:pt x="1293" y="39"/>
                    <a:pt x="1293" y="39"/>
                  </a:cubicBezTo>
                  <a:cubicBezTo>
                    <a:pt x="1293" y="39"/>
                    <a:pt x="1293" y="39"/>
                    <a:pt x="1292" y="40"/>
                  </a:cubicBezTo>
                  <a:cubicBezTo>
                    <a:pt x="1292" y="40"/>
                    <a:pt x="1292" y="40"/>
                    <a:pt x="1292" y="40"/>
                  </a:cubicBezTo>
                  <a:cubicBezTo>
                    <a:pt x="1292" y="40"/>
                    <a:pt x="1292" y="40"/>
                    <a:pt x="1292" y="40"/>
                  </a:cubicBezTo>
                  <a:cubicBezTo>
                    <a:pt x="1292" y="40"/>
                    <a:pt x="1292" y="40"/>
                    <a:pt x="1292" y="40"/>
                  </a:cubicBezTo>
                  <a:cubicBezTo>
                    <a:pt x="1292" y="40"/>
                    <a:pt x="1292" y="40"/>
                    <a:pt x="1292" y="41"/>
                  </a:cubicBezTo>
                  <a:cubicBezTo>
                    <a:pt x="1292" y="41"/>
                    <a:pt x="1292" y="41"/>
                    <a:pt x="1292" y="41"/>
                  </a:cubicBezTo>
                  <a:cubicBezTo>
                    <a:pt x="1292" y="41"/>
                    <a:pt x="1291" y="41"/>
                    <a:pt x="1291" y="41"/>
                  </a:cubicBezTo>
                  <a:cubicBezTo>
                    <a:pt x="1291" y="41"/>
                    <a:pt x="1291" y="41"/>
                    <a:pt x="1291" y="41"/>
                  </a:cubicBezTo>
                  <a:cubicBezTo>
                    <a:pt x="1291" y="41"/>
                    <a:pt x="1291" y="41"/>
                    <a:pt x="1291" y="42"/>
                  </a:cubicBezTo>
                  <a:cubicBezTo>
                    <a:pt x="1291" y="42"/>
                    <a:pt x="1291" y="42"/>
                    <a:pt x="1291" y="42"/>
                  </a:cubicBezTo>
                  <a:cubicBezTo>
                    <a:pt x="1291" y="42"/>
                    <a:pt x="1291" y="42"/>
                    <a:pt x="1291" y="42"/>
                  </a:cubicBezTo>
                  <a:cubicBezTo>
                    <a:pt x="1291" y="42"/>
                    <a:pt x="1291" y="42"/>
                    <a:pt x="1291" y="42"/>
                  </a:cubicBezTo>
                  <a:cubicBezTo>
                    <a:pt x="1290" y="42"/>
                    <a:pt x="1291" y="43"/>
                    <a:pt x="1290" y="43"/>
                  </a:cubicBezTo>
                  <a:cubicBezTo>
                    <a:pt x="1290" y="43"/>
                    <a:pt x="1290" y="43"/>
                    <a:pt x="1290" y="43"/>
                  </a:cubicBezTo>
                  <a:cubicBezTo>
                    <a:pt x="1290" y="43"/>
                    <a:pt x="1290" y="43"/>
                    <a:pt x="1290" y="43"/>
                  </a:cubicBezTo>
                  <a:cubicBezTo>
                    <a:pt x="1290" y="43"/>
                    <a:pt x="1290" y="43"/>
                    <a:pt x="1290" y="43"/>
                  </a:cubicBezTo>
                  <a:cubicBezTo>
                    <a:pt x="1290" y="44"/>
                    <a:pt x="1290" y="44"/>
                    <a:pt x="1290" y="44"/>
                  </a:cubicBezTo>
                  <a:cubicBezTo>
                    <a:pt x="1290" y="44"/>
                    <a:pt x="1290" y="44"/>
                    <a:pt x="1290" y="44"/>
                  </a:cubicBezTo>
                  <a:cubicBezTo>
                    <a:pt x="1289" y="44"/>
                    <a:pt x="1290" y="45"/>
                    <a:pt x="1289" y="45"/>
                  </a:cubicBezTo>
                  <a:cubicBezTo>
                    <a:pt x="1289" y="45"/>
                    <a:pt x="1289" y="45"/>
                    <a:pt x="1289" y="45"/>
                  </a:cubicBezTo>
                  <a:cubicBezTo>
                    <a:pt x="1289" y="45"/>
                    <a:pt x="1289" y="45"/>
                    <a:pt x="1289" y="45"/>
                  </a:cubicBezTo>
                  <a:cubicBezTo>
                    <a:pt x="1289" y="45"/>
                    <a:pt x="1289" y="45"/>
                    <a:pt x="1289" y="45"/>
                  </a:cubicBezTo>
                  <a:cubicBezTo>
                    <a:pt x="1289" y="46"/>
                    <a:pt x="1289" y="46"/>
                    <a:pt x="1289" y="46"/>
                  </a:cubicBezTo>
                  <a:cubicBezTo>
                    <a:pt x="1289" y="46"/>
                    <a:pt x="1289" y="46"/>
                    <a:pt x="1289" y="46"/>
                  </a:cubicBezTo>
                  <a:cubicBezTo>
                    <a:pt x="1288" y="46"/>
                    <a:pt x="1288" y="45"/>
                    <a:pt x="1288" y="45"/>
                  </a:cubicBez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9"/>
                    <a:pt x="1277" y="100"/>
                  </a:cubicBezTo>
                  <a:cubicBezTo>
                    <a:pt x="1277" y="100"/>
                    <a:pt x="1277" y="100"/>
                    <a:pt x="1277" y="100"/>
                  </a:cubicBezTo>
                  <a:cubicBezTo>
                    <a:pt x="1277" y="101"/>
                    <a:pt x="1277" y="102"/>
                    <a:pt x="1278" y="102"/>
                  </a:cubicBezTo>
                  <a:cubicBezTo>
                    <a:pt x="1281" y="102"/>
                    <a:pt x="1283" y="102"/>
                    <a:pt x="1285" y="102"/>
                  </a:cubicBezTo>
                  <a:cubicBezTo>
                    <a:pt x="1286" y="102"/>
                    <a:pt x="1287" y="102"/>
                    <a:pt x="1288" y="101"/>
                  </a:cubicBezTo>
                  <a:cubicBezTo>
                    <a:pt x="1288" y="101"/>
                    <a:pt x="1288" y="101"/>
                    <a:pt x="1288" y="101"/>
                  </a:cubicBezTo>
                  <a:cubicBezTo>
                    <a:pt x="1288" y="101"/>
                    <a:pt x="1288" y="100"/>
                    <a:pt x="1288" y="100"/>
                  </a:cubicBezTo>
                  <a:cubicBezTo>
                    <a:pt x="1288" y="88"/>
                    <a:pt x="1288" y="76"/>
                    <a:pt x="1288" y="65"/>
                  </a:cubicBezTo>
                  <a:cubicBezTo>
                    <a:pt x="1288" y="64"/>
                    <a:pt x="1288" y="63"/>
                    <a:pt x="1288" y="63"/>
                  </a:cubicBezTo>
                  <a:cubicBezTo>
                    <a:pt x="1288" y="62"/>
                    <a:pt x="1288" y="62"/>
                    <a:pt x="1288" y="62"/>
                  </a:cubicBezTo>
                  <a:cubicBezTo>
                    <a:pt x="1289" y="61"/>
                    <a:pt x="1288" y="61"/>
                    <a:pt x="1289" y="60"/>
                  </a:cubicBezTo>
                  <a:cubicBezTo>
                    <a:pt x="1289" y="60"/>
                    <a:pt x="1289" y="60"/>
                    <a:pt x="1289" y="60"/>
                  </a:cubicBezTo>
                  <a:cubicBezTo>
                    <a:pt x="1289" y="59"/>
                    <a:pt x="1289" y="59"/>
                    <a:pt x="1289" y="58"/>
                  </a:cubicBezTo>
                  <a:close/>
                  <a:moveTo>
                    <a:pt x="126" y="60"/>
                  </a:moveTo>
                  <a:cubicBezTo>
                    <a:pt x="126" y="52"/>
                    <a:pt x="126" y="44"/>
                    <a:pt x="126" y="36"/>
                  </a:cubicBezTo>
                  <a:cubicBezTo>
                    <a:pt x="126" y="34"/>
                    <a:pt x="126" y="34"/>
                    <a:pt x="124" y="34"/>
                  </a:cubicBezTo>
                  <a:cubicBezTo>
                    <a:pt x="122" y="34"/>
                    <a:pt x="120" y="34"/>
                    <a:pt x="117" y="34"/>
                  </a:cubicBezTo>
                  <a:cubicBezTo>
                    <a:pt x="115" y="34"/>
                    <a:pt x="115" y="34"/>
                    <a:pt x="115" y="36"/>
                  </a:cubicBezTo>
                  <a:cubicBezTo>
                    <a:pt x="115" y="57"/>
                    <a:pt x="115" y="78"/>
                    <a:pt x="115" y="100"/>
                  </a:cubicBezTo>
                  <a:cubicBezTo>
                    <a:pt x="115" y="100"/>
                    <a:pt x="115" y="100"/>
                    <a:pt x="115" y="101"/>
                  </a:cubicBezTo>
                  <a:cubicBezTo>
                    <a:pt x="115" y="101"/>
                    <a:pt x="115" y="101"/>
                    <a:pt x="116" y="101"/>
                  </a:cubicBezTo>
                  <a:cubicBezTo>
                    <a:pt x="119" y="101"/>
                    <a:pt x="122" y="101"/>
                    <a:pt x="125" y="101"/>
                  </a:cubicBezTo>
                  <a:cubicBezTo>
                    <a:pt x="126" y="101"/>
                    <a:pt x="126" y="101"/>
                    <a:pt x="126" y="101"/>
                  </a:cubicBezTo>
                  <a:cubicBezTo>
                    <a:pt x="126" y="100"/>
                    <a:pt x="126" y="100"/>
                    <a:pt x="126" y="99"/>
                  </a:cubicBezTo>
                  <a:cubicBezTo>
                    <a:pt x="126" y="89"/>
                    <a:pt x="126" y="78"/>
                    <a:pt x="126" y="68"/>
                  </a:cubicBezTo>
                  <a:cubicBezTo>
                    <a:pt x="126" y="65"/>
                    <a:pt x="126" y="63"/>
                    <a:pt x="126" y="60"/>
                  </a:cubicBezTo>
                  <a:close/>
                  <a:moveTo>
                    <a:pt x="114" y="10"/>
                  </a:moveTo>
                  <a:cubicBezTo>
                    <a:pt x="114" y="14"/>
                    <a:pt x="117" y="17"/>
                    <a:pt x="121" y="17"/>
                  </a:cubicBezTo>
                  <a:cubicBezTo>
                    <a:pt x="125" y="17"/>
                    <a:pt x="128" y="14"/>
                    <a:pt x="128" y="10"/>
                  </a:cubicBezTo>
                  <a:cubicBezTo>
                    <a:pt x="128" y="6"/>
                    <a:pt x="125" y="3"/>
                    <a:pt x="121" y="3"/>
                  </a:cubicBezTo>
                  <a:cubicBezTo>
                    <a:pt x="117" y="3"/>
                    <a:pt x="114" y="6"/>
                    <a:pt x="114" y="10"/>
                  </a:cubicBezTo>
                  <a:close/>
                  <a:moveTo>
                    <a:pt x="1658" y="7"/>
                  </a:moveTo>
                  <a:cubicBezTo>
                    <a:pt x="1649" y="7"/>
                    <a:pt x="1639" y="7"/>
                    <a:pt x="1630" y="7"/>
                  </a:cubicBezTo>
                  <a:cubicBezTo>
                    <a:pt x="1627" y="7"/>
                    <a:pt x="1627" y="7"/>
                    <a:pt x="1627" y="10"/>
                  </a:cubicBezTo>
                  <a:cubicBezTo>
                    <a:pt x="1627" y="39"/>
                    <a:pt x="1627" y="69"/>
                    <a:pt x="1627" y="99"/>
                  </a:cubicBezTo>
                  <a:cubicBezTo>
                    <a:pt x="1627" y="100"/>
                    <a:pt x="1627" y="100"/>
                    <a:pt x="1627" y="100"/>
                  </a:cubicBezTo>
                  <a:cubicBezTo>
                    <a:pt x="1627" y="102"/>
                    <a:pt x="1627" y="102"/>
                    <a:pt x="1629" y="102"/>
                  </a:cubicBezTo>
                  <a:cubicBezTo>
                    <a:pt x="1632" y="102"/>
                    <a:pt x="1634" y="102"/>
                    <a:pt x="1637" y="102"/>
                  </a:cubicBezTo>
                  <a:cubicBezTo>
                    <a:pt x="1639" y="102"/>
                    <a:pt x="1639" y="102"/>
                    <a:pt x="1639" y="101"/>
                  </a:cubicBezTo>
                  <a:cubicBezTo>
                    <a:pt x="1639" y="100"/>
                    <a:pt x="1639" y="100"/>
                    <a:pt x="1639" y="99"/>
                  </a:cubicBezTo>
                  <a:cubicBezTo>
                    <a:pt x="1639" y="87"/>
                    <a:pt x="1639" y="76"/>
                    <a:pt x="1639" y="64"/>
                  </a:cubicBezTo>
                  <a:cubicBezTo>
                    <a:pt x="1639" y="62"/>
                    <a:pt x="1639" y="62"/>
                    <a:pt x="1641" y="62"/>
                  </a:cubicBezTo>
                  <a:cubicBezTo>
                    <a:pt x="1644" y="62"/>
                    <a:pt x="1647" y="62"/>
                    <a:pt x="1650" y="62"/>
                  </a:cubicBezTo>
                  <a:cubicBezTo>
                    <a:pt x="1650" y="62"/>
                    <a:pt x="1650" y="62"/>
                    <a:pt x="1650" y="62"/>
                  </a:cubicBezTo>
                  <a:cubicBezTo>
                    <a:pt x="1647" y="61"/>
                    <a:pt x="1643" y="62"/>
                    <a:pt x="1639" y="61"/>
                  </a:cubicBezTo>
                  <a:cubicBezTo>
                    <a:pt x="1639" y="61"/>
                    <a:pt x="1638" y="62"/>
                    <a:pt x="1639" y="62"/>
                  </a:cubicBezTo>
                  <a:cubicBezTo>
                    <a:pt x="1639" y="63"/>
                    <a:pt x="1638" y="63"/>
                    <a:pt x="1638" y="63"/>
                  </a:cubicBezTo>
                  <a:cubicBezTo>
                    <a:pt x="1638" y="72"/>
                    <a:pt x="1638" y="81"/>
                    <a:pt x="1638" y="90"/>
                  </a:cubicBezTo>
                  <a:cubicBezTo>
                    <a:pt x="1638" y="94"/>
                    <a:pt x="1638" y="97"/>
                    <a:pt x="1639" y="100"/>
                  </a:cubicBezTo>
                  <a:cubicBezTo>
                    <a:pt x="1639" y="101"/>
                    <a:pt x="1638" y="102"/>
                    <a:pt x="1637" y="102"/>
                  </a:cubicBezTo>
                  <a:cubicBezTo>
                    <a:pt x="1635" y="101"/>
                    <a:pt x="1632" y="101"/>
                    <a:pt x="1629" y="101"/>
                  </a:cubicBezTo>
                  <a:cubicBezTo>
                    <a:pt x="1627" y="101"/>
                    <a:pt x="1627" y="102"/>
                    <a:pt x="1627" y="100"/>
                  </a:cubicBezTo>
                  <a:cubicBezTo>
                    <a:pt x="1627" y="69"/>
                    <a:pt x="1627" y="39"/>
                    <a:pt x="1627" y="9"/>
                  </a:cubicBezTo>
                  <a:cubicBezTo>
                    <a:pt x="1627" y="7"/>
                    <a:pt x="1627" y="7"/>
                    <a:pt x="1629" y="7"/>
                  </a:cubicBezTo>
                  <a:cubicBezTo>
                    <a:pt x="1640" y="7"/>
                    <a:pt x="1650" y="7"/>
                    <a:pt x="1660" y="8"/>
                  </a:cubicBezTo>
                  <a:cubicBezTo>
                    <a:pt x="1659" y="7"/>
                    <a:pt x="1659" y="7"/>
                    <a:pt x="1658" y="7"/>
                  </a:cubicBezTo>
                  <a:close/>
                  <a:moveTo>
                    <a:pt x="828" y="43"/>
                  </a:moveTo>
                  <a:cubicBezTo>
                    <a:pt x="828" y="40"/>
                    <a:pt x="828" y="38"/>
                    <a:pt x="828" y="36"/>
                  </a:cubicBezTo>
                  <a:cubicBezTo>
                    <a:pt x="828" y="34"/>
                    <a:pt x="828" y="34"/>
                    <a:pt x="826" y="34"/>
                  </a:cubicBezTo>
                  <a:cubicBezTo>
                    <a:pt x="824" y="34"/>
                    <a:pt x="822" y="34"/>
                    <a:pt x="819" y="34"/>
                  </a:cubicBezTo>
                  <a:cubicBezTo>
                    <a:pt x="817" y="34"/>
                    <a:pt x="817" y="34"/>
                    <a:pt x="817" y="36"/>
                  </a:cubicBezTo>
                  <a:cubicBezTo>
                    <a:pt x="817" y="57"/>
                    <a:pt x="817" y="78"/>
                    <a:pt x="817" y="100"/>
                  </a:cubicBezTo>
                  <a:cubicBezTo>
                    <a:pt x="817" y="100"/>
                    <a:pt x="817" y="100"/>
                    <a:pt x="817" y="101"/>
                  </a:cubicBezTo>
                  <a:cubicBezTo>
                    <a:pt x="817" y="102"/>
                    <a:pt x="817" y="102"/>
                    <a:pt x="818" y="102"/>
                  </a:cubicBezTo>
                  <a:cubicBezTo>
                    <a:pt x="821" y="102"/>
                    <a:pt x="824" y="102"/>
                    <a:pt x="827" y="102"/>
                  </a:cubicBezTo>
                  <a:cubicBezTo>
                    <a:pt x="828" y="102"/>
                    <a:pt x="828" y="102"/>
                    <a:pt x="828" y="100"/>
                  </a:cubicBezTo>
                  <a:cubicBezTo>
                    <a:pt x="828" y="97"/>
                    <a:pt x="828" y="94"/>
                    <a:pt x="828" y="91"/>
                  </a:cubicBezTo>
                  <a:cubicBezTo>
                    <a:pt x="828" y="82"/>
                    <a:pt x="828" y="72"/>
                    <a:pt x="828" y="63"/>
                  </a:cubicBezTo>
                  <a:cubicBezTo>
                    <a:pt x="828" y="63"/>
                    <a:pt x="828" y="64"/>
                    <a:pt x="828" y="64"/>
                  </a:cubicBezTo>
                  <a:cubicBezTo>
                    <a:pt x="828" y="67"/>
                    <a:pt x="828" y="70"/>
                    <a:pt x="828" y="73"/>
                  </a:cubicBezTo>
                  <a:cubicBezTo>
                    <a:pt x="828" y="82"/>
                    <a:pt x="828" y="91"/>
                    <a:pt x="828" y="100"/>
                  </a:cubicBezTo>
                  <a:cubicBezTo>
                    <a:pt x="828" y="102"/>
                    <a:pt x="828" y="101"/>
                    <a:pt x="826" y="101"/>
                  </a:cubicBezTo>
                  <a:cubicBezTo>
                    <a:pt x="824" y="101"/>
                    <a:pt x="821" y="101"/>
                    <a:pt x="819" y="101"/>
                  </a:cubicBezTo>
                  <a:cubicBezTo>
                    <a:pt x="817" y="101"/>
                    <a:pt x="817" y="102"/>
                    <a:pt x="817" y="99"/>
                  </a:cubicBezTo>
                  <a:cubicBezTo>
                    <a:pt x="817" y="78"/>
                    <a:pt x="817" y="57"/>
                    <a:pt x="817" y="36"/>
                  </a:cubicBezTo>
                  <a:cubicBezTo>
                    <a:pt x="817" y="36"/>
                    <a:pt x="817" y="36"/>
                    <a:pt x="817" y="35"/>
                  </a:cubicBezTo>
                  <a:cubicBezTo>
                    <a:pt x="817" y="34"/>
                    <a:pt x="817" y="34"/>
                    <a:pt x="818" y="34"/>
                  </a:cubicBezTo>
                  <a:cubicBezTo>
                    <a:pt x="821" y="34"/>
                    <a:pt x="824" y="34"/>
                    <a:pt x="827" y="34"/>
                  </a:cubicBezTo>
                  <a:cubicBezTo>
                    <a:pt x="828" y="34"/>
                    <a:pt x="828" y="35"/>
                    <a:pt x="828" y="36"/>
                  </a:cubicBezTo>
                  <a:cubicBezTo>
                    <a:pt x="828" y="38"/>
                    <a:pt x="828" y="41"/>
                    <a:pt x="828" y="43"/>
                  </a:cubicBezTo>
                  <a:cubicBezTo>
                    <a:pt x="828" y="44"/>
                    <a:pt x="828" y="44"/>
                    <a:pt x="828" y="44"/>
                  </a:cubicBezTo>
                  <a:cubicBezTo>
                    <a:pt x="828" y="45"/>
                    <a:pt x="828" y="45"/>
                    <a:pt x="828" y="45"/>
                  </a:cubicBezTo>
                  <a:cubicBezTo>
                    <a:pt x="828" y="45"/>
                    <a:pt x="828" y="44"/>
                    <a:pt x="828" y="44"/>
                  </a:cubicBezTo>
                  <a:cubicBezTo>
                    <a:pt x="828" y="44"/>
                    <a:pt x="828" y="43"/>
                    <a:pt x="828" y="43"/>
                  </a:cubicBezTo>
                  <a:close/>
                  <a:moveTo>
                    <a:pt x="1288" y="44"/>
                  </a:move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8"/>
                    <a:pt x="1277" y="100"/>
                  </a:cubicBezTo>
                  <a:cubicBezTo>
                    <a:pt x="1277" y="100"/>
                    <a:pt x="1277" y="100"/>
                    <a:pt x="1277" y="101"/>
                  </a:cubicBezTo>
                  <a:cubicBezTo>
                    <a:pt x="1277" y="102"/>
                    <a:pt x="1277" y="102"/>
                    <a:pt x="1278" y="102"/>
                  </a:cubicBezTo>
                  <a:cubicBezTo>
                    <a:pt x="1281" y="102"/>
                    <a:pt x="1284" y="102"/>
                    <a:pt x="1287" y="102"/>
                  </a:cubicBezTo>
                  <a:cubicBezTo>
                    <a:pt x="1287" y="102"/>
                    <a:pt x="1288" y="102"/>
                    <a:pt x="1288" y="101"/>
                  </a:cubicBezTo>
                  <a:cubicBezTo>
                    <a:pt x="1285" y="101"/>
                    <a:pt x="1282" y="101"/>
                    <a:pt x="1279" y="101"/>
                  </a:cubicBezTo>
                  <a:cubicBezTo>
                    <a:pt x="1277" y="101"/>
                    <a:pt x="1277" y="102"/>
                    <a:pt x="1277" y="100"/>
                  </a:cubicBezTo>
                  <a:cubicBezTo>
                    <a:pt x="1277" y="78"/>
                    <a:pt x="1277" y="57"/>
                    <a:pt x="1277" y="36"/>
                  </a:cubicBezTo>
                  <a:cubicBezTo>
                    <a:pt x="1277" y="36"/>
                    <a:pt x="1277" y="36"/>
                    <a:pt x="1277" y="35"/>
                  </a:cubicBezTo>
                  <a:cubicBezTo>
                    <a:pt x="1277" y="35"/>
                    <a:pt x="1277" y="34"/>
                    <a:pt x="1278" y="34"/>
                  </a:cubicBezTo>
                  <a:cubicBezTo>
                    <a:pt x="1281" y="34"/>
                    <a:pt x="1284" y="34"/>
                    <a:pt x="1287" y="34"/>
                  </a:cubicBezTo>
                  <a:cubicBezTo>
                    <a:pt x="1288" y="34"/>
                    <a:pt x="1288" y="34"/>
                    <a:pt x="1288" y="36"/>
                  </a:cubicBezTo>
                  <a:cubicBezTo>
                    <a:pt x="1288" y="39"/>
                    <a:pt x="1288" y="43"/>
                    <a:pt x="1288" y="46"/>
                  </a:cubicBezTo>
                  <a:cubicBezTo>
                    <a:pt x="1288" y="47"/>
                    <a:pt x="1288" y="47"/>
                    <a:pt x="1288" y="48"/>
                  </a:cubicBezTo>
                  <a:cubicBezTo>
                    <a:pt x="1288" y="47"/>
                    <a:pt x="1289" y="47"/>
                    <a:pt x="1289" y="46"/>
                  </a:cubicBezTo>
                  <a:cubicBezTo>
                    <a:pt x="1288" y="46"/>
                    <a:pt x="1288" y="45"/>
                    <a:pt x="1288" y="44"/>
                  </a:cubicBezTo>
                  <a:close/>
                  <a:moveTo>
                    <a:pt x="1510" y="100"/>
                  </a:moveTo>
                  <a:cubicBezTo>
                    <a:pt x="1510" y="69"/>
                    <a:pt x="1510" y="38"/>
                    <a:pt x="1510" y="7"/>
                  </a:cubicBezTo>
                  <a:cubicBezTo>
                    <a:pt x="1510" y="7"/>
                    <a:pt x="1510" y="6"/>
                    <a:pt x="1510" y="6"/>
                  </a:cubicBezTo>
                  <a:cubicBezTo>
                    <a:pt x="1510" y="6"/>
                    <a:pt x="1510" y="5"/>
                    <a:pt x="1510" y="5"/>
                  </a:cubicBezTo>
                  <a:cubicBezTo>
                    <a:pt x="1508" y="5"/>
                    <a:pt x="1507" y="5"/>
                    <a:pt x="1505" y="5"/>
                  </a:cubicBezTo>
                  <a:cubicBezTo>
                    <a:pt x="1507" y="5"/>
                    <a:pt x="1508" y="5"/>
                    <a:pt x="1509" y="5"/>
                  </a:cubicBezTo>
                  <a:cubicBezTo>
                    <a:pt x="1510" y="5"/>
                    <a:pt x="1510" y="5"/>
                    <a:pt x="1510" y="6"/>
                  </a:cubicBezTo>
                  <a:cubicBezTo>
                    <a:pt x="1510" y="7"/>
                    <a:pt x="1510" y="7"/>
                    <a:pt x="1510" y="7"/>
                  </a:cubicBezTo>
                  <a:cubicBezTo>
                    <a:pt x="1510" y="38"/>
                    <a:pt x="1510" y="69"/>
                    <a:pt x="1510" y="100"/>
                  </a:cubicBezTo>
                  <a:cubicBezTo>
                    <a:pt x="1510" y="100"/>
                    <a:pt x="1510" y="101"/>
                    <a:pt x="1510" y="101"/>
                  </a:cubicBezTo>
                  <a:cubicBezTo>
                    <a:pt x="1511" y="101"/>
                    <a:pt x="1510" y="100"/>
                    <a:pt x="1510" y="100"/>
                  </a:cubicBezTo>
                  <a:close/>
                  <a:moveTo>
                    <a:pt x="902" y="100"/>
                  </a:moveTo>
                  <a:cubicBezTo>
                    <a:pt x="902" y="100"/>
                    <a:pt x="902" y="101"/>
                    <a:pt x="902" y="101"/>
                  </a:cubicBezTo>
                  <a:cubicBezTo>
                    <a:pt x="902" y="102"/>
                    <a:pt x="902" y="102"/>
                    <a:pt x="902" y="102"/>
                  </a:cubicBezTo>
                  <a:cubicBezTo>
                    <a:pt x="906" y="102"/>
                    <a:pt x="909" y="102"/>
                    <a:pt x="912" y="102"/>
                  </a:cubicBezTo>
                  <a:cubicBezTo>
                    <a:pt x="912" y="102"/>
                    <a:pt x="913" y="102"/>
                    <a:pt x="913" y="101"/>
                  </a:cubicBezTo>
                  <a:cubicBezTo>
                    <a:pt x="913" y="101"/>
                    <a:pt x="913" y="100"/>
                    <a:pt x="913" y="100"/>
                  </a:cubicBezTo>
                  <a:cubicBezTo>
                    <a:pt x="913" y="85"/>
                    <a:pt x="913" y="71"/>
                    <a:pt x="913" y="56"/>
                  </a:cubicBezTo>
                  <a:cubicBezTo>
                    <a:pt x="913" y="56"/>
                    <a:pt x="913" y="55"/>
                    <a:pt x="912" y="55"/>
                  </a:cubicBezTo>
                  <a:cubicBezTo>
                    <a:pt x="912" y="56"/>
                    <a:pt x="912" y="58"/>
                    <a:pt x="912" y="60"/>
                  </a:cubicBezTo>
                  <a:cubicBezTo>
                    <a:pt x="912" y="73"/>
                    <a:pt x="912" y="86"/>
                    <a:pt x="912" y="99"/>
                  </a:cubicBezTo>
                  <a:cubicBezTo>
                    <a:pt x="912" y="100"/>
                    <a:pt x="912" y="100"/>
                    <a:pt x="912" y="100"/>
                  </a:cubicBezTo>
                  <a:cubicBezTo>
                    <a:pt x="913" y="101"/>
                    <a:pt x="912" y="102"/>
                    <a:pt x="911" y="102"/>
                  </a:cubicBezTo>
                  <a:cubicBezTo>
                    <a:pt x="909" y="101"/>
                    <a:pt x="906" y="101"/>
                    <a:pt x="903" y="101"/>
                  </a:cubicBezTo>
                  <a:cubicBezTo>
                    <a:pt x="902" y="102"/>
                    <a:pt x="902" y="101"/>
                    <a:pt x="902" y="101"/>
                  </a:cubicBezTo>
                  <a:cubicBezTo>
                    <a:pt x="902" y="100"/>
                    <a:pt x="902" y="100"/>
                    <a:pt x="902" y="99"/>
                  </a:cubicBezTo>
                  <a:cubicBezTo>
                    <a:pt x="902" y="87"/>
                    <a:pt x="902" y="75"/>
                    <a:pt x="902" y="63"/>
                  </a:cubicBezTo>
                  <a:cubicBezTo>
                    <a:pt x="902" y="62"/>
                    <a:pt x="902" y="62"/>
                    <a:pt x="902" y="61"/>
                  </a:cubicBezTo>
                  <a:cubicBezTo>
                    <a:pt x="902" y="74"/>
                    <a:pt x="902" y="87"/>
                    <a:pt x="902" y="100"/>
                  </a:cubicBezTo>
                  <a:close/>
                  <a:moveTo>
                    <a:pt x="1499" y="23"/>
                  </a:moveTo>
                  <a:cubicBezTo>
                    <a:pt x="1499" y="49"/>
                    <a:pt x="1499" y="74"/>
                    <a:pt x="1499" y="99"/>
                  </a:cubicBezTo>
                  <a:cubicBezTo>
                    <a:pt x="1499" y="100"/>
                    <a:pt x="1499" y="100"/>
                    <a:pt x="1499" y="100"/>
                  </a:cubicBezTo>
                  <a:cubicBezTo>
                    <a:pt x="1499" y="102"/>
                    <a:pt x="1499" y="102"/>
                    <a:pt x="1500" y="102"/>
                  </a:cubicBezTo>
                  <a:cubicBezTo>
                    <a:pt x="1503" y="102"/>
                    <a:pt x="1506" y="102"/>
                    <a:pt x="1509" y="102"/>
                  </a:cubicBezTo>
                  <a:cubicBezTo>
                    <a:pt x="1509" y="102"/>
                    <a:pt x="1510" y="102"/>
                    <a:pt x="1510" y="101"/>
                  </a:cubicBezTo>
                  <a:cubicBezTo>
                    <a:pt x="1507" y="101"/>
                    <a:pt x="1504" y="101"/>
                    <a:pt x="1501" y="101"/>
                  </a:cubicBezTo>
                  <a:cubicBezTo>
                    <a:pt x="1499" y="101"/>
                    <a:pt x="1499" y="101"/>
                    <a:pt x="1499" y="99"/>
                  </a:cubicBezTo>
                  <a:cubicBezTo>
                    <a:pt x="1499" y="74"/>
                    <a:pt x="1499" y="48"/>
                    <a:pt x="1499" y="22"/>
                  </a:cubicBezTo>
                  <a:cubicBezTo>
                    <a:pt x="1499" y="22"/>
                    <a:pt x="1499" y="21"/>
                    <a:pt x="1499" y="21"/>
                  </a:cubicBezTo>
                  <a:cubicBezTo>
                    <a:pt x="1499" y="20"/>
                    <a:pt x="1499" y="21"/>
                    <a:pt x="1498" y="21"/>
                  </a:cubicBezTo>
                  <a:cubicBezTo>
                    <a:pt x="1499" y="22"/>
                    <a:pt x="1499" y="22"/>
                    <a:pt x="1499" y="23"/>
                  </a:cubicBezTo>
                  <a:close/>
                  <a:moveTo>
                    <a:pt x="1174" y="19"/>
                  </a:moveTo>
                  <a:cubicBezTo>
                    <a:pt x="1174" y="23"/>
                    <a:pt x="1174" y="28"/>
                    <a:pt x="1174" y="32"/>
                  </a:cubicBezTo>
                  <a:cubicBezTo>
                    <a:pt x="1174" y="34"/>
                    <a:pt x="1174" y="34"/>
                    <a:pt x="1172" y="34"/>
                  </a:cubicBezTo>
                  <a:cubicBezTo>
                    <a:pt x="1169" y="34"/>
                    <a:pt x="1167" y="34"/>
                    <a:pt x="1164" y="34"/>
                  </a:cubicBezTo>
                  <a:cubicBezTo>
                    <a:pt x="1163" y="34"/>
                    <a:pt x="1163" y="34"/>
                    <a:pt x="1163" y="35"/>
                  </a:cubicBezTo>
                  <a:cubicBezTo>
                    <a:pt x="1163" y="38"/>
                    <a:pt x="1163" y="40"/>
                    <a:pt x="1163" y="42"/>
                  </a:cubicBezTo>
                  <a:cubicBezTo>
                    <a:pt x="1163" y="44"/>
                    <a:pt x="1163" y="44"/>
                    <a:pt x="1164" y="44"/>
                  </a:cubicBezTo>
                  <a:cubicBezTo>
                    <a:pt x="1167" y="44"/>
                    <a:pt x="1170" y="44"/>
                    <a:pt x="1173" y="44"/>
                  </a:cubicBezTo>
                  <a:cubicBezTo>
                    <a:pt x="1174" y="44"/>
                    <a:pt x="1174" y="44"/>
                    <a:pt x="1174" y="45"/>
                  </a:cubicBezTo>
                  <a:cubicBezTo>
                    <a:pt x="1174" y="45"/>
                    <a:pt x="1174" y="46"/>
                    <a:pt x="1174" y="46"/>
                  </a:cubicBezTo>
                  <a:cubicBezTo>
                    <a:pt x="1174" y="59"/>
                    <a:pt x="1174" y="71"/>
                    <a:pt x="1174" y="84"/>
                  </a:cubicBezTo>
                  <a:cubicBezTo>
                    <a:pt x="1174" y="84"/>
                    <a:pt x="1174" y="85"/>
                    <a:pt x="1174" y="85"/>
                  </a:cubicBezTo>
                  <a:cubicBezTo>
                    <a:pt x="1174" y="84"/>
                    <a:pt x="1174" y="83"/>
                    <a:pt x="1174" y="82"/>
                  </a:cubicBezTo>
                  <a:cubicBezTo>
                    <a:pt x="1174" y="70"/>
                    <a:pt x="1174" y="57"/>
                    <a:pt x="1174" y="45"/>
                  </a:cubicBezTo>
                  <a:cubicBezTo>
                    <a:pt x="1174" y="43"/>
                    <a:pt x="1174" y="43"/>
                    <a:pt x="1173" y="43"/>
                  </a:cubicBezTo>
                  <a:cubicBezTo>
                    <a:pt x="1170" y="43"/>
                    <a:pt x="1167" y="43"/>
                    <a:pt x="1164" y="43"/>
                  </a:cubicBezTo>
                  <a:cubicBezTo>
                    <a:pt x="1163" y="43"/>
                    <a:pt x="1163" y="43"/>
                    <a:pt x="1163" y="42"/>
                  </a:cubicBezTo>
                  <a:cubicBezTo>
                    <a:pt x="1163" y="40"/>
                    <a:pt x="1163" y="38"/>
                    <a:pt x="1163" y="35"/>
                  </a:cubicBezTo>
                  <a:cubicBezTo>
                    <a:pt x="1163" y="34"/>
                    <a:pt x="1163" y="34"/>
                    <a:pt x="1164" y="34"/>
                  </a:cubicBezTo>
                  <a:cubicBezTo>
                    <a:pt x="1167" y="34"/>
                    <a:pt x="1170" y="34"/>
                    <a:pt x="1173" y="34"/>
                  </a:cubicBezTo>
                  <a:cubicBezTo>
                    <a:pt x="1174" y="34"/>
                    <a:pt x="1174" y="34"/>
                    <a:pt x="1174" y="33"/>
                  </a:cubicBezTo>
                  <a:cubicBezTo>
                    <a:pt x="1174" y="28"/>
                    <a:pt x="1174" y="24"/>
                    <a:pt x="1174" y="19"/>
                  </a:cubicBezTo>
                  <a:cubicBezTo>
                    <a:pt x="1174" y="19"/>
                    <a:pt x="1174" y="18"/>
                    <a:pt x="1175" y="18"/>
                  </a:cubicBezTo>
                  <a:cubicBezTo>
                    <a:pt x="1174" y="18"/>
                    <a:pt x="1174" y="18"/>
                    <a:pt x="1174" y="19"/>
                  </a:cubicBezTo>
                  <a:close/>
                  <a:moveTo>
                    <a:pt x="1110" y="43"/>
                  </a:moveTo>
                  <a:cubicBezTo>
                    <a:pt x="1110" y="40"/>
                    <a:pt x="1110" y="38"/>
                    <a:pt x="1110" y="36"/>
                  </a:cubicBezTo>
                  <a:cubicBezTo>
                    <a:pt x="1110" y="34"/>
                    <a:pt x="1110" y="34"/>
                    <a:pt x="1109" y="34"/>
                  </a:cubicBezTo>
                  <a:cubicBezTo>
                    <a:pt x="1106" y="34"/>
                    <a:pt x="1103" y="34"/>
                    <a:pt x="1101" y="34"/>
                  </a:cubicBezTo>
                  <a:cubicBezTo>
                    <a:pt x="1099" y="34"/>
                    <a:pt x="1099" y="34"/>
                    <a:pt x="1099" y="36"/>
                  </a:cubicBezTo>
                  <a:cubicBezTo>
                    <a:pt x="1099" y="36"/>
                    <a:pt x="1099" y="36"/>
                    <a:pt x="1099" y="37"/>
                  </a:cubicBezTo>
                  <a:cubicBezTo>
                    <a:pt x="1099" y="57"/>
                    <a:pt x="1099" y="78"/>
                    <a:pt x="1099" y="99"/>
                  </a:cubicBezTo>
                  <a:cubicBezTo>
                    <a:pt x="1099" y="100"/>
                    <a:pt x="1099" y="100"/>
                    <a:pt x="1099" y="101"/>
                  </a:cubicBezTo>
                  <a:cubicBezTo>
                    <a:pt x="1099" y="101"/>
                    <a:pt x="1099" y="101"/>
                    <a:pt x="1099" y="101"/>
                  </a:cubicBezTo>
                  <a:cubicBezTo>
                    <a:pt x="1099" y="101"/>
                    <a:pt x="1099" y="100"/>
                    <a:pt x="1099" y="100"/>
                  </a:cubicBezTo>
                  <a:cubicBezTo>
                    <a:pt x="1099" y="78"/>
                    <a:pt x="1099" y="57"/>
                    <a:pt x="1099" y="36"/>
                  </a:cubicBezTo>
                  <a:cubicBezTo>
                    <a:pt x="1099" y="36"/>
                    <a:pt x="1099" y="36"/>
                    <a:pt x="1099" y="35"/>
                  </a:cubicBezTo>
                  <a:cubicBezTo>
                    <a:pt x="1099" y="35"/>
                    <a:pt x="1099" y="34"/>
                    <a:pt x="1100" y="34"/>
                  </a:cubicBezTo>
                  <a:cubicBezTo>
                    <a:pt x="1103" y="34"/>
                    <a:pt x="1106" y="34"/>
                    <a:pt x="1109" y="34"/>
                  </a:cubicBezTo>
                  <a:cubicBezTo>
                    <a:pt x="1110" y="34"/>
                    <a:pt x="1110" y="35"/>
                    <a:pt x="1110" y="35"/>
                  </a:cubicBezTo>
                  <a:cubicBezTo>
                    <a:pt x="1110" y="38"/>
                    <a:pt x="1110" y="41"/>
                    <a:pt x="1110" y="44"/>
                  </a:cubicBezTo>
                  <a:cubicBezTo>
                    <a:pt x="1110" y="45"/>
                    <a:pt x="1110" y="45"/>
                    <a:pt x="1110" y="45"/>
                  </a:cubicBezTo>
                  <a:cubicBezTo>
                    <a:pt x="1111" y="45"/>
                    <a:pt x="1111" y="45"/>
                    <a:pt x="1111" y="44"/>
                  </a:cubicBezTo>
                  <a:cubicBezTo>
                    <a:pt x="1110" y="44"/>
                    <a:pt x="1110" y="43"/>
                    <a:pt x="1110" y="43"/>
                  </a:cubicBezTo>
                  <a:close/>
                  <a:moveTo>
                    <a:pt x="1343" y="95"/>
                  </a:moveTo>
                  <a:cubicBezTo>
                    <a:pt x="1343" y="97"/>
                    <a:pt x="1343" y="98"/>
                    <a:pt x="1343" y="100"/>
                  </a:cubicBezTo>
                  <a:cubicBezTo>
                    <a:pt x="1343" y="102"/>
                    <a:pt x="1342" y="102"/>
                    <a:pt x="1345" y="102"/>
                  </a:cubicBezTo>
                  <a:cubicBezTo>
                    <a:pt x="1363" y="102"/>
                    <a:pt x="1381" y="102"/>
                    <a:pt x="1399" y="102"/>
                  </a:cubicBezTo>
                  <a:cubicBezTo>
                    <a:pt x="1399" y="102"/>
                    <a:pt x="1400" y="102"/>
                    <a:pt x="1400" y="102"/>
                  </a:cubicBezTo>
                  <a:cubicBezTo>
                    <a:pt x="1401" y="102"/>
                    <a:pt x="1401" y="102"/>
                    <a:pt x="1401" y="101"/>
                  </a:cubicBezTo>
                  <a:cubicBezTo>
                    <a:pt x="1400" y="101"/>
                    <a:pt x="1400" y="101"/>
                    <a:pt x="1399" y="101"/>
                  </a:cubicBezTo>
                  <a:cubicBezTo>
                    <a:pt x="1381" y="101"/>
                    <a:pt x="1363" y="101"/>
                    <a:pt x="1345" y="101"/>
                  </a:cubicBezTo>
                  <a:cubicBezTo>
                    <a:pt x="1343" y="101"/>
                    <a:pt x="1343" y="101"/>
                    <a:pt x="1343" y="99"/>
                  </a:cubicBezTo>
                  <a:cubicBezTo>
                    <a:pt x="1343" y="97"/>
                    <a:pt x="1343" y="95"/>
                    <a:pt x="1343" y="94"/>
                  </a:cubicBezTo>
                  <a:cubicBezTo>
                    <a:pt x="1342" y="94"/>
                    <a:pt x="1343" y="94"/>
                    <a:pt x="1343" y="95"/>
                  </a:cubicBezTo>
                  <a:close/>
                  <a:moveTo>
                    <a:pt x="1041" y="72"/>
                  </a:moveTo>
                  <a:cubicBezTo>
                    <a:pt x="1041" y="71"/>
                    <a:pt x="1041" y="71"/>
                    <a:pt x="1042" y="71"/>
                  </a:cubicBezTo>
                  <a:cubicBezTo>
                    <a:pt x="1043" y="71"/>
                    <a:pt x="1043" y="71"/>
                    <a:pt x="1044" y="71"/>
                  </a:cubicBezTo>
                  <a:cubicBezTo>
                    <a:pt x="1058" y="71"/>
                    <a:pt x="1072" y="71"/>
                    <a:pt x="1086" y="71"/>
                  </a:cubicBezTo>
                  <a:cubicBezTo>
                    <a:pt x="1086" y="71"/>
                    <a:pt x="1086" y="71"/>
                    <a:pt x="1087" y="71"/>
                  </a:cubicBezTo>
                  <a:cubicBezTo>
                    <a:pt x="1088" y="71"/>
                    <a:pt x="1088" y="71"/>
                    <a:pt x="1088" y="70"/>
                  </a:cubicBezTo>
                  <a:cubicBezTo>
                    <a:pt x="1088" y="67"/>
                    <a:pt x="1088" y="64"/>
                    <a:pt x="1088" y="62"/>
                  </a:cubicBezTo>
                  <a:cubicBezTo>
                    <a:pt x="1088" y="61"/>
                    <a:pt x="1088" y="61"/>
                    <a:pt x="1088" y="60"/>
                  </a:cubicBezTo>
                  <a:cubicBezTo>
                    <a:pt x="1088" y="63"/>
                    <a:pt x="1088" y="66"/>
                    <a:pt x="1088" y="69"/>
                  </a:cubicBezTo>
                  <a:cubicBezTo>
                    <a:pt x="1088" y="71"/>
                    <a:pt x="1088" y="71"/>
                    <a:pt x="1086" y="71"/>
                  </a:cubicBezTo>
                  <a:cubicBezTo>
                    <a:pt x="1086" y="71"/>
                    <a:pt x="1086" y="71"/>
                    <a:pt x="1085" y="71"/>
                  </a:cubicBezTo>
                  <a:cubicBezTo>
                    <a:pt x="1071" y="71"/>
                    <a:pt x="1057" y="71"/>
                    <a:pt x="1043" y="71"/>
                  </a:cubicBezTo>
                  <a:cubicBezTo>
                    <a:pt x="1040" y="71"/>
                    <a:pt x="1040" y="71"/>
                    <a:pt x="1041" y="73"/>
                  </a:cubicBezTo>
                  <a:cubicBezTo>
                    <a:pt x="1041" y="73"/>
                    <a:pt x="1041" y="73"/>
                    <a:pt x="1041" y="72"/>
                  </a:cubicBezTo>
                  <a:close/>
                  <a:moveTo>
                    <a:pt x="1219" y="72"/>
                  </a:moveTo>
                  <a:cubicBezTo>
                    <a:pt x="1219" y="71"/>
                    <a:pt x="1219" y="71"/>
                    <a:pt x="1220" y="71"/>
                  </a:cubicBezTo>
                  <a:cubicBezTo>
                    <a:pt x="1220" y="71"/>
                    <a:pt x="1221" y="71"/>
                    <a:pt x="1221" y="71"/>
                  </a:cubicBezTo>
                  <a:cubicBezTo>
                    <a:pt x="1235" y="71"/>
                    <a:pt x="1249" y="71"/>
                    <a:pt x="1263" y="71"/>
                  </a:cubicBezTo>
                  <a:cubicBezTo>
                    <a:pt x="1264" y="71"/>
                    <a:pt x="1264" y="71"/>
                    <a:pt x="1265" y="71"/>
                  </a:cubicBezTo>
                  <a:cubicBezTo>
                    <a:pt x="1266" y="71"/>
                    <a:pt x="1266" y="71"/>
                    <a:pt x="1266" y="70"/>
                  </a:cubicBezTo>
                  <a:cubicBezTo>
                    <a:pt x="1266" y="67"/>
                    <a:pt x="1266" y="65"/>
                    <a:pt x="1266" y="62"/>
                  </a:cubicBezTo>
                  <a:cubicBezTo>
                    <a:pt x="1266" y="62"/>
                    <a:pt x="1266" y="61"/>
                    <a:pt x="1266" y="61"/>
                  </a:cubicBezTo>
                  <a:cubicBezTo>
                    <a:pt x="1266" y="64"/>
                    <a:pt x="1266" y="66"/>
                    <a:pt x="1266" y="69"/>
                  </a:cubicBezTo>
                  <a:cubicBezTo>
                    <a:pt x="1266" y="71"/>
                    <a:pt x="1266" y="71"/>
                    <a:pt x="1264" y="71"/>
                  </a:cubicBezTo>
                  <a:cubicBezTo>
                    <a:pt x="1250" y="71"/>
                    <a:pt x="1235" y="71"/>
                    <a:pt x="1221" y="71"/>
                  </a:cubicBezTo>
                  <a:cubicBezTo>
                    <a:pt x="1218" y="71"/>
                    <a:pt x="1218" y="71"/>
                    <a:pt x="1218" y="74"/>
                  </a:cubicBezTo>
                  <a:cubicBezTo>
                    <a:pt x="1218" y="74"/>
                    <a:pt x="1219" y="74"/>
                    <a:pt x="1219" y="74"/>
                  </a:cubicBezTo>
                  <a:cubicBezTo>
                    <a:pt x="1219" y="73"/>
                    <a:pt x="1219" y="73"/>
                    <a:pt x="1219" y="72"/>
                  </a:cubicBezTo>
                  <a:close/>
                  <a:moveTo>
                    <a:pt x="1529" y="102"/>
                  </a:moveTo>
                  <a:cubicBezTo>
                    <a:pt x="1547" y="102"/>
                    <a:pt x="1565" y="102"/>
                    <a:pt x="1583" y="102"/>
                  </a:cubicBezTo>
                  <a:cubicBezTo>
                    <a:pt x="1584" y="102"/>
                    <a:pt x="1584" y="102"/>
                    <a:pt x="1584" y="102"/>
                  </a:cubicBezTo>
                  <a:cubicBezTo>
                    <a:pt x="1585" y="102"/>
                    <a:pt x="1585" y="102"/>
                    <a:pt x="1585" y="101"/>
                  </a:cubicBezTo>
                  <a:cubicBezTo>
                    <a:pt x="1585" y="101"/>
                    <a:pt x="1584" y="101"/>
                    <a:pt x="1584" y="101"/>
                  </a:cubicBezTo>
                  <a:cubicBezTo>
                    <a:pt x="1566" y="101"/>
                    <a:pt x="1547" y="101"/>
                    <a:pt x="1529" y="101"/>
                  </a:cubicBezTo>
                  <a:cubicBezTo>
                    <a:pt x="1528" y="101"/>
                    <a:pt x="1528" y="101"/>
                    <a:pt x="1527" y="101"/>
                  </a:cubicBezTo>
                  <a:cubicBezTo>
                    <a:pt x="1528" y="102"/>
                    <a:pt x="1528" y="102"/>
                    <a:pt x="1529" y="102"/>
                  </a:cubicBezTo>
                  <a:close/>
                  <a:moveTo>
                    <a:pt x="1697" y="102"/>
                  </a:moveTo>
                  <a:cubicBezTo>
                    <a:pt x="1715" y="102"/>
                    <a:pt x="1733" y="102"/>
                    <a:pt x="1751" y="102"/>
                  </a:cubicBezTo>
                  <a:cubicBezTo>
                    <a:pt x="1752" y="102"/>
                    <a:pt x="1752" y="102"/>
                    <a:pt x="1753" y="102"/>
                  </a:cubicBezTo>
                  <a:cubicBezTo>
                    <a:pt x="1753" y="102"/>
                    <a:pt x="1753" y="102"/>
                    <a:pt x="1753" y="101"/>
                  </a:cubicBezTo>
                  <a:cubicBezTo>
                    <a:pt x="1753" y="101"/>
                    <a:pt x="1752" y="101"/>
                    <a:pt x="1752" y="101"/>
                  </a:cubicBezTo>
                  <a:cubicBezTo>
                    <a:pt x="1734" y="101"/>
                    <a:pt x="1715" y="101"/>
                    <a:pt x="1697" y="101"/>
                  </a:cubicBezTo>
                  <a:cubicBezTo>
                    <a:pt x="1696" y="101"/>
                    <a:pt x="1696" y="101"/>
                    <a:pt x="1695" y="101"/>
                  </a:cubicBezTo>
                  <a:cubicBezTo>
                    <a:pt x="1696" y="102"/>
                    <a:pt x="1697" y="102"/>
                    <a:pt x="1697" y="102"/>
                  </a:cubicBezTo>
                  <a:close/>
                  <a:moveTo>
                    <a:pt x="1186" y="82"/>
                  </a:moveTo>
                  <a:cubicBezTo>
                    <a:pt x="1186" y="70"/>
                    <a:pt x="1186" y="58"/>
                    <a:pt x="1186" y="46"/>
                  </a:cubicBezTo>
                  <a:cubicBezTo>
                    <a:pt x="1186" y="46"/>
                    <a:pt x="1186" y="46"/>
                    <a:pt x="1186" y="45"/>
                  </a:cubicBezTo>
                  <a:cubicBezTo>
                    <a:pt x="1186" y="44"/>
                    <a:pt x="1186" y="44"/>
                    <a:pt x="1187" y="44"/>
                  </a:cubicBezTo>
                  <a:cubicBezTo>
                    <a:pt x="1188" y="44"/>
                    <a:pt x="1188" y="44"/>
                    <a:pt x="1188" y="44"/>
                  </a:cubicBezTo>
                  <a:cubicBezTo>
                    <a:pt x="1192" y="44"/>
                    <a:pt x="1196" y="44"/>
                    <a:pt x="1201" y="44"/>
                  </a:cubicBezTo>
                  <a:cubicBezTo>
                    <a:pt x="1201" y="44"/>
                    <a:pt x="1202" y="44"/>
                    <a:pt x="1202" y="43"/>
                  </a:cubicBezTo>
                  <a:cubicBezTo>
                    <a:pt x="1202" y="44"/>
                    <a:pt x="1201" y="43"/>
                    <a:pt x="1200" y="43"/>
                  </a:cubicBezTo>
                  <a:cubicBezTo>
                    <a:pt x="1196" y="43"/>
                    <a:pt x="1191" y="43"/>
                    <a:pt x="1187" y="43"/>
                  </a:cubicBezTo>
                  <a:cubicBezTo>
                    <a:pt x="1185" y="43"/>
                    <a:pt x="1185" y="43"/>
                    <a:pt x="1185" y="45"/>
                  </a:cubicBezTo>
                  <a:cubicBezTo>
                    <a:pt x="1185" y="57"/>
                    <a:pt x="1185" y="70"/>
                    <a:pt x="1185" y="83"/>
                  </a:cubicBezTo>
                  <a:cubicBezTo>
                    <a:pt x="1185" y="83"/>
                    <a:pt x="1185" y="84"/>
                    <a:pt x="1186" y="85"/>
                  </a:cubicBezTo>
                  <a:cubicBezTo>
                    <a:pt x="1186" y="84"/>
                    <a:pt x="1186" y="83"/>
                    <a:pt x="1186" y="82"/>
                  </a:cubicBezTo>
                  <a:close/>
                  <a:moveTo>
                    <a:pt x="1145" y="102"/>
                  </a:moveTo>
                  <a:cubicBezTo>
                    <a:pt x="1145" y="102"/>
                    <a:pt x="1146" y="102"/>
                    <a:pt x="1146" y="102"/>
                  </a:cubicBezTo>
                  <a:cubicBezTo>
                    <a:pt x="1149" y="102"/>
                    <a:pt x="1152" y="102"/>
                    <a:pt x="1154" y="102"/>
                  </a:cubicBezTo>
                  <a:cubicBezTo>
                    <a:pt x="1155" y="102"/>
                    <a:pt x="1155" y="102"/>
                    <a:pt x="1155" y="101"/>
                  </a:cubicBezTo>
                  <a:cubicBezTo>
                    <a:pt x="1155" y="100"/>
                    <a:pt x="1155" y="100"/>
                    <a:pt x="1155" y="100"/>
                  </a:cubicBezTo>
                  <a:cubicBezTo>
                    <a:pt x="1155" y="86"/>
                    <a:pt x="1155" y="72"/>
                    <a:pt x="1155" y="58"/>
                  </a:cubicBezTo>
                  <a:cubicBezTo>
                    <a:pt x="1155" y="57"/>
                    <a:pt x="1155" y="56"/>
                    <a:pt x="1155" y="56"/>
                  </a:cubicBezTo>
                  <a:cubicBezTo>
                    <a:pt x="1155" y="57"/>
                    <a:pt x="1155" y="59"/>
                    <a:pt x="1155" y="60"/>
                  </a:cubicBezTo>
                  <a:cubicBezTo>
                    <a:pt x="1155" y="73"/>
                    <a:pt x="1155" y="86"/>
                    <a:pt x="1155" y="100"/>
                  </a:cubicBezTo>
                  <a:cubicBezTo>
                    <a:pt x="1155" y="100"/>
                    <a:pt x="1155" y="100"/>
                    <a:pt x="1155" y="101"/>
                  </a:cubicBezTo>
                  <a:cubicBezTo>
                    <a:pt x="1155" y="101"/>
                    <a:pt x="1155" y="101"/>
                    <a:pt x="1154" y="101"/>
                  </a:cubicBezTo>
                  <a:cubicBezTo>
                    <a:pt x="1151" y="101"/>
                    <a:pt x="1148" y="102"/>
                    <a:pt x="1144" y="101"/>
                  </a:cubicBezTo>
                  <a:cubicBezTo>
                    <a:pt x="1144" y="102"/>
                    <a:pt x="1145" y="102"/>
                    <a:pt x="1145" y="102"/>
                  </a:cubicBezTo>
                  <a:close/>
                  <a:moveTo>
                    <a:pt x="714" y="19"/>
                  </a:moveTo>
                  <a:cubicBezTo>
                    <a:pt x="714" y="24"/>
                    <a:pt x="714" y="28"/>
                    <a:pt x="714" y="33"/>
                  </a:cubicBezTo>
                  <a:cubicBezTo>
                    <a:pt x="714" y="34"/>
                    <a:pt x="714" y="34"/>
                    <a:pt x="713" y="34"/>
                  </a:cubicBezTo>
                  <a:cubicBezTo>
                    <a:pt x="710" y="34"/>
                    <a:pt x="707" y="34"/>
                    <a:pt x="704" y="34"/>
                  </a:cubicBezTo>
                  <a:cubicBezTo>
                    <a:pt x="703" y="34"/>
                    <a:pt x="703" y="34"/>
                    <a:pt x="703" y="35"/>
                  </a:cubicBezTo>
                  <a:cubicBezTo>
                    <a:pt x="703" y="38"/>
                    <a:pt x="703" y="40"/>
                    <a:pt x="703" y="42"/>
                  </a:cubicBezTo>
                  <a:cubicBezTo>
                    <a:pt x="703" y="44"/>
                    <a:pt x="703" y="44"/>
                    <a:pt x="704" y="44"/>
                  </a:cubicBezTo>
                  <a:cubicBezTo>
                    <a:pt x="708" y="44"/>
                    <a:pt x="711" y="44"/>
                    <a:pt x="714" y="44"/>
                  </a:cubicBezTo>
                  <a:cubicBezTo>
                    <a:pt x="714" y="43"/>
                    <a:pt x="713" y="43"/>
                    <a:pt x="713" y="43"/>
                  </a:cubicBezTo>
                  <a:cubicBezTo>
                    <a:pt x="710" y="43"/>
                    <a:pt x="707" y="43"/>
                    <a:pt x="704" y="43"/>
                  </a:cubicBezTo>
                  <a:cubicBezTo>
                    <a:pt x="703" y="43"/>
                    <a:pt x="703" y="43"/>
                    <a:pt x="703" y="42"/>
                  </a:cubicBezTo>
                  <a:cubicBezTo>
                    <a:pt x="703" y="40"/>
                    <a:pt x="703" y="38"/>
                    <a:pt x="703" y="36"/>
                  </a:cubicBezTo>
                  <a:cubicBezTo>
                    <a:pt x="703" y="34"/>
                    <a:pt x="703" y="34"/>
                    <a:pt x="704" y="34"/>
                  </a:cubicBezTo>
                  <a:cubicBezTo>
                    <a:pt x="707" y="34"/>
                    <a:pt x="710" y="34"/>
                    <a:pt x="713" y="34"/>
                  </a:cubicBezTo>
                  <a:cubicBezTo>
                    <a:pt x="714" y="34"/>
                    <a:pt x="714" y="34"/>
                    <a:pt x="715" y="33"/>
                  </a:cubicBezTo>
                  <a:cubicBezTo>
                    <a:pt x="715" y="28"/>
                    <a:pt x="714" y="24"/>
                    <a:pt x="715" y="19"/>
                  </a:cubicBezTo>
                  <a:cubicBezTo>
                    <a:pt x="715" y="19"/>
                    <a:pt x="714" y="18"/>
                    <a:pt x="715" y="18"/>
                  </a:cubicBezTo>
                  <a:cubicBezTo>
                    <a:pt x="714" y="18"/>
                    <a:pt x="714" y="19"/>
                    <a:pt x="714" y="19"/>
                  </a:cubicBezTo>
                  <a:close/>
                  <a:moveTo>
                    <a:pt x="1399" y="91"/>
                  </a:moveTo>
                  <a:cubicBezTo>
                    <a:pt x="1385" y="91"/>
                    <a:pt x="1371" y="91"/>
                    <a:pt x="1357" y="91"/>
                  </a:cubicBezTo>
                  <a:cubicBezTo>
                    <a:pt x="1356" y="91"/>
                    <a:pt x="1356" y="91"/>
                    <a:pt x="1355" y="91"/>
                  </a:cubicBezTo>
                  <a:cubicBezTo>
                    <a:pt x="1355" y="91"/>
                    <a:pt x="1354" y="91"/>
                    <a:pt x="1354" y="91"/>
                  </a:cubicBezTo>
                  <a:cubicBezTo>
                    <a:pt x="1354" y="90"/>
                    <a:pt x="1354" y="90"/>
                    <a:pt x="1354" y="89"/>
                  </a:cubicBezTo>
                  <a:cubicBezTo>
                    <a:pt x="1354" y="92"/>
                    <a:pt x="1354" y="92"/>
                    <a:pt x="1356" y="92"/>
                  </a:cubicBezTo>
                  <a:cubicBezTo>
                    <a:pt x="1370" y="92"/>
                    <a:pt x="1385" y="92"/>
                    <a:pt x="1399" y="92"/>
                  </a:cubicBezTo>
                  <a:cubicBezTo>
                    <a:pt x="1400" y="92"/>
                    <a:pt x="1400" y="92"/>
                    <a:pt x="1401" y="92"/>
                  </a:cubicBezTo>
                  <a:cubicBezTo>
                    <a:pt x="1401" y="91"/>
                    <a:pt x="1400" y="91"/>
                    <a:pt x="1399" y="91"/>
                  </a:cubicBezTo>
                  <a:close/>
                  <a:moveTo>
                    <a:pt x="792" y="71"/>
                  </a:moveTo>
                  <a:cubicBezTo>
                    <a:pt x="796" y="71"/>
                    <a:pt x="800" y="71"/>
                    <a:pt x="804" y="71"/>
                  </a:cubicBezTo>
                  <a:cubicBezTo>
                    <a:pt x="805" y="71"/>
                    <a:pt x="805" y="71"/>
                    <a:pt x="806" y="70"/>
                  </a:cubicBezTo>
                  <a:cubicBezTo>
                    <a:pt x="805" y="71"/>
                    <a:pt x="804" y="71"/>
                    <a:pt x="804" y="71"/>
                  </a:cubicBezTo>
                  <a:cubicBezTo>
                    <a:pt x="789" y="71"/>
                    <a:pt x="775" y="71"/>
                    <a:pt x="760" y="71"/>
                  </a:cubicBezTo>
                  <a:cubicBezTo>
                    <a:pt x="760" y="71"/>
                    <a:pt x="759" y="70"/>
                    <a:pt x="759" y="71"/>
                  </a:cubicBezTo>
                  <a:cubicBezTo>
                    <a:pt x="770" y="71"/>
                    <a:pt x="781" y="71"/>
                    <a:pt x="792" y="71"/>
                  </a:cubicBezTo>
                  <a:close/>
                  <a:moveTo>
                    <a:pt x="1751" y="91"/>
                  </a:moveTo>
                  <a:cubicBezTo>
                    <a:pt x="1736" y="91"/>
                    <a:pt x="1722" y="91"/>
                    <a:pt x="1707" y="91"/>
                  </a:cubicBezTo>
                  <a:cubicBezTo>
                    <a:pt x="1707" y="92"/>
                    <a:pt x="1708" y="92"/>
                    <a:pt x="1708" y="92"/>
                  </a:cubicBezTo>
                  <a:cubicBezTo>
                    <a:pt x="1722" y="92"/>
                    <a:pt x="1735" y="92"/>
                    <a:pt x="1748" y="92"/>
                  </a:cubicBezTo>
                  <a:cubicBezTo>
                    <a:pt x="1750" y="92"/>
                    <a:pt x="1752" y="92"/>
                    <a:pt x="1753" y="92"/>
                  </a:cubicBezTo>
                  <a:cubicBezTo>
                    <a:pt x="1753" y="91"/>
                    <a:pt x="1752" y="91"/>
                    <a:pt x="1751" y="91"/>
                  </a:cubicBezTo>
                  <a:close/>
                  <a:moveTo>
                    <a:pt x="1583" y="91"/>
                  </a:moveTo>
                  <a:cubicBezTo>
                    <a:pt x="1568" y="91"/>
                    <a:pt x="1553" y="91"/>
                    <a:pt x="1539" y="91"/>
                  </a:cubicBezTo>
                  <a:cubicBezTo>
                    <a:pt x="1539" y="92"/>
                    <a:pt x="1540" y="92"/>
                    <a:pt x="1540" y="92"/>
                  </a:cubicBezTo>
                  <a:cubicBezTo>
                    <a:pt x="1554" y="92"/>
                    <a:pt x="1567" y="92"/>
                    <a:pt x="1580" y="92"/>
                  </a:cubicBezTo>
                  <a:cubicBezTo>
                    <a:pt x="1582" y="92"/>
                    <a:pt x="1583" y="92"/>
                    <a:pt x="1585" y="92"/>
                  </a:cubicBezTo>
                  <a:cubicBezTo>
                    <a:pt x="1585" y="91"/>
                    <a:pt x="1584" y="91"/>
                    <a:pt x="1583" y="91"/>
                  </a:cubicBezTo>
                  <a:close/>
                  <a:moveTo>
                    <a:pt x="859" y="81"/>
                  </a:moveTo>
                  <a:cubicBezTo>
                    <a:pt x="859" y="87"/>
                    <a:pt x="859" y="94"/>
                    <a:pt x="859" y="100"/>
                  </a:cubicBezTo>
                  <a:cubicBezTo>
                    <a:pt x="859" y="100"/>
                    <a:pt x="859" y="101"/>
                    <a:pt x="859" y="101"/>
                  </a:cubicBezTo>
                  <a:cubicBezTo>
                    <a:pt x="859" y="101"/>
                    <a:pt x="859" y="100"/>
                    <a:pt x="859" y="99"/>
                  </a:cubicBezTo>
                  <a:cubicBezTo>
                    <a:pt x="859" y="87"/>
                    <a:pt x="859" y="74"/>
                    <a:pt x="859" y="61"/>
                  </a:cubicBezTo>
                  <a:cubicBezTo>
                    <a:pt x="859" y="60"/>
                    <a:pt x="860" y="59"/>
                    <a:pt x="859" y="57"/>
                  </a:cubicBezTo>
                  <a:cubicBezTo>
                    <a:pt x="859" y="65"/>
                    <a:pt x="859" y="73"/>
                    <a:pt x="859" y="81"/>
                  </a:cubicBezTo>
                  <a:close/>
                  <a:moveTo>
                    <a:pt x="714" y="86"/>
                  </a:moveTo>
                  <a:cubicBezTo>
                    <a:pt x="714" y="86"/>
                    <a:pt x="714" y="87"/>
                    <a:pt x="715" y="87"/>
                  </a:cubicBezTo>
                  <a:cubicBezTo>
                    <a:pt x="715" y="85"/>
                    <a:pt x="715" y="83"/>
                    <a:pt x="715" y="81"/>
                  </a:cubicBezTo>
                  <a:cubicBezTo>
                    <a:pt x="714" y="69"/>
                    <a:pt x="715" y="57"/>
                    <a:pt x="714" y="46"/>
                  </a:cubicBezTo>
                  <a:cubicBezTo>
                    <a:pt x="714" y="45"/>
                    <a:pt x="715" y="44"/>
                    <a:pt x="714" y="44"/>
                  </a:cubicBezTo>
                  <a:cubicBezTo>
                    <a:pt x="714" y="58"/>
                    <a:pt x="714" y="72"/>
                    <a:pt x="714" y="86"/>
                  </a:cubicBezTo>
                  <a:close/>
                  <a:moveTo>
                    <a:pt x="741" y="44"/>
                  </a:moveTo>
                  <a:cubicBezTo>
                    <a:pt x="742" y="44"/>
                    <a:pt x="742" y="44"/>
                    <a:pt x="742" y="42"/>
                  </a:cubicBezTo>
                  <a:cubicBezTo>
                    <a:pt x="742" y="40"/>
                    <a:pt x="742" y="38"/>
                    <a:pt x="742" y="36"/>
                  </a:cubicBezTo>
                  <a:cubicBezTo>
                    <a:pt x="742" y="34"/>
                    <a:pt x="742" y="34"/>
                    <a:pt x="741" y="34"/>
                  </a:cubicBezTo>
                  <a:cubicBezTo>
                    <a:pt x="736" y="34"/>
                    <a:pt x="731" y="34"/>
                    <a:pt x="725" y="34"/>
                  </a:cubicBezTo>
                  <a:cubicBezTo>
                    <a:pt x="726" y="35"/>
                    <a:pt x="726" y="34"/>
                    <a:pt x="727" y="34"/>
                  </a:cubicBezTo>
                  <a:cubicBezTo>
                    <a:pt x="732" y="34"/>
                    <a:pt x="736" y="34"/>
                    <a:pt x="741" y="34"/>
                  </a:cubicBezTo>
                  <a:cubicBezTo>
                    <a:pt x="742" y="34"/>
                    <a:pt x="742" y="34"/>
                    <a:pt x="742" y="36"/>
                  </a:cubicBezTo>
                  <a:cubicBezTo>
                    <a:pt x="742" y="38"/>
                    <a:pt x="742" y="40"/>
                    <a:pt x="742" y="42"/>
                  </a:cubicBezTo>
                  <a:cubicBezTo>
                    <a:pt x="742" y="44"/>
                    <a:pt x="742" y="43"/>
                    <a:pt x="741" y="43"/>
                  </a:cubicBezTo>
                  <a:cubicBezTo>
                    <a:pt x="736" y="43"/>
                    <a:pt x="732" y="43"/>
                    <a:pt x="727" y="43"/>
                  </a:cubicBezTo>
                  <a:cubicBezTo>
                    <a:pt x="726" y="43"/>
                    <a:pt x="726" y="43"/>
                    <a:pt x="725" y="44"/>
                  </a:cubicBezTo>
                  <a:cubicBezTo>
                    <a:pt x="731" y="44"/>
                    <a:pt x="736" y="44"/>
                    <a:pt x="741" y="44"/>
                  </a:cubicBezTo>
                  <a:close/>
                  <a:moveTo>
                    <a:pt x="871" y="100"/>
                  </a:moveTo>
                  <a:cubicBezTo>
                    <a:pt x="871" y="93"/>
                    <a:pt x="871" y="87"/>
                    <a:pt x="871" y="80"/>
                  </a:cubicBezTo>
                  <a:cubicBezTo>
                    <a:pt x="871" y="73"/>
                    <a:pt x="871" y="67"/>
                    <a:pt x="871" y="60"/>
                  </a:cubicBezTo>
                  <a:cubicBezTo>
                    <a:pt x="870" y="61"/>
                    <a:pt x="870" y="63"/>
                    <a:pt x="870" y="64"/>
                  </a:cubicBezTo>
                  <a:cubicBezTo>
                    <a:pt x="870" y="76"/>
                    <a:pt x="870" y="88"/>
                    <a:pt x="870" y="99"/>
                  </a:cubicBezTo>
                  <a:cubicBezTo>
                    <a:pt x="870" y="100"/>
                    <a:pt x="870" y="101"/>
                    <a:pt x="870" y="101"/>
                  </a:cubicBezTo>
                  <a:cubicBezTo>
                    <a:pt x="871" y="101"/>
                    <a:pt x="871" y="100"/>
                    <a:pt x="871" y="100"/>
                  </a:cubicBezTo>
                  <a:close/>
                  <a:moveTo>
                    <a:pt x="1110" y="100"/>
                  </a:moveTo>
                  <a:cubicBezTo>
                    <a:pt x="1110" y="93"/>
                    <a:pt x="1110" y="86"/>
                    <a:pt x="1110" y="79"/>
                  </a:cubicBezTo>
                  <a:cubicBezTo>
                    <a:pt x="1110" y="73"/>
                    <a:pt x="1110" y="66"/>
                    <a:pt x="1110" y="60"/>
                  </a:cubicBezTo>
                  <a:cubicBezTo>
                    <a:pt x="1110" y="61"/>
                    <a:pt x="1110" y="63"/>
                    <a:pt x="1110" y="64"/>
                  </a:cubicBezTo>
                  <a:cubicBezTo>
                    <a:pt x="1110" y="76"/>
                    <a:pt x="1110" y="88"/>
                    <a:pt x="1110" y="99"/>
                  </a:cubicBezTo>
                  <a:cubicBezTo>
                    <a:pt x="1110" y="100"/>
                    <a:pt x="1110" y="101"/>
                    <a:pt x="1110" y="101"/>
                  </a:cubicBezTo>
                  <a:cubicBezTo>
                    <a:pt x="1111" y="101"/>
                    <a:pt x="1110" y="100"/>
                    <a:pt x="1110" y="100"/>
                  </a:cubicBezTo>
                  <a:close/>
                  <a:moveTo>
                    <a:pt x="1288" y="100"/>
                  </a:moveTo>
                  <a:cubicBezTo>
                    <a:pt x="1288" y="88"/>
                    <a:pt x="1288" y="75"/>
                    <a:pt x="1288" y="63"/>
                  </a:cubicBezTo>
                  <a:cubicBezTo>
                    <a:pt x="1288" y="64"/>
                    <a:pt x="1288" y="65"/>
                    <a:pt x="1288" y="66"/>
                  </a:cubicBezTo>
                  <a:cubicBezTo>
                    <a:pt x="1288" y="77"/>
                    <a:pt x="1288" y="88"/>
                    <a:pt x="1288" y="99"/>
                  </a:cubicBezTo>
                  <a:cubicBezTo>
                    <a:pt x="1288" y="100"/>
                    <a:pt x="1288" y="101"/>
                    <a:pt x="1288" y="101"/>
                  </a:cubicBezTo>
                  <a:cubicBezTo>
                    <a:pt x="1288" y="101"/>
                    <a:pt x="1288" y="101"/>
                    <a:pt x="1288" y="100"/>
                  </a:cubicBezTo>
                  <a:close/>
                  <a:moveTo>
                    <a:pt x="1201" y="34"/>
                  </a:moveTo>
                  <a:cubicBezTo>
                    <a:pt x="1196" y="34"/>
                    <a:pt x="1192" y="34"/>
                    <a:pt x="1187" y="34"/>
                  </a:cubicBezTo>
                  <a:cubicBezTo>
                    <a:pt x="1186" y="34"/>
                    <a:pt x="1186" y="34"/>
                    <a:pt x="1186" y="32"/>
                  </a:cubicBezTo>
                  <a:cubicBezTo>
                    <a:pt x="1186" y="27"/>
                    <a:pt x="1186" y="21"/>
                    <a:pt x="1186" y="16"/>
                  </a:cubicBezTo>
                  <a:cubicBezTo>
                    <a:pt x="1186" y="16"/>
                    <a:pt x="1186" y="15"/>
                    <a:pt x="1186" y="15"/>
                  </a:cubicBezTo>
                  <a:cubicBezTo>
                    <a:pt x="1185" y="14"/>
                    <a:pt x="1185" y="14"/>
                    <a:pt x="1185" y="15"/>
                  </a:cubicBezTo>
                  <a:cubicBezTo>
                    <a:pt x="1185" y="15"/>
                    <a:pt x="1185" y="14"/>
                    <a:pt x="1185" y="15"/>
                  </a:cubicBezTo>
                  <a:cubicBezTo>
                    <a:pt x="1185" y="15"/>
                    <a:pt x="1185" y="16"/>
                    <a:pt x="1185" y="16"/>
                  </a:cubicBezTo>
                  <a:cubicBezTo>
                    <a:pt x="1185" y="22"/>
                    <a:pt x="1185" y="27"/>
                    <a:pt x="1185" y="33"/>
                  </a:cubicBezTo>
                  <a:cubicBezTo>
                    <a:pt x="1185" y="34"/>
                    <a:pt x="1185" y="34"/>
                    <a:pt x="1187" y="34"/>
                  </a:cubicBezTo>
                  <a:cubicBezTo>
                    <a:pt x="1191" y="34"/>
                    <a:pt x="1196" y="34"/>
                    <a:pt x="1200" y="34"/>
                  </a:cubicBezTo>
                  <a:cubicBezTo>
                    <a:pt x="1201" y="34"/>
                    <a:pt x="1202" y="34"/>
                    <a:pt x="1202" y="34"/>
                  </a:cubicBezTo>
                  <a:cubicBezTo>
                    <a:pt x="1202" y="34"/>
                    <a:pt x="1201" y="34"/>
                    <a:pt x="1201" y="34"/>
                  </a:cubicBezTo>
                  <a:close/>
                  <a:moveTo>
                    <a:pt x="1346" y="16"/>
                  </a:moveTo>
                  <a:cubicBezTo>
                    <a:pt x="1346" y="19"/>
                    <a:pt x="1346" y="22"/>
                    <a:pt x="1346" y="26"/>
                  </a:cubicBezTo>
                  <a:cubicBezTo>
                    <a:pt x="1346" y="26"/>
                    <a:pt x="1346" y="26"/>
                    <a:pt x="1347" y="27"/>
                  </a:cubicBezTo>
                  <a:cubicBezTo>
                    <a:pt x="1348" y="26"/>
                    <a:pt x="1349" y="25"/>
                    <a:pt x="1350" y="23"/>
                  </a:cubicBezTo>
                  <a:cubicBezTo>
                    <a:pt x="1349" y="24"/>
                    <a:pt x="1348" y="25"/>
                    <a:pt x="1347" y="26"/>
                  </a:cubicBezTo>
                  <a:cubicBezTo>
                    <a:pt x="1347" y="22"/>
                    <a:pt x="1347" y="19"/>
                    <a:pt x="1347" y="15"/>
                  </a:cubicBezTo>
                  <a:cubicBezTo>
                    <a:pt x="1347" y="15"/>
                    <a:pt x="1347" y="15"/>
                    <a:pt x="1347" y="15"/>
                  </a:cubicBezTo>
                  <a:cubicBezTo>
                    <a:pt x="1346" y="15"/>
                    <a:pt x="1346" y="15"/>
                    <a:pt x="1346" y="16"/>
                  </a:cubicBezTo>
                  <a:close/>
                  <a:moveTo>
                    <a:pt x="1676" y="102"/>
                  </a:moveTo>
                  <a:cubicBezTo>
                    <a:pt x="1680" y="102"/>
                    <a:pt x="1683" y="102"/>
                    <a:pt x="1687" y="102"/>
                  </a:cubicBezTo>
                  <a:cubicBezTo>
                    <a:pt x="1687" y="102"/>
                    <a:pt x="1687" y="102"/>
                    <a:pt x="1688" y="102"/>
                  </a:cubicBezTo>
                  <a:cubicBezTo>
                    <a:pt x="1688" y="102"/>
                    <a:pt x="1688" y="101"/>
                    <a:pt x="1688" y="101"/>
                  </a:cubicBezTo>
                  <a:cubicBezTo>
                    <a:pt x="1688" y="101"/>
                    <a:pt x="1688" y="101"/>
                    <a:pt x="1687" y="101"/>
                  </a:cubicBezTo>
                  <a:cubicBezTo>
                    <a:pt x="1683" y="101"/>
                    <a:pt x="1679" y="101"/>
                    <a:pt x="1675" y="101"/>
                  </a:cubicBezTo>
                  <a:cubicBezTo>
                    <a:pt x="1675" y="102"/>
                    <a:pt x="1676" y="102"/>
                    <a:pt x="1676" y="102"/>
                  </a:cubicBezTo>
                  <a:close/>
                  <a:moveTo>
                    <a:pt x="603" y="34"/>
                  </a:moveTo>
                  <a:cubicBezTo>
                    <a:pt x="600" y="34"/>
                    <a:pt x="597" y="34"/>
                    <a:pt x="593" y="34"/>
                  </a:cubicBezTo>
                  <a:cubicBezTo>
                    <a:pt x="593" y="34"/>
                    <a:pt x="593" y="34"/>
                    <a:pt x="592" y="34"/>
                  </a:cubicBezTo>
                  <a:cubicBezTo>
                    <a:pt x="592" y="34"/>
                    <a:pt x="592" y="35"/>
                    <a:pt x="592" y="35"/>
                  </a:cubicBezTo>
                  <a:cubicBezTo>
                    <a:pt x="592" y="34"/>
                    <a:pt x="593" y="34"/>
                    <a:pt x="593" y="34"/>
                  </a:cubicBezTo>
                  <a:cubicBezTo>
                    <a:pt x="597" y="34"/>
                    <a:pt x="600" y="34"/>
                    <a:pt x="603" y="34"/>
                  </a:cubicBezTo>
                  <a:cubicBezTo>
                    <a:pt x="604" y="34"/>
                    <a:pt x="604" y="34"/>
                    <a:pt x="605" y="35"/>
                  </a:cubicBezTo>
                  <a:cubicBezTo>
                    <a:pt x="605" y="34"/>
                    <a:pt x="604" y="34"/>
                    <a:pt x="603" y="34"/>
                  </a:cubicBezTo>
                  <a:close/>
                  <a:moveTo>
                    <a:pt x="1471" y="59"/>
                  </a:moveTo>
                  <a:cubicBezTo>
                    <a:pt x="1471" y="56"/>
                    <a:pt x="1471" y="52"/>
                    <a:pt x="1471" y="48"/>
                  </a:cubicBezTo>
                  <a:cubicBezTo>
                    <a:pt x="1471" y="48"/>
                    <a:pt x="1471" y="47"/>
                    <a:pt x="1471" y="47"/>
                  </a:cubicBezTo>
                  <a:cubicBezTo>
                    <a:pt x="1471" y="51"/>
                    <a:pt x="1471" y="56"/>
                    <a:pt x="1471" y="60"/>
                  </a:cubicBezTo>
                  <a:cubicBezTo>
                    <a:pt x="1471" y="60"/>
                    <a:pt x="1471" y="60"/>
                    <a:pt x="1471" y="59"/>
                  </a:cubicBezTo>
                  <a:close/>
                  <a:moveTo>
                    <a:pt x="585" y="22"/>
                  </a:moveTo>
                  <a:cubicBezTo>
                    <a:pt x="585" y="21"/>
                    <a:pt x="585" y="21"/>
                    <a:pt x="585" y="21"/>
                  </a:cubicBezTo>
                  <a:cubicBezTo>
                    <a:pt x="585" y="17"/>
                    <a:pt x="585" y="14"/>
                    <a:pt x="585" y="10"/>
                  </a:cubicBezTo>
                  <a:cubicBezTo>
                    <a:pt x="585" y="10"/>
                    <a:pt x="585" y="9"/>
                    <a:pt x="585" y="9"/>
                  </a:cubicBezTo>
                  <a:cubicBezTo>
                    <a:pt x="585" y="9"/>
                    <a:pt x="585" y="9"/>
                    <a:pt x="585" y="10"/>
                  </a:cubicBezTo>
                  <a:cubicBezTo>
                    <a:pt x="585" y="13"/>
                    <a:pt x="585" y="17"/>
                    <a:pt x="585" y="21"/>
                  </a:cubicBezTo>
                  <a:cubicBezTo>
                    <a:pt x="585" y="21"/>
                    <a:pt x="585" y="21"/>
                    <a:pt x="585" y="21"/>
                  </a:cubicBezTo>
                  <a:cubicBezTo>
                    <a:pt x="585" y="22"/>
                    <a:pt x="585" y="22"/>
                    <a:pt x="585" y="22"/>
                  </a:cubicBezTo>
                  <a:close/>
                  <a:moveTo>
                    <a:pt x="1699" y="15"/>
                  </a:moveTo>
                  <a:cubicBezTo>
                    <a:pt x="1699" y="19"/>
                    <a:pt x="1699" y="22"/>
                    <a:pt x="1699" y="26"/>
                  </a:cubicBezTo>
                  <a:cubicBezTo>
                    <a:pt x="1699" y="26"/>
                    <a:pt x="1699" y="26"/>
                    <a:pt x="1699" y="26"/>
                  </a:cubicBezTo>
                  <a:cubicBezTo>
                    <a:pt x="1699" y="27"/>
                    <a:pt x="1699" y="26"/>
                    <a:pt x="1699" y="26"/>
                  </a:cubicBezTo>
                  <a:cubicBezTo>
                    <a:pt x="1699" y="26"/>
                    <a:pt x="1699" y="25"/>
                    <a:pt x="1699" y="25"/>
                  </a:cubicBezTo>
                  <a:cubicBezTo>
                    <a:pt x="1699" y="22"/>
                    <a:pt x="1699" y="19"/>
                    <a:pt x="1699" y="17"/>
                  </a:cubicBezTo>
                  <a:cubicBezTo>
                    <a:pt x="1699" y="16"/>
                    <a:pt x="1699" y="15"/>
                    <a:pt x="1699" y="15"/>
                  </a:cubicBezTo>
                  <a:cubicBezTo>
                    <a:pt x="1699" y="15"/>
                    <a:pt x="1699" y="15"/>
                    <a:pt x="1699" y="15"/>
                  </a:cubicBezTo>
                  <a:close/>
                  <a:moveTo>
                    <a:pt x="1531" y="15"/>
                  </a:moveTo>
                  <a:cubicBezTo>
                    <a:pt x="1531" y="19"/>
                    <a:pt x="1531" y="22"/>
                    <a:pt x="1531" y="26"/>
                  </a:cubicBezTo>
                  <a:cubicBezTo>
                    <a:pt x="1531" y="26"/>
                    <a:pt x="1531" y="26"/>
                    <a:pt x="1531" y="26"/>
                  </a:cubicBezTo>
                  <a:cubicBezTo>
                    <a:pt x="1531" y="27"/>
                    <a:pt x="1531" y="26"/>
                    <a:pt x="1531" y="26"/>
                  </a:cubicBezTo>
                  <a:cubicBezTo>
                    <a:pt x="1531" y="26"/>
                    <a:pt x="1531" y="25"/>
                    <a:pt x="1531" y="25"/>
                  </a:cubicBezTo>
                  <a:cubicBezTo>
                    <a:pt x="1531" y="22"/>
                    <a:pt x="1531" y="19"/>
                    <a:pt x="1531" y="17"/>
                  </a:cubicBezTo>
                  <a:cubicBezTo>
                    <a:pt x="1531" y="16"/>
                    <a:pt x="1531" y="15"/>
                    <a:pt x="1531" y="15"/>
                  </a:cubicBezTo>
                  <a:cubicBezTo>
                    <a:pt x="1531" y="15"/>
                    <a:pt x="1531" y="15"/>
                    <a:pt x="1531" y="15"/>
                  </a:cubicBezTo>
                  <a:close/>
                  <a:moveTo>
                    <a:pt x="1261" y="95"/>
                  </a:moveTo>
                  <a:cubicBezTo>
                    <a:pt x="1261" y="93"/>
                    <a:pt x="1261" y="91"/>
                    <a:pt x="1261" y="89"/>
                  </a:cubicBezTo>
                  <a:cubicBezTo>
                    <a:pt x="1261" y="88"/>
                    <a:pt x="1261" y="87"/>
                    <a:pt x="1261" y="86"/>
                  </a:cubicBezTo>
                  <a:cubicBezTo>
                    <a:pt x="1260" y="86"/>
                    <a:pt x="1260" y="87"/>
                    <a:pt x="1260" y="87"/>
                  </a:cubicBezTo>
                  <a:cubicBezTo>
                    <a:pt x="1260" y="87"/>
                    <a:pt x="1260" y="87"/>
                    <a:pt x="1261" y="87"/>
                  </a:cubicBezTo>
                  <a:cubicBezTo>
                    <a:pt x="1261" y="90"/>
                    <a:pt x="1261" y="93"/>
                    <a:pt x="1261" y="96"/>
                  </a:cubicBezTo>
                  <a:cubicBezTo>
                    <a:pt x="1261" y="96"/>
                    <a:pt x="1261" y="97"/>
                    <a:pt x="1261" y="97"/>
                  </a:cubicBezTo>
                  <a:cubicBezTo>
                    <a:pt x="1261" y="97"/>
                    <a:pt x="1261" y="96"/>
                    <a:pt x="1261" y="95"/>
                  </a:cubicBezTo>
                  <a:close/>
                  <a:moveTo>
                    <a:pt x="801" y="96"/>
                  </a:moveTo>
                  <a:cubicBezTo>
                    <a:pt x="801" y="93"/>
                    <a:pt x="801" y="90"/>
                    <a:pt x="801" y="87"/>
                  </a:cubicBezTo>
                  <a:cubicBezTo>
                    <a:pt x="801" y="87"/>
                    <a:pt x="801" y="87"/>
                    <a:pt x="801" y="86"/>
                  </a:cubicBezTo>
                  <a:cubicBezTo>
                    <a:pt x="801" y="86"/>
                    <a:pt x="801" y="86"/>
                    <a:pt x="801" y="87"/>
                  </a:cubicBezTo>
                  <a:cubicBezTo>
                    <a:pt x="801" y="87"/>
                    <a:pt x="801" y="87"/>
                    <a:pt x="801" y="87"/>
                  </a:cubicBezTo>
                  <a:cubicBezTo>
                    <a:pt x="801" y="90"/>
                    <a:pt x="801" y="93"/>
                    <a:pt x="801" y="96"/>
                  </a:cubicBezTo>
                  <a:cubicBezTo>
                    <a:pt x="801" y="97"/>
                    <a:pt x="801" y="97"/>
                    <a:pt x="800" y="97"/>
                  </a:cubicBezTo>
                  <a:cubicBezTo>
                    <a:pt x="801" y="97"/>
                    <a:pt x="801" y="97"/>
                    <a:pt x="801" y="96"/>
                  </a:cubicBezTo>
                  <a:close/>
                  <a:moveTo>
                    <a:pt x="1021" y="20"/>
                  </a:moveTo>
                  <a:cubicBezTo>
                    <a:pt x="1021" y="17"/>
                    <a:pt x="1021" y="14"/>
                    <a:pt x="1021" y="11"/>
                  </a:cubicBezTo>
                  <a:cubicBezTo>
                    <a:pt x="1021" y="10"/>
                    <a:pt x="1021" y="10"/>
                    <a:pt x="1021" y="10"/>
                  </a:cubicBezTo>
                  <a:cubicBezTo>
                    <a:pt x="1021" y="14"/>
                    <a:pt x="1021" y="17"/>
                    <a:pt x="1021" y="21"/>
                  </a:cubicBezTo>
                  <a:cubicBezTo>
                    <a:pt x="1021" y="21"/>
                    <a:pt x="1021" y="21"/>
                    <a:pt x="1021" y="20"/>
                  </a:cubicBezTo>
                  <a:close/>
                  <a:moveTo>
                    <a:pt x="951" y="51"/>
                  </a:moveTo>
                  <a:cubicBezTo>
                    <a:pt x="951" y="55"/>
                    <a:pt x="951" y="58"/>
                    <a:pt x="951" y="61"/>
                  </a:cubicBezTo>
                  <a:cubicBezTo>
                    <a:pt x="951" y="61"/>
                    <a:pt x="951" y="62"/>
                    <a:pt x="951" y="62"/>
                  </a:cubicBezTo>
                  <a:cubicBezTo>
                    <a:pt x="951" y="58"/>
                    <a:pt x="951" y="54"/>
                    <a:pt x="951" y="50"/>
                  </a:cubicBezTo>
                  <a:cubicBezTo>
                    <a:pt x="951" y="51"/>
                    <a:pt x="951" y="51"/>
                    <a:pt x="951" y="51"/>
                  </a:cubicBezTo>
                  <a:close/>
                  <a:moveTo>
                    <a:pt x="1021" y="97"/>
                  </a:moveTo>
                  <a:cubicBezTo>
                    <a:pt x="1021" y="94"/>
                    <a:pt x="1021" y="91"/>
                    <a:pt x="1021" y="88"/>
                  </a:cubicBezTo>
                  <a:cubicBezTo>
                    <a:pt x="1021" y="87"/>
                    <a:pt x="1021" y="87"/>
                    <a:pt x="1021" y="87"/>
                  </a:cubicBezTo>
                  <a:cubicBezTo>
                    <a:pt x="1021" y="87"/>
                    <a:pt x="1021" y="87"/>
                    <a:pt x="1021" y="87"/>
                  </a:cubicBezTo>
                  <a:cubicBezTo>
                    <a:pt x="1021" y="87"/>
                    <a:pt x="1021" y="87"/>
                    <a:pt x="1021" y="88"/>
                  </a:cubicBezTo>
                  <a:cubicBezTo>
                    <a:pt x="1021" y="91"/>
                    <a:pt x="1021" y="94"/>
                    <a:pt x="1021" y="98"/>
                  </a:cubicBezTo>
                  <a:cubicBezTo>
                    <a:pt x="1021" y="97"/>
                    <a:pt x="1021" y="97"/>
                    <a:pt x="1021" y="97"/>
                  </a:cubicBezTo>
                  <a:close/>
                  <a:moveTo>
                    <a:pt x="594" y="123"/>
                  </a:moveTo>
                  <a:cubicBezTo>
                    <a:pt x="594" y="126"/>
                    <a:pt x="594" y="129"/>
                    <a:pt x="594" y="132"/>
                  </a:cubicBezTo>
                  <a:cubicBezTo>
                    <a:pt x="594" y="132"/>
                    <a:pt x="594" y="132"/>
                    <a:pt x="595" y="132"/>
                  </a:cubicBezTo>
                  <a:cubicBezTo>
                    <a:pt x="595" y="132"/>
                    <a:pt x="595" y="132"/>
                    <a:pt x="595" y="132"/>
                  </a:cubicBezTo>
                  <a:cubicBezTo>
                    <a:pt x="595" y="129"/>
                    <a:pt x="595" y="126"/>
                    <a:pt x="595" y="123"/>
                  </a:cubicBezTo>
                  <a:cubicBezTo>
                    <a:pt x="595" y="123"/>
                    <a:pt x="595" y="123"/>
                    <a:pt x="596" y="123"/>
                  </a:cubicBezTo>
                  <a:cubicBezTo>
                    <a:pt x="594" y="122"/>
                    <a:pt x="594" y="122"/>
                    <a:pt x="594" y="123"/>
                  </a:cubicBezTo>
                  <a:close/>
                  <a:moveTo>
                    <a:pt x="697" y="46"/>
                  </a:moveTo>
                  <a:cubicBezTo>
                    <a:pt x="697" y="43"/>
                    <a:pt x="697" y="40"/>
                    <a:pt x="697" y="37"/>
                  </a:cubicBezTo>
                  <a:cubicBezTo>
                    <a:pt x="697" y="36"/>
                    <a:pt x="697" y="36"/>
                    <a:pt x="696" y="36"/>
                  </a:cubicBezTo>
                  <a:cubicBezTo>
                    <a:pt x="696" y="39"/>
                    <a:pt x="696" y="42"/>
                    <a:pt x="696" y="46"/>
                  </a:cubicBezTo>
                  <a:cubicBezTo>
                    <a:pt x="696" y="46"/>
                    <a:pt x="697" y="46"/>
                    <a:pt x="696" y="47"/>
                  </a:cubicBezTo>
                  <a:cubicBezTo>
                    <a:pt x="697" y="47"/>
                    <a:pt x="697" y="46"/>
                    <a:pt x="697" y="46"/>
                  </a:cubicBezTo>
                  <a:close/>
                  <a:moveTo>
                    <a:pt x="655" y="34"/>
                  </a:moveTo>
                  <a:cubicBezTo>
                    <a:pt x="652" y="34"/>
                    <a:pt x="648" y="34"/>
                    <a:pt x="645" y="34"/>
                  </a:cubicBezTo>
                  <a:cubicBezTo>
                    <a:pt x="645" y="34"/>
                    <a:pt x="645" y="34"/>
                    <a:pt x="644" y="34"/>
                  </a:cubicBezTo>
                  <a:cubicBezTo>
                    <a:pt x="645" y="34"/>
                    <a:pt x="645" y="34"/>
                    <a:pt x="645" y="34"/>
                  </a:cubicBezTo>
                  <a:cubicBezTo>
                    <a:pt x="648" y="34"/>
                    <a:pt x="652" y="34"/>
                    <a:pt x="655" y="34"/>
                  </a:cubicBezTo>
                  <a:cubicBezTo>
                    <a:pt x="655" y="34"/>
                    <a:pt x="655" y="34"/>
                    <a:pt x="656" y="35"/>
                  </a:cubicBezTo>
                  <a:cubicBezTo>
                    <a:pt x="656" y="34"/>
                    <a:pt x="655" y="34"/>
                    <a:pt x="655" y="34"/>
                  </a:cubicBezTo>
                  <a:close/>
                  <a:moveTo>
                    <a:pt x="1100" y="102"/>
                  </a:moveTo>
                  <a:cubicBezTo>
                    <a:pt x="1103" y="102"/>
                    <a:pt x="1106" y="102"/>
                    <a:pt x="1109" y="102"/>
                  </a:cubicBezTo>
                  <a:cubicBezTo>
                    <a:pt x="1109" y="102"/>
                    <a:pt x="1110" y="102"/>
                    <a:pt x="1110" y="101"/>
                  </a:cubicBezTo>
                  <a:cubicBezTo>
                    <a:pt x="1106" y="101"/>
                    <a:pt x="1103" y="101"/>
                    <a:pt x="1099" y="101"/>
                  </a:cubicBezTo>
                  <a:cubicBezTo>
                    <a:pt x="1099" y="102"/>
                    <a:pt x="1100" y="102"/>
                    <a:pt x="1100" y="102"/>
                  </a:cubicBezTo>
                  <a:close/>
                  <a:moveTo>
                    <a:pt x="860" y="102"/>
                  </a:moveTo>
                  <a:cubicBezTo>
                    <a:pt x="863" y="102"/>
                    <a:pt x="866" y="102"/>
                    <a:pt x="869" y="102"/>
                  </a:cubicBezTo>
                  <a:cubicBezTo>
                    <a:pt x="870" y="102"/>
                    <a:pt x="870" y="102"/>
                    <a:pt x="870" y="101"/>
                  </a:cubicBezTo>
                  <a:cubicBezTo>
                    <a:pt x="867" y="101"/>
                    <a:pt x="863" y="101"/>
                    <a:pt x="859" y="101"/>
                  </a:cubicBezTo>
                  <a:cubicBezTo>
                    <a:pt x="860" y="102"/>
                    <a:pt x="860" y="102"/>
                    <a:pt x="860" y="102"/>
                  </a:cubicBezTo>
                  <a:close/>
                  <a:moveTo>
                    <a:pt x="742" y="100"/>
                  </a:moveTo>
                  <a:cubicBezTo>
                    <a:pt x="742" y="97"/>
                    <a:pt x="742" y="95"/>
                    <a:pt x="742" y="93"/>
                  </a:cubicBezTo>
                  <a:cubicBezTo>
                    <a:pt x="742" y="92"/>
                    <a:pt x="742" y="92"/>
                    <a:pt x="742" y="92"/>
                  </a:cubicBezTo>
                  <a:cubicBezTo>
                    <a:pt x="742" y="91"/>
                    <a:pt x="742" y="92"/>
                    <a:pt x="742" y="92"/>
                  </a:cubicBezTo>
                  <a:cubicBezTo>
                    <a:pt x="742" y="92"/>
                    <a:pt x="742" y="92"/>
                    <a:pt x="742" y="93"/>
                  </a:cubicBezTo>
                  <a:cubicBezTo>
                    <a:pt x="742" y="95"/>
                    <a:pt x="742" y="98"/>
                    <a:pt x="742" y="100"/>
                  </a:cubicBezTo>
                  <a:cubicBezTo>
                    <a:pt x="742" y="101"/>
                    <a:pt x="742" y="101"/>
                    <a:pt x="742" y="101"/>
                  </a:cubicBezTo>
                  <a:cubicBezTo>
                    <a:pt x="743" y="101"/>
                    <a:pt x="742" y="100"/>
                    <a:pt x="742" y="100"/>
                  </a:cubicBezTo>
                  <a:close/>
                  <a:moveTo>
                    <a:pt x="1586" y="101"/>
                  </a:moveTo>
                  <a:cubicBezTo>
                    <a:pt x="1586" y="98"/>
                    <a:pt x="1586" y="95"/>
                    <a:pt x="1586" y="93"/>
                  </a:cubicBezTo>
                  <a:cubicBezTo>
                    <a:pt x="1586" y="92"/>
                    <a:pt x="1585" y="92"/>
                    <a:pt x="1585" y="92"/>
                  </a:cubicBezTo>
                  <a:cubicBezTo>
                    <a:pt x="1585" y="95"/>
                    <a:pt x="1585" y="98"/>
                    <a:pt x="1585" y="101"/>
                  </a:cubicBezTo>
                  <a:cubicBezTo>
                    <a:pt x="1585" y="101"/>
                    <a:pt x="1586" y="101"/>
                    <a:pt x="1586" y="101"/>
                  </a:cubicBezTo>
                  <a:close/>
                  <a:moveTo>
                    <a:pt x="1754" y="101"/>
                  </a:moveTo>
                  <a:cubicBezTo>
                    <a:pt x="1754" y="98"/>
                    <a:pt x="1754" y="95"/>
                    <a:pt x="1754" y="93"/>
                  </a:cubicBezTo>
                  <a:cubicBezTo>
                    <a:pt x="1754" y="92"/>
                    <a:pt x="1754" y="92"/>
                    <a:pt x="1753" y="92"/>
                  </a:cubicBezTo>
                  <a:cubicBezTo>
                    <a:pt x="1753" y="95"/>
                    <a:pt x="1753" y="98"/>
                    <a:pt x="1753" y="101"/>
                  </a:cubicBezTo>
                  <a:cubicBezTo>
                    <a:pt x="1754" y="101"/>
                    <a:pt x="1754" y="101"/>
                    <a:pt x="1754" y="101"/>
                  </a:cubicBezTo>
                  <a:close/>
                  <a:moveTo>
                    <a:pt x="1684" y="36"/>
                  </a:moveTo>
                  <a:cubicBezTo>
                    <a:pt x="1684" y="34"/>
                    <a:pt x="1684" y="31"/>
                    <a:pt x="1684" y="29"/>
                  </a:cubicBezTo>
                  <a:cubicBezTo>
                    <a:pt x="1684" y="29"/>
                    <a:pt x="1684" y="28"/>
                    <a:pt x="1684" y="28"/>
                  </a:cubicBezTo>
                  <a:cubicBezTo>
                    <a:pt x="1684" y="31"/>
                    <a:pt x="1684" y="34"/>
                    <a:pt x="1684" y="37"/>
                  </a:cubicBezTo>
                  <a:cubicBezTo>
                    <a:pt x="1684" y="37"/>
                    <a:pt x="1684" y="36"/>
                    <a:pt x="1684" y="36"/>
                  </a:cubicBezTo>
                  <a:close/>
                  <a:moveTo>
                    <a:pt x="1207" y="73"/>
                  </a:moveTo>
                  <a:cubicBezTo>
                    <a:pt x="1207" y="70"/>
                    <a:pt x="1207" y="67"/>
                    <a:pt x="1207" y="64"/>
                  </a:cubicBezTo>
                  <a:cubicBezTo>
                    <a:pt x="1207" y="66"/>
                    <a:pt x="1207" y="71"/>
                    <a:pt x="1207" y="73"/>
                  </a:cubicBezTo>
                  <a:close/>
                  <a:moveTo>
                    <a:pt x="1398" y="35"/>
                  </a:moveTo>
                  <a:cubicBezTo>
                    <a:pt x="1398" y="33"/>
                    <a:pt x="1398" y="30"/>
                    <a:pt x="1398" y="28"/>
                  </a:cubicBezTo>
                  <a:cubicBezTo>
                    <a:pt x="1398" y="28"/>
                    <a:pt x="1397" y="28"/>
                    <a:pt x="1397" y="27"/>
                  </a:cubicBezTo>
                  <a:cubicBezTo>
                    <a:pt x="1397" y="30"/>
                    <a:pt x="1397" y="33"/>
                    <a:pt x="1397" y="35"/>
                  </a:cubicBezTo>
                  <a:cubicBezTo>
                    <a:pt x="1397" y="35"/>
                    <a:pt x="1398" y="35"/>
                    <a:pt x="1398" y="35"/>
                  </a:cubicBezTo>
                  <a:close/>
                  <a:moveTo>
                    <a:pt x="1058" y="94"/>
                  </a:moveTo>
                  <a:cubicBezTo>
                    <a:pt x="1061" y="94"/>
                    <a:pt x="1064" y="94"/>
                    <a:pt x="1066" y="94"/>
                  </a:cubicBezTo>
                  <a:cubicBezTo>
                    <a:pt x="1064" y="94"/>
                    <a:pt x="1061" y="94"/>
                    <a:pt x="1058" y="94"/>
                  </a:cubicBezTo>
                  <a:close/>
                  <a:moveTo>
                    <a:pt x="1236" y="94"/>
                  </a:moveTo>
                  <a:cubicBezTo>
                    <a:pt x="1239" y="94"/>
                    <a:pt x="1242" y="94"/>
                    <a:pt x="1244" y="94"/>
                  </a:cubicBezTo>
                  <a:cubicBezTo>
                    <a:pt x="1242" y="94"/>
                    <a:pt x="1239" y="94"/>
                    <a:pt x="1236" y="94"/>
                  </a:cubicBezTo>
                  <a:close/>
                  <a:moveTo>
                    <a:pt x="598" y="133"/>
                  </a:moveTo>
                  <a:cubicBezTo>
                    <a:pt x="600" y="133"/>
                    <a:pt x="602" y="133"/>
                    <a:pt x="604" y="133"/>
                  </a:cubicBezTo>
                  <a:cubicBezTo>
                    <a:pt x="605" y="133"/>
                    <a:pt x="605" y="133"/>
                    <a:pt x="605" y="133"/>
                  </a:cubicBezTo>
                  <a:cubicBezTo>
                    <a:pt x="602" y="133"/>
                    <a:pt x="600" y="133"/>
                    <a:pt x="597" y="133"/>
                  </a:cubicBezTo>
                  <a:cubicBezTo>
                    <a:pt x="597" y="133"/>
                    <a:pt x="598" y="133"/>
                    <a:pt x="598" y="133"/>
                  </a:cubicBezTo>
                  <a:close/>
                  <a:moveTo>
                    <a:pt x="993" y="93"/>
                  </a:moveTo>
                  <a:cubicBezTo>
                    <a:pt x="996" y="93"/>
                    <a:pt x="998" y="93"/>
                    <a:pt x="1001" y="93"/>
                  </a:cubicBezTo>
                  <a:cubicBezTo>
                    <a:pt x="998" y="93"/>
                    <a:pt x="996" y="93"/>
                    <a:pt x="993" y="93"/>
                  </a:cubicBezTo>
                  <a:close/>
                  <a:moveTo>
                    <a:pt x="1559" y="54"/>
                  </a:moveTo>
                  <a:cubicBezTo>
                    <a:pt x="1561" y="53"/>
                    <a:pt x="1562" y="52"/>
                    <a:pt x="1563" y="50"/>
                  </a:cubicBezTo>
                  <a:cubicBezTo>
                    <a:pt x="1562" y="51"/>
                    <a:pt x="1561" y="53"/>
                    <a:pt x="1559" y="54"/>
                  </a:cubicBezTo>
                  <a:close/>
                  <a:moveTo>
                    <a:pt x="1728" y="54"/>
                  </a:moveTo>
                  <a:cubicBezTo>
                    <a:pt x="1729" y="53"/>
                    <a:pt x="1730" y="52"/>
                    <a:pt x="1731" y="50"/>
                  </a:cubicBezTo>
                  <a:cubicBezTo>
                    <a:pt x="1730" y="51"/>
                    <a:pt x="1729" y="53"/>
                    <a:pt x="1728" y="54"/>
                  </a:cubicBezTo>
                  <a:close/>
                  <a:moveTo>
                    <a:pt x="776" y="94"/>
                  </a:moveTo>
                  <a:cubicBezTo>
                    <a:pt x="779" y="94"/>
                    <a:pt x="782" y="94"/>
                    <a:pt x="784" y="94"/>
                  </a:cubicBezTo>
                  <a:cubicBezTo>
                    <a:pt x="782" y="94"/>
                    <a:pt x="779" y="94"/>
                    <a:pt x="776" y="94"/>
                  </a:cubicBezTo>
                  <a:close/>
                  <a:moveTo>
                    <a:pt x="672" y="94"/>
                  </a:moveTo>
                  <a:cubicBezTo>
                    <a:pt x="675" y="94"/>
                    <a:pt x="677" y="94"/>
                    <a:pt x="680" y="94"/>
                  </a:cubicBezTo>
                  <a:cubicBezTo>
                    <a:pt x="677" y="94"/>
                    <a:pt x="675" y="94"/>
                    <a:pt x="672" y="94"/>
                  </a:cubicBezTo>
                  <a:close/>
                  <a:moveTo>
                    <a:pt x="1570" y="36"/>
                  </a:moveTo>
                  <a:cubicBezTo>
                    <a:pt x="1571" y="33"/>
                    <a:pt x="1571" y="31"/>
                    <a:pt x="1570" y="29"/>
                  </a:cubicBezTo>
                  <a:cubicBezTo>
                    <a:pt x="1570" y="31"/>
                    <a:pt x="1570" y="33"/>
                    <a:pt x="1570" y="36"/>
                  </a:cubicBezTo>
                  <a:close/>
                  <a:moveTo>
                    <a:pt x="1738" y="36"/>
                  </a:moveTo>
                  <a:cubicBezTo>
                    <a:pt x="1739" y="33"/>
                    <a:pt x="1739" y="31"/>
                    <a:pt x="1738" y="29"/>
                  </a:cubicBezTo>
                  <a:cubicBezTo>
                    <a:pt x="1738" y="31"/>
                    <a:pt x="1738" y="33"/>
                    <a:pt x="1738" y="36"/>
                  </a:cubicBezTo>
                  <a:close/>
                  <a:moveTo>
                    <a:pt x="1309" y="33"/>
                  </a:moveTo>
                  <a:cubicBezTo>
                    <a:pt x="1307" y="33"/>
                    <a:pt x="1305" y="33"/>
                    <a:pt x="1303" y="33"/>
                  </a:cubicBezTo>
                  <a:cubicBezTo>
                    <a:pt x="1303" y="33"/>
                    <a:pt x="1303" y="33"/>
                    <a:pt x="1303" y="33"/>
                  </a:cubicBezTo>
                  <a:cubicBezTo>
                    <a:pt x="1305" y="33"/>
                    <a:pt x="1307" y="33"/>
                    <a:pt x="1309" y="33"/>
                  </a:cubicBezTo>
                  <a:cubicBezTo>
                    <a:pt x="1309" y="33"/>
                    <a:pt x="1309" y="33"/>
                    <a:pt x="1309" y="33"/>
                  </a:cubicBezTo>
                  <a:close/>
                  <a:moveTo>
                    <a:pt x="1029" y="66"/>
                  </a:moveTo>
                  <a:cubicBezTo>
                    <a:pt x="1029" y="68"/>
                    <a:pt x="1029" y="69"/>
                    <a:pt x="1029" y="71"/>
                  </a:cubicBezTo>
                  <a:cubicBezTo>
                    <a:pt x="1029" y="71"/>
                    <a:pt x="1029" y="72"/>
                    <a:pt x="1029" y="72"/>
                  </a:cubicBezTo>
                  <a:cubicBezTo>
                    <a:pt x="1029" y="70"/>
                    <a:pt x="1029" y="67"/>
                    <a:pt x="1029" y="65"/>
                  </a:cubicBezTo>
                  <a:cubicBezTo>
                    <a:pt x="1029" y="65"/>
                    <a:pt x="1029" y="66"/>
                    <a:pt x="1029" y="66"/>
                  </a:cubicBezTo>
                  <a:close/>
                  <a:moveTo>
                    <a:pt x="1351" y="74"/>
                  </a:moveTo>
                  <a:cubicBezTo>
                    <a:pt x="1352" y="73"/>
                    <a:pt x="1353" y="72"/>
                    <a:pt x="1354" y="71"/>
                  </a:cubicBezTo>
                  <a:cubicBezTo>
                    <a:pt x="1353" y="72"/>
                    <a:pt x="1352" y="73"/>
                    <a:pt x="1351" y="74"/>
                  </a:cubicBezTo>
                  <a:close/>
                  <a:moveTo>
                    <a:pt x="730" y="103"/>
                  </a:moveTo>
                  <a:cubicBezTo>
                    <a:pt x="731" y="103"/>
                    <a:pt x="733" y="103"/>
                    <a:pt x="735" y="103"/>
                  </a:cubicBezTo>
                  <a:cubicBezTo>
                    <a:pt x="735" y="103"/>
                    <a:pt x="735" y="103"/>
                    <a:pt x="735" y="103"/>
                  </a:cubicBezTo>
                  <a:cubicBezTo>
                    <a:pt x="733" y="103"/>
                    <a:pt x="731" y="103"/>
                    <a:pt x="729" y="103"/>
                  </a:cubicBezTo>
                  <a:cubicBezTo>
                    <a:pt x="729" y="103"/>
                    <a:pt x="729" y="103"/>
                    <a:pt x="730" y="103"/>
                  </a:cubicBezTo>
                  <a:close/>
                  <a:moveTo>
                    <a:pt x="1195" y="103"/>
                  </a:moveTo>
                  <a:cubicBezTo>
                    <a:pt x="1195" y="103"/>
                    <a:pt x="1195" y="103"/>
                    <a:pt x="1195" y="103"/>
                  </a:cubicBezTo>
                  <a:cubicBezTo>
                    <a:pt x="1193" y="103"/>
                    <a:pt x="1191" y="103"/>
                    <a:pt x="1189" y="103"/>
                  </a:cubicBezTo>
                  <a:cubicBezTo>
                    <a:pt x="1191" y="104"/>
                    <a:pt x="1193" y="103"/>
                    <a:pt x="1195" y="103"/>
                  </a:cubicBezTo>
                  <a:close/>
                  <a:moveTo>
                    <a:pt x="549" y="27"/>
                  </a:moveTo>
                  <a:cubicBezTo>
                    <a:pt x="548" y="29"/>
                    <a:pt x="548" y="31"/>
                    <a:pt x="549" y="33"/>
                  </a:cubicBezTo>
                  <a:cubicBezTo>
                    <a:pt x="549" y="31"/>
                    <a:pt x="549" y="29"/>
                    <a:pt x="549" y="27"/>
                  </a:cubicBezTo>
                  <a:close/>
                  <a:moveTo>
                    <a:pt x="658" y="51"/>
                  </a:moveTo>
                  <a:cubicBezTo>
                    <a:pt x="658" y="52"/>
                    <a:pt x="658" y="54"/>
                    <a:pt x="659" y="55"/>
                  </a:cubicBezTo>
                  <a:cubicBezTo>
                    <a:pt x="659" y="53"/>
                    <a:pt x="659" y="51"/>
                    <a:pt x="659" y="49"/>
                  </a:cubicBezTo>
                  <a:cubicBezTo>
                    <a:pt x="658" y="50"/>
                    <a:pt x="658" y="50"/>
                    <a:pt x="658" y="51"/>
                  </a:cubicBezTo>
                  <a:close/>
                  <a:moveTo>
                    <a:pt x="1409" y="48"/>
                  </a:moveTo>
                  <a:cubicBezTo>
                    <a:pt x="1409" y="49"/>
                    <a:pt x="1409" y="50"/>
                    <a:pt x="1409" y="52"/>
                  </a:cubicBezTo>
                  <a:cubicBezTo>
                    <a:pt x="1410" y="50"/>
                    <a:pt x="1410" y="48"/>
                    <a:pt x="1410" y="47"/>
                  </a:cubicBezTo>
                  <a:cubicBezTo>
                    <a:pt x="1409" y="47"/>
                    <a:pt x="1409" y="47"/>
                    <a:pt x="1409" y="48"/>
                  </a:cubicBezTo>
                  <a:close/>
                  <a:moveTo>
                    <a:pt x="1386" y="35"/>
                  </a:moveTo>
                  <a:cubicBezTo>
                    <a:pt x="1387" y="33"/>
                    <a:pt x="1387" y="31"/>
                    <a:pt x="1386" y="30"/>
                  </a:cubicBezTo>
                  <a:cubicBezTo>
                    <a:pt x="1386" y="31"/>
                    <a:pt x="1386" y="33"/>
                    <a:pt x="1386" y="35"/>
                  </a:cubicBezTo>
                  <a:close/>
                  <a:moveTo>
                    <a:pt x="694" y="70"/>
                  </a:moveTo>
                  <a:cubicBezTo>
                    <a:pt x="695" y="71"/>
                    <a:pt x="695" y="72"/>
                    <a:pt x="696" y="73"/>
                  </a:cubicBezTo>
                  <a:cubicBezTo>
                    <a:pt x="696" y="71"/>
                    <a:pt x="695" y="71"/>
                    <a:pt x="694" y="70"/>
                  </a:cubicBezTo>
                  <a:close/>
                  <a:moveTo>
                    <a:pt x="1676" y="14"/>
                  </a:moveTo>
                  <a:cubicBezTo>
                    <a:pt x="1677" y="15"/>
                    <a:pt x="1678" y="15"/>
                    <a:pt x="1679" y="16"/>
                  </a:cubicBezTo>
                  <a:cubicBezTo>
                    <a:pt x="1678" y="15"/>
                    <a:pt x="1678" y="14"/>
                    <a:pt x="1676" y="14"/>
                  </a:cubicBezTo>
                  <a:close/>
                  <a:moveTo>
                    <a:pt x="999" y="103"/>
                  </a:moveTo>
                  <a:cubicBezTo>
                    <a:pt x="1000" y="103"/>
                    <a:pt x="1001" y="104"/>
                    <a:pt x="1002" y="103"/>
                  </a:cubicBezTo>
                  <a:cubicBezTo>
                    <a:pt x="1000" y="103"/>
                    <a:pt x="999" y="103"/>
                    <a:pt x="997" y="103"/>
                  </a:cubicBezTo>
                  <a:cubicBezTo>
                    <a:pt x="998" y="103"/>
                    <a:pt x="998" y="103"/>
                    <a:pt x="999" y="103"/>
                  </a:cubicBezTo>
                  <a:close/>
                  <a:moveTo>
                    <a:pt x="1678" y="50"/>
                  </a:moveTo>
                  <a:cubicBezTo>
                    <a:pt x="1677" y="51"/>
                    <a:pt x="1677" y="52"/>
                    <a:pt x="1676" y="52"/>
                  </a:cubicBezTo>
                  <a:cubicBezTo>
                    <a:pt x="1677" y="52"/>
                    <a:pt x="1678" y="51"/>
                    <a:pt x="1678" y="50"/>
                  </a:cubicBezTo>
                  <a:close/>
                  <a:moveTo>
                    <a:pt x="747" y="72"/>
                  </a:moveTo>
                  <a:cubicBezTo>
                    <a:pt x="747" y="72"/>
                    <a:pt x="747" y="73"/>
                    <a:pt x="747" y="74"/>
                  </a:cubicBezTo>
                  <a:cubicBezTo>
                    <a:pt x="747" y="72"/>
                    <a:pt x="747" y="71"/>
                    <a:pt x="747" y="69"/>
                  </a:cubicBezTo>
                  <a:cubicBezTo>
                    <a:pt x="747" y="70"/>
                    <a:pt x="747" y="71"/>
                    <a:pt x="747" y="72"/>
                  </a:cubicBezTo>
                  <a:close/>
                  <a:moveTo>
                    <a:pt x="1078" y="39"/>
                  </a:moveTo>
                  <a:cubicBezTo>
                    <a:pt x="1079" y="39"/>
                    <a:pt x="1080" y="40"/>
                    <a:pt x="1080" y="41"/>
                  </a:cubicBezTo>
                  <a:cubicBezTo>
                    <a:pt x="1080" y="40"/>
                    <a:pt x="1079" y="39"/>
                    <a:pt x="1078" y="39"/>
                  </a:cubicBezTo>
                  <a:close/>
                  <a:moveTo>
                    <a:pt x="1307" y="43"/>
                  </a:moveTo>
                  <a:cubicBezTo>
                    <a:pt x="1305" y="43"/>
                    <a:pt x="1303" y="43"/>
                    <a:pt x="1302" y="43"/>
                  </a:cubicBezTo>
                  <a:cubicBezTo>
                    <a:pt x="1303" y="43"/>
                    <a:pt x="1305" y="43"/>
                    <a:pt x="1307" y="43"/>
                  </a:cubicBezTo>
                  <a:close/>
                  <a:moveTo>
                    <a:pt x="688" y="87"/>
                  </a:moveTo>
                  <a:cubicBezTo>
                    <a:pt x="689" y="85"/>
                    <a:pt x="689" y="84"/>
                    <a:pt x="688" y="82"/>
                  </a:cubicBezTo>
                  <a:cubicBezTo>
                    <a:pt x="688" y="84"/>
                    <a:pt x="688" y="85"/>
                    <a:pt x="688" y="87"/>
                  </a:cubicBezTo>
                  <a:close/>
                  <a:moveTo>
                    <a:pt x="1409" y="63"/>
                  </a:moveTo>
                  <a:cubicBezTo>
                    <a:pt x="1409" y="64"/>
                    <a:pt x="1409" y="65"/>
                    <a:pt x="1410" y="65"/>
                  </a:cubicBezTo>
                  <a:cubicBezTo>
                    <a:pt x="1410" y="64"/>
                    <a:pt x="1410" y="62"/>
                    <a:pt x="1409" y="61"/>
                  </a:cubicBezTo>
                  <a:cubicBezTo>
                    <a:pt x="1409" y="61"/>
                    <a:pt x="1409" y="62"/>
                    <a:pt x="1409" y="63"/>
                  </a:cubicBezTo>
                  <a:close/>
                  <a:moveTo>
                    <a:pt x="1241" y="103"/>
                  </a:moveTo>
                  <a:cubicBezTo>
                    <a:pt x="1242" y="103"/>
                    <a:pt x="1243" y="104"/>
                    <a:pt x="1244" y="103"/>
                  </a:cubicBezTo>
                  <a:cubicBezTo>
                    <a:pt x="1242" y="103"/>
                    <a:pt x="1241" y="103"/>
                    <a:pt x="1239" y="103"/>
                  </a:cubicBezTo>
                  <a:cubicBezTo>
                    <a:pt x="1240" y="103"/>
                    <a:pt x="1241" y="103"/>
                    <a:pt x="1241" y="103"/>
                  </a:cubicBezTo>
                  <a:close/>
                  <a:moveTo>
                    <a:pt x="1063" y="103"/>
                  </a:moveTo>
                  <a:cubicBezTo>
                    <a:pt x="1064" y="103"/>
                    <a:pt x="1065" y="104"/>
                    <a:pt x="1066" y="103"/>
                  </a:cubicBezTo>
                  <a:cubicBezTo>
                    <a:pt x="1064" y="103"/>
                    <a:pt x="1063" y="103"/>
                    <a:pt x="1062" y="103"/>
                  </a:cubicBezTo>
                  <a:cubicBezTo>
                    <a:pt x="1062" y="103"/>
                    <a:pt x="1063" y="103"/>
                    <a:pt x="1063" y="103"/>
                  </a:cubicBezTo>
                  <a:close/>
                  <a:moveTo>
                    <a:pt x="561" y="103"/>
                  </a:moveTo>
                  <a:cubicBezTo>
                    <a:pt x="562" y="103"/>
                    <a:pt x="563" y="104"/>
                    <a:pt x="564" y="103"/>
                  </a:cubicBezTo>
                  <a:cubicBezTo>
                    <a:pt x="562" y="103"/>
                    <a:pt x="561" y="103"/>
                    <a:pt x="560" y="103"/>
                  </a:cubicBezTo>
                  <a:cubicBezTo>
                    <a:pt x="560" y="103"/>
                    <a:pt x="561" y="103"/>
                    <a:pt x="561" y="103"/>
                  </a:cubicBezTo>
                  <a:close/>
                  <a:moveTo>
                    <a:pt x="747" y="64"/>
                  </a:moveTo>
                  <a:cubicBezTo>
                    <a:pt x="747" y="65"/>
                    <a:pt x="747" y="66"/>
                    <a:pt x="747" y="67"/>
                  </a:cubicBezTo>
                  <a:cubicBezTo>
                    <a:pt x="747" y="66"/>
                    <a:pt x="747" y="64"/>
                    <a:pt x="747" y="63"/>
                  </a:cubicBezTo>
                  <a:cubicBezTo>
                    <a:pt x="747" y="63"/>
                    <a:pt x="747" y="64"/>
                    <a:pt x="747" y="64"/>
                  </a:cubicBezTo>
                  <a:close/>
                  <a:moveTo>
                    <a:pt x="963" y="50"/>
                  </a:moveTo>
                  <a:cubicBezTo>
                    <a:pt x="962" y="52"/>
                    <a:pt x="962" y="53"/>
                    <a:pt x="962" y="55"/>
                  </a:cubicBezTo>
                  <a:cubicBezTo>
                    <a:pt x="963" y="53"/>
                    <a:pt x="963" y="52"/>
                    <a:pt x="963" y="50"/>
                  </a:cubicBezTo>
                  <a:close/>
                  <a:moveTo>
                    <a:pt x="962" y="57"/>
                  </a:moveTo>
                  <a:cubicBezTo>
                    <a:pt x="962" y="58"/>
                    <a:pt x="962" y="60"/>
                    <a:pt x="963" y="61"/>
                  </a:cubicBezTo>
                  <a:cubicBezTo>
                    <a:pt x="963" y="59"/>
                    <a:pt x="963" y="58"/>
                    <a:pt x="962" y="57"/>
                  </a:cubicBezTo>
                  <a:close/>
                  <a:moveTo>
                    <a:pt x="993" y="103"/>
                  </a:moveTo>
                  <a:cubicBezTo>
                    <a:pt x="992" y="103"/>
                    <a:pt x="991" y="103"/>
                    <a:pt x="989" y="103"/>
                  </a:cubicBezTo>
                  <a:cubicBezTo>
                    <a:pt x="991" y="104"/>
                    <a:pt x="992" y="103"/>
                    <a:pt x="993" y="103"/>
                  </a:cubicBezTo>
                  <a:close/>
                  <a:moveTo>
                    <a:pt x="784" y="103"/>
                  </a:moveTo>
                  <a:cubicBezTo>
                    <a:pt x="782" y="103"/>
                    <a:pt x="781" y="103"/>
                    <a:pt x="779" y="103"/>
                  </a:cubicBezTo>
                  <a:cubicBezTo>
                    <a:pt x="781" y="103"/>
                    <a:pt x="782" y="104"/>
                    <a:pt x="784" y="103"/>
                  </a:cubicBezTo>
                  <a:close/>
                  <a:moveTo>
                    <a:pt x="1658" y="67"/>
                  </a:moveTo>
                  <a:cubicBezTo>
                    <a:pt x="1658" y="66"/>
                    <a:pt x="1657" y="65"/>
                    <a:pt x="1656" y="65"/>
                  </a:cubicBezTo>
                  <a:cubicBezTo>
                    <a:pt x="1657" y="65"/>
                    <a:pt x="1657" y="66"/>
                    <a:pt x="1658" y="67"/>
                  </a:cubicBezTo>
                  <a:close/>
                  <a:moveTo>
                    <a:pt x="1144" y="62"/>
                  </a:moveTo>
                  <a:cubicBezTo>
                    <a:pt x="1144" y="60"/>
                    <a:pt x="1144" y="59"/>
                    <a:pt x="1144" y="58"/>
                  </a:cubicBezTo>
                  <a:cubicBezTo>
                    <a:pt x="1144" y="59"/>
                    <a:pt x="1143" y="61"/>
                    <a:pt x="1144" y="62"/>
                  </a:cubicBezTo>
                  <a:close/>
                  <a:moveTo>
                    <a:pt x="599" y="123"/>
                  </a:moveTo>
                  <a:cubicBezTo>
                    <a:pt x="600" y="124"/>
                    <a:pt x="601" y="124"/>
                    <a:pt x="603" y="123"/>
                  </a:cubicBezTo>
                  <a:cubicBezTo>
                    <a:pt x="601" y="123"/>
                    <a:pt x="600" y="123"/>
                    <a:pt x="599" y="123"/>
                  </a:cubicBezTo>
                  <a:close/>
                  <a:moveTo>
                    <a:pt x="571" y="16"/>
                  </a:moveTo>
                  <a:cubicBezTo>
                    <a:pt x="570" y="16"/>
                    <a:pt x="569" y="16"/>
                    <a:pt x="568" y="16"/>
                  </a:cubicBezTo>
                  <a:cubicBezTo>
                    <a:pt x="569" y="17"/>
                    <a:pt x="570" y="16"/>
                    <a:pt x="571" y="16"/>
                  </a:cubicBezTo>
                  <a:close/>
                  <a:moveTo>
                    <a:pt x="1004" y="16"/>
                  </a:moveTo>
                  <a:cubicBezTo>
                    <a:pt x="1003" y="16"/>
                    <a:pt x="1002" y="16"/>
                    <a:pt x="1000" y="16"/>
                  </a:cubicBezTo>
                  <a:cubicBezTo>
                    <a:pt x="1002" y="17"/>
                    <a:pt x="1003" y="16"/>
                    <a:pt x="1004" y="16"/>
                  </a:cubicBezTo>
                  <a:close/>
                  <a:moveTo>
                    <a:pt x="997" y="16"/>
                  </a:moveTo>
                  <a:cubicBezTo>
                    <a:pt x="996" y="16"/>
                    <a:pt x="995" y="16"/>
                    <a:pt x="994" y="16"/>
                  </a:cubicBezTo>
                  <a:cubicBezTo>
                    <a:pt x="995" y="16"/>
                    <a:pt x="996" y="17"/>
                    <a:pt x="997" y="16"/>
                  </a:cubicBezTo>
                  <a:close/>
                  <a:moveTo>
                    <a:pt x="1003" y="6"/>
                  </a:moveTo>
                  <a:cubicBezTo>
                    <a:pt x="1004" y="6"/>
                    <a:pt x="1005" y="6"/>
                    <a:pt x="1007" y="6"/>
                  </a:cubicBezTo>
                  <a:cubicBezTo>
                    <a:pt x="1005" y="5"/>
                    <a:pt x="1004" y="6"/>
                    <a:pt x="1003" y="6"/>
                  </a:cubicBezTo>
                  <a:close/>
                  <a:moveTo>
                    <a:pt x="571" y="6"/>
                  </a:moveTo>
                  <a:cubicBezTo>
                    <a:pt x="572" y="6"/>
                    <a:pt x="573" y="6"/>
                    <a:pt x="575" y="6"/>
                  </a:cubicBezTo>
                  <a:cubicBezTo>
                    <a:pt x="574" y="5"/>
                    <a:pt x="572" y="6"/>
                    <a:pt x="571" y="6"/>
                  </a:cubicBezTo>
                  <a:close/>
                  <a:moveTo>
                    <a:pt x="680" y="103"/>
                  </a:moveTo>
                  <a:cubicBezTo>
                    <a:pt x="679" y="103"/>
                    <a:pt x="678" y="103"/>
                    <a:pt x="676" y="103"/>
                  </a:cubicBezTo>
                  <a:cubicBezTo>
                    <a:pt x="678" y="103"/>
                    <a:pt x="679" y="104"/>
                    <a:pt x="680" y="103"/>
                  </a:cubicBezTo>
                  <a:close/>
                  <a:moveTo>
                    <a:pt x="1236" y="103"/>
                  </a:moveTo>
                  <a:cubicBezTo>
                    <a:pt x="1235" y="103"/>
                    <a:pt x="1234" y="103"/>
                    <a:pt x="1233" y="103"/>
                  </a:cubicBezTo>
                  <a:cubicBezTo>
                    <a:pt x="1234" y="104"/>
                    <a:pt x="1235" y="103"/>
                    <a:pt x="1236" y="103"/>
                  </a:cubicBezTo>
                  <a:close/>
                  <a:moveTo>
                    <a:pt x="1058" y="103"/>
                  </a:moveTo>
                  <a:cubicBezTo>
                    <a:pt x="1057" y="103"/>
                    <a:pt x="1056" y="103"/>
                    <a:pt x="1055" y="103"/>
                  </a:cubicBezTo>
                  <a:cubicBezTo>
                    <a:pt x="1056" y="104"/>
                    <a:pt x="1057" y="103"/>
                    <a:pt x="1058" y="103"/>
                  </a:cubicBezTo>
                  <a:close/>
                  <a:moveTo>
                    <a:pt x="1470" y="42"/>
                  </a:moveTo>
                  <a:cubicBezTo>
                    <a:pt x="1470" y="43"/>
                    <a:pt x="1470" y="44"/>
                    <a:pt x="1471" y="46"/>
                  </a:cubicBezTo>
                  <a:cubicBezTo>
                    <a:pt x="1471" y="44"/>
                    <a:pt x="1471" y="43"/>
                    <a:pt x="1470" y="42"/>
                  </a:cubicBezTo>
                  <a:close/>
                  <a:moveTo>
                    <a:pt x="733" y="94"/>
                  </a:moveTo>
                  <a:cubicBezTo>
                    <a:pt x="735" y="94"/>
                    <a:pt x="736" y="94"/>
                    <a:pt x="737" y="94"/>
                  </a:cubicBezTo>
                  <a:cubicBezTo>
                    <a:pt x="736" y="94"/>
                    <a:pt x="735" y="94"/>
                    <a:pt x="733" y="94"/>
                  </a:cubicBezTo>
                  <a:close/>
                  <a:moveTo>
                    <a:pt x="1444" y="103"/>
                  </a:moveTo>
                  <a:cubicBezTo>
                    <a:pt x="1443" y="103"/>
                    <a:pt x="1442" y="103"/>
                    <a:pt x="1441" y="103"/>
                  </a:cubicBezTo>
                  <a:cubicBezTo>
                    <a:pt x="1442" y="103"/>
                    <a:pt x="1443" y="104"/>
                    <a:pt x="1444" y="103"/>
                  </a:cubicBezTo>
                  <a:close/>
                  <a:moveTo>
                    <a:pt x="878" y="45"/>
                  </a:moveTo>
                  <a:cubicBezTo>
                    <a:pt x="877" y="46"/>
                    <a:pt x="876" y="46"/>
                    <a:pt x="876" y="47"/>
                  </a:cubicBezTo>
                  <a:cubicBezTo>
                    <a:pt x="877" y="47"/>
                    <a:pt x="877" y="46"/>
                    <a:pt x="878" y="45"/>
                  </a:cubicBezTo>
                  <a:close/>
                  <a:moveTo>
                    <a:pt x="1567" y="21"/>
                  </a:moveTo>
                  <a:cubicBezTo>
                    <a:pt x="1566" y="20"/>
                    <a:pt x="1566" y="19"/>
                    <a:pt x="1565" y="19"/>
                  </a:cubicBezTo>
                  <a:cubicBezTo>
                    <a:pt x="1565" y="20"/>
                    <a:pt x="1566" y="20"/>
                    <a:pt x="1567" y="21"/>
                  </a:cubicBezTo>
                  <a:close/>
                  <a:moveTo>
                    <a:pt x="1750" y="33"/>
                  </a:moveTo>
                  <a:cubicBezTo>
                    <a:pt x="1749" y="34"/>
                    <a:pt x="1749" y="35"/>
                    <a:pt x="1749" y="36"/>
                  </a:cubicBezTo>
                  <a:cubicBezTo>
                    <a:pt x="1750" y="35"/>
                    <a:pt x="1750" y="34"/>
                    <a:pt x="1750" y="33"/>
                  </a:cubicBezTo>
                  <a:close/>
                  <a:moveTo>
                    <a:pt x="673" y="44"/>
                  </a:moveTo>
                  <a:cubicBezTo>
                    <a:pt x="672" y="45"/>
                    <a:pt x="672" y="45"/>
                    <a:pt x="671" y="46"/>
                  </a:cubicBezTo>
                  <a:cubicBezTo>
                    <a:pt x="672" y="46"/>
                    <a:pt x="673" y="45"/>
                    <a:pt x="673" y="44"/>
                  </a:cubicBezTo>
                  <a:close/>
                  <a:moveTo>
                    <a:pt x="1193" y="94"/>
                  </a:moveTo>
                  <a:cubicBezTo>
                    <a:pt x="1195" y="94"/>
                    <a:pt x="1196" y="94"/>
                    <a:pt x="1197" y="94"/>
                  </a:cubicBezTo>
                  <a:cubicBezTo>
                    <a:pt x="1196" y="94"/>
                    <a:pt x="1195" y="94"/>
                    <a:pt x="1193" y="94"/>
                  </a:cubicBezTo>
                  <a:close/>
                  <a:moveTo>
                    <a:pt x="776" y="103"/>
                  </a:moveTo>
                  <a:cubicBezTo>
                    <a:pt x="775" y="103"/>
                    <a:pt x="774" y="103"/>
                    <a:pt x="773" y="103"/>
                  </a:cubicBezTo>
                  <a:cubicBezTo>
                    <a:pt x="774" y="104"/>
                    <a:pt x="775" y="103"/>
                    <a:pt x="776" y="103"/>
                  </a:cubicBezTo>
                  <a:close/>
                  <a:moveTo>
                    <a:pt x="1582" y="33"/>
                  </a:moveTo>
                  <a:cubicBezTo>
                    <a:pt x="1581" y="34"/>
                    <a:pt x="1581" y="35"/>
                    <a:pt x="1581" y="36"/>
                  </a:cubicBezTo>
                  <a:cubicBezTo>
                    <a:pt x="1582" y="35"/>
                    <a:pt x="1582" y="34"/>
                    <a:pt x="1582" y="33"/>
                  </a:cubicBezTo>
                  <a:close/>
                  <a:moveTo>
                    <a:pt x="1695" y="94"/>
                  </a:moveTo>
                  <a:cubicBezTo>
                    <a:pt x="1696" y="93"/>
                    <a:pt x="1696" y="92"/>
                    <a:pt x="1696" y="91"/>
                  </a:cubicBezTo>
                  <a:cubicBezTo>
                    <a:pt x="1695" y="92"/>
                    <a:pt x="1695" y="93"/>
                    <a:pt x="1695" y="94"/>
                  </a:cubicBezTo>
                  <a:close/>
                  <a:moveTo>
                    <a:pt x="1471" y="62"/>
                  </a:moveTo>
                  <a:cubicBezTo>
                    <a:pt x="1470" y="63"/>
                    <a:pt x="1470" y="64"/>
                    <a:pt x="1470" y="65"/>
                  </a:cubicBezTo>
                  <a:cubicBezTo>
                    <a:pt x="1471" y="64"/>
                    <a:pt x="1471" y="63"/>
                    <a:pt x="1471" y="62"/>
                  </a:cubicBezTo>
                  <a:close/>
                  <a:moveTo>
                    <a:pt x="764" y="87"/>
                  </a:moveTo>
                  <a:cubicBezTo>
                    <a:pt x="764" y="88"/>
                    <a:pt x="765" y="89"/>
                    <a:pt x="766" y="89"/>
                  </a:cubicBezTo>
                  <a:cubicBezTo>
                    <a:pt x="765" y="88"/>
                    <a:pt x="765" y="88"/>
                    <a:pt x="764" y="87"/>
                  </a:cubicBezTo>
                  <a:close/>
                  <a:moveTo>
                    <a:pt x="805" y="59"/>
                  </a:moveTo>
                  <a:cubicBezTo>
                    <a:pt x="805" y="60"/>
                    <a:pt x="805" y="61"/>
                    <a:pt x="806" y="62"/>
                  </a:cubicBezTo>
                  <a:cubicBezTo>
                    <a:pt x="806" y="61"/>
                    <a:pt x="806" y="60"/>
                    <a:pt x="805" y="59"/>
                  </a:cubicBezTo>
                  <a:close/>
                  <a:moveTo>
                    <a:pt x="673" y="103"/>
                  </a:moveTo>
                  <a:cubicBezTo>
                    <a:pt x="672" y="103"/>
                    <a:pt x="671" y="103"/>
                    <a:pt x="670" y="103"/>
                  </a:cubicBezTo>
                  <a:cubicBezTo>
                    <a:pt x="671" y="104"/>
                    <a:pt x="672" y="103"/>
                    <a:pt x="673" y="103"/>
                  </a:cubicBezTo>
                  <a:close/>
                  <a:moveTo>
                    <a:pt x="557" y="103"/>
                  </a:moveTo>
                  <a:cubicBezTo>
                    <a:pt x="556" y="103"/>
                    <a:pt x="555" y="103"/>
                    <a:pt x="553" y="103"/>
                  </a:cubicBezTo>
                  <a:cubicBezTo>
                    <a:pt x="554" y="104"/>
                    <a:pt x="556" y="103"/>
                    <a:pt x="557" y="103"/>
                  </a:cubicBezTo>
                  <a:close/>
                  <a:moveTo>
                    <a:pt x="1256" y="39"/>
                  </a:moveTo>
                  <a:cubicBezTo>
                    <a:pt x="1257" y="40"/>
                    <a:pt x="1257" y="40"/>
                    <a:pt x="1258" y="41"/>
                  </a:cubicBezTo>
                  <a:cubicBezTo>
                    <a:pt x="1258" y="40"/>
                    <a:pt x="1257" y="39"/>
                    <a:pt x="1256" y="39"/>
                  </a:cubicBezTo>
                  <a:close/>
                  <a:moveTo>
                    <a:pt x="1735" y="21"/>
                  </a:moveTo>
                  <a:cubicBezTo>
                    <a:pt x="1735" y="20"/>
                    <a:pt x="1734" y="19"/>
                    <a:pt x="1733" y="19"/>
                  </a:cubicBezTo>
                  <a:cubicBezTo>
                    <a:pt x="1734" y="20"/>
                    <a:pt x="1734" y="20"/>
                    <a:pt x="1735" y="21"/>
                  </a:cubicBezTo>
                  <a:close/>
                  <a:moveTo>
                    <a:pt x="835" y="45"/>
                  </a:moveTo>
                  <a:cubicBezTo>
                    <a:pt x="834" y="46"/>
                    <a:pt x="834" y="46"/>
                    <a:pt x="833" y="47"/>
                  </a:cubicBezTo>
                  <a:cubicBezTo>
                    <a:pt x="834" y="47"/>
                    <a:pt x="835" y="46"/>
                    <a:pt x="835" y="45"/>
                  </a:cubicBezTo>
                  <a:close/>
                  <a:moveTo>
                    <a:pt x="685" y="42"/>
                  </a:moveTo>
                  <a:cubicBezTo>
                    <a:pt x="685" y="42"/>
                    <a:pt x="684" y="42"/>
                    <a:pt x="683" y="42"/>
                  </a:cubicBezTo>
                  <a:cubicBezTo>
                    <a:pt x="683" y="43"/>
                    <a:pt x="685" y="42"/>
                    <a:pt x="685" y="42"/>
                  </a:cubicBezTo>
                  <a:close/>
                  <a:moveTo>
                    <a:pt x="1438" y="103"/>
                  </a:moveTo>
                  <a:cubicBezTo>
                    <a:pt x="1437" y="103"/>
                    <a:pt x="1436" y="103"/>
                    <a:pt x="1435" y="103"/>
                  </a:cubicBezTo>
                  <a:cubicBezTo>
                    <a:pt x="1436" y="104"/>
                    <a:pt x="1437" y="103"/>
                    <a:pt x="1438" y="103"/>
                  </a:cubicBezTo>
                  <a:close/>
                  <a:moveTo>
                    <a:pt x="902" y="59"/>
                  </a:moveTo>
                  <a:cubicBezTo>
                    <a:pt x="902" y="58"/>
                    <a:pt x="902" y="57"/>
                    <a:pt x="901" y="56"/>
                  </a:cubicBezTo>
                  <a:cubicBezTo>
                    <a:pt x="901" y="57"/>
                    <a:pt x="901" y="58"/>
                    <a:pt x="902" y="59"/>
                  </a:cubicBezTo>
                  <a:close/>
                  <a:moveTo>
                    <a:pt x="566" y="6"/>
                  </a:moveTo>
                  <a:cubicBezTo>
                    <a:pt x="567" y="6"/>
                    <a:pt x="567" y="6"/>
                    <a:pt x="568" y="6"/>
                  </a:cubicBezTo>
                  <a:cubicBezTo>
                    <a:pt x="567" y="5"/>
                    <a:pt x="567" y="5"/>
                    <a:pt x="566" y="6"/>
                  </a:cubicBezTo>
                  <a:close/>
                  <a:moveTo>
                    <a:pt x="700" y="82"/>
                  </a:moveTo>
                  <a:cubicBezTo>
                    <a:pt x="700" y="83"/>
                    <a:pt x="700" y="84"/>
                    <a:pt x="700" y="85"/>
                  </a:cubicBezTo>
                  <a:cubicBezTo>
                    <a:pt x="700" y="84"/>
                    <a:pt x="700" y="83"/>
                    <a:pt x="700" y="82"/>
                  </a:cubicBezTo>
                  <a:close/>
                  <a:moveTo>
                    <a:pt x="758" y="72"/>
                  </a:moveTo>
                  <a:cubicBezTo>
                    <a:pt x="758" y="73"/>
                    <a:pt x="758" y="74"/>
                    <a:pt x="759" y="75"/>
                  </a:cubicBezTo>
                  <a:cubicBezTo>
                    <a:pt x="759" y="74"/>
                    <a:pt x="759" y="73"/>
                    <a:pt x="758" y="72"/>
                  </a:cubicBezTo>
                  <a:close/>
                  <a:moveTo>
                    <a:pt x="1527" y="94"/>
                  </a:moveTo>
                  <a:cubicBezTo>
                    <a:pt x="1527" y="93"/>
                    <a:pt x="1527" y="92"/>
                    <a:pt x="1527" y="91"/>
                  </a:cubicBezTo>
                  <a:cubicBezTo>
                    <a:pt x="1527" y="92"/>
                    <a:pt x="1527" y="93"/>
                    <a:pt x="1527" y="94"/>
                  </a:cubicBezTo>
                  <a:close/>
                  <a:moveTo>
                    <a:pt x="1364" y="6"/>
                  </a:moveTo>
                  <a:cubicBezTo>
                    <a:pt x="1365" y="6"/>
                    <a:pt x="1366" y="6"/>
                    <a:pt x="1367" y="6"/>
                  </a:cubicBezTo>
                  <a:cubicBezTo>
                    <a:pt x="1366" y="6"/>
                    <a:pt x="1365" y="5"/>
                    <a:pt x="1364" y="6"/>
                  </a:cubicBezTo>
                  <a:close/>
                  <a:moveTo>
                    <a:pt x="992" y="6"/>
                  </a:moveTo>
                  <a:cubicBezTo>
                    <a:pt x="993" y="6"/>
                    <a:pt x="994" y="6"/>
                    <a:pt x="995" y="6"/>
                  </a:cubicBezTo>
                  <a:cubicBezTo>
                    <a:pt x="994" y="6"/>
                    <a:pt x="993" y="5"/>
                    <a:pt x="992" y="6"/>
                  </a:cubicBezTo>
                  <a:close/>
                  <a:moveTo>
                    <a:pt x="561" y="6"/>
                  </a:moveTo>
                  <a:cubicBezTo>
                    <a:pt x="562" y="6"/>
                    <a:pt x="563" y="6"/>
                    <a:pt x="564" y="6"/>
                  </a:cubicBezTo>
                  <a:cubicBezTo>
                    <a:pt x="563" y="6"/>
                    <a:pt x="562" y="5"/>
                    <a:pt x="561" y="6"/>
                  </a:cubicBezTo>
                  <a:close/>
                  <a:moveTo>
                    <a:pt x="565" y="16"/>
                  </a:moveTo>
                  <a:cubicBezTo>
                    <a:pt x="564" y="16"/>
                    <a:pt x="563" y="16"/>
                    <a:pt x="562" y="16"/>
                  </a:cubicBezTo>
                  <a:cubicBezTo>
                    <a:pt x="563" y="16"/>
                    <a:pt x="564" y="17"/>
                    <a:pt x="565" y="16"/>
                  </a:cubicBezTo>
                  <a:close/>
                  <a:moveTo>
                    <a:pt x="1581" y="26"/>
                  </a:moveTo>
                  <a:cubicBezTo>
                    <a:pt x="1581" y="27"/>
                    <a:pt x="1581" y="28"/>
                    <a:pt x="1582" y="29"/>
                  </a:cubicBezTo>
                  <a:cubicBezTo>
                    <a:pt x="1582" y="28"/>
                    <a:pt x="1582" y="27"/>
                    <a:pt x="1581" y="26"/>
                  </a:cubicBezTo>
                  <a:close/>
                  <a:moveTo>
                    <a:pt x="998" y="6"/>
                  </a:moveTo>
                  <a:cubicBezTo>
                    <a:pt x="999" y="6"/>
                    <a:pt x="999" y="6"/>
                    <a:pt x="1000" y="6"/>
                  </a:cubicBezTo>
                  <a:cubicBezTo>
                    <a:pt x="999" y="5"/>
                    <a:pt x="999" y="5"/>
                    <a:pt x="998" y="6"/>
                  </a:cubicBezTo>
                  <a:close/>
                  <a:moveTo>
                    <a:pt x="1410" y="69"/>
                  </a:moveTo>
                  <a:cubicBezTo>
                    <a:pt x="1410" y="68"/>
                    <a:pt x="1410" y="67"/>
                    <a:pt x="1410" y="66"/>
                  </a:cubicBezTo>
                  <a:cubicBezTo>
                    <a:pt x="1410" y="67"/>
                    <a:pt x="1409" y="68"/>
                    <a:pt x="1410" y="69"/>
                  </a:cubicBezTo>
                  <a:close/>
                  <a:moveTo>
                    <a:pt x="886" y="33"/>
                  </a:moveTo>
                  <a:cubicBezTo>
                    <a:pt x="886" y="33"/>
                    <a:pt x="887" y="33"/>
                    <a:pt x="888" y="33"/>
                  </a:cubicBezTo>
                  <a:cubicBezTo>
                    <a:pt x="887" y="33"/>
                    <a:pt x="886" y="32"/>
                    <a:pt x="886" y="33"/>
                  </a:cubicBezTo>
                  <a:close/>
                  <a:moveTo>
                    <a:pt x="1726" y="6"/>
                  </a:moveTo>
                  <a:cubicBezTo>
                    <a:pt x="1726" y="6"/>
                    <a:pt x="1727" y="6"/>
                    <a:pt x="1728" y="6"/>
                  </a:cubicBezTo>
                  <a:cubicBezTo>
                    <a:pt x="1727" y="5"/>
                    <a:pt x="1727" y="6"/>
                    <a:pt x="1726" y="6"/>
                  </a:cubicBezTo>
                  <a:close/>
                  <a:moveTo>
                    <a:pt x="725" y="83"/>
                  </a:moveTo>
                  <a:cubicBezTo>
                    <a:pt x="725" y="84"/>
                    <a:pt x="725" y="85"/>
                    <a:pt x="726" y="86"/>
                  </a:cubicBezTo>
                  <a:cubicBezTo>
                    <a:pt x="726" y="85"/>
                    <a:pt x="726" y="84"/>
                    <a:pt x="725" y="83"/>
                  </a:cubicBezTo>
                  <a:close/>
                  <a:moveTo>
                    <a:pt x="1717" y="6"/>
                  </a:moveTo>
                  <a:cubicBezTo>
                    <a:pt x="1718" y="6"/>
                    <a:pt x="1719" y="6"/>
                    <a:pt x="1719" y="6"/>
                  </a:cubicBezTo>
                  <a:cubicBezTo>
                    <a:pt x="1719" y="6"/>
                    <a:pt x="1718" y="5"/>
                    <a:pt x="1717" y="6"/>
                  </a:cubicBezTo>
                  <a:close/>
                  <a:moveTo>
                    <a:pt x="1410" y="46"/>
                  </a:moveTo>
                  <a:cubicBezTo>
                    <a:pt x="1410" y="45"/>
                    <a:pt x="1410" y="44"/>
                    <a:pt x="1410" y="43"/>
                  </a:cubicBezTo>
                  <a:cubicBezTo>
                    <a:pt x="1409" y="44"/>
                    <a:pt x="1410" y="45"/>
                    <a:pt x="1410" y="46"/>
                  </a:cubicBezTo>
                  <a:close/>
                  <a:moveTo>
                    <a:pt x="1063" y="33"/>
                  </a:moveTo>
                  <a:cubicBezTo>
                    <a:pt x="1064" y="33"/>
                    <a:pt x="1065" y="33"/>
                    <a:pt x="1065" y="33"/>
                  </a:cubicBezTo>
                  <a:cubicBezTo>
                    <a:pt x="1065" y="32"/>
                    <a:pt x="1064" y="33"/>
                    <a:pt x="1063" y="33"/>
                  </a:cubicBezTo>
                  <a:close/>
                  <a:moveTo>
                    <a:pt x="1029" y="64"/>
                  </a:moveTo>
                  <a:cubicBezTo>
                    <a:pt x="1030" y="63"/>
                    <a:pt x="1030" y="62"/>
                    <a:pt x="1030" y="61"/>
                  </a:cubicBezTo>
                  <a:cubicBezTo>
                    <a:pt x="1029" y="62"/>
                    <a:pt x="1029" y="63"/>
                    <a:pt x="1029" y="64"/>
                  </a:cubicBezTo>
                  <a:close/>
                  <a:moveTo>
                    <a:pt x="1558" y="6"/>
                  </a:moveTo>
                  <a:cubicBezTo>
                    <a:pt x="1558" y="6"/>
                    <a:pt x="1559" y="6"/>
                    <a:pt x="1560" y="6"/>
                  </a:cubicBezTo>
                  <a:cubicBezTo>
                    <a:pt x="1559" y="5"/>
                    <a:pt x="1558" y="6"/>
                    <a:pt x="1558" y="6"/>
                  </a:cubicBezTo>
                  <a:close/>
                  <a:moveTo>
                    <a:pt x="1549" y="6"/>
                  </a:moveTo>
                  <a:cubicBezTo>
                    <a:pt x="1550" y="6"/>
                    <a:pt x="1550" y="6"/>
                    <a:pt x="1551" y="6"/>
                  </a:cubicBezTo>
                  <a:cubicBezTo>
                    <a:pt x="1550" y="6"/>
                    <a:pt x="1549" y="5"/>
                    <a:pt x="1549" y="6"/>
                  </a:cubicBezTo>
                  <a:close/>
                  <a:moveTo>
                    <a:pt x="1444" y="6"/>
                  </a:moveTo>
                  <a:cubicBezTo>
                    <a:pt x="1445" y="6"/>
                    <a:pt x="1445" y="6"/>
                    <a:pt x="1446" y="6"/>
                  </a:cubicBezTo>
                  <a:cubicBezTo>
                    <a:pt x="1446" y="5"/>
                    <a:pt x="1445" y="6"/>
                    <a:pt x="1444" y="6"/>
                  </a:cubicBezTo>
                  <a:close/>
                  <a:moveTo>
                    <a:pt x="1750" y="27"/>
                  </a:moveTo>
                  <a:cubicBezTo>
                    <a:pt x="1749" y="28"/>
                    <a:pt x="1749" y="28"/>
                    <a:pt x="1750" y="29"/>
                  </a:cubicBezTo>
                  <a:cubicBezTo>
                    <a:pt x="1750" y="28"/>
                    <a:pt x="1750" y="27"/>
                    <a:pt x="1750" y="27"/>
                  </a:cubicBezTo>
                  <a:close/>
                  <a:moveTo>
                    <a:pt x="1373" y="6"/>
                  </a:moveTo>
                  <a:cubicBezTo>
                    <a:pt x="1374" y="6"/>
                    <a:pt x="1375" y="6"/>
                    <a:pt x="1376" y="6"/>
                  </a:cubicBezTo>
                  <a:cubicBezTo>
                    <a:pt x="1375" y="5"/>
                    <a:pt x="1374" y="6"/>
                    <a:pt x="1373" y="6"/>
                  </a:cubicBezTo>
                  <a:close/>
                  <a:moveTo>
                    <a:pt x="1135" y="33"/>
                  </a:moveTo>
                  <a:cubicBezTo>
                    <a:pt x="1135" y="33"/>
                    <a:pt x="1136" y="33"/>
                    <a:pt x="1137" y="33"/>
                  </a:cubicBezTo>
                  <a:cubicBezTo>
                    <a:pt x="1136" y="32"/>
                    <a:pt x="1136" y="33"/>
                    <a:pt x="1135" y="33"/>
                  </a:cubicBezTo>
                  <a:close/>
                  <a:moveTo>
                    <a:pt x="720" y="99"/>
                  </a:moveTo>
                  <a:cubicBezTo>
                    <a:pt x="720" y="99"/>
                    <a:pt x="719" y="98"/>
                    <a:pt x="719" y="98"/>
                  </a:cubicBezTo>
                  <a:cubicBezTo>
                    <a:pt x="719" y="99"/>
                    <a:pt x="719" y="99"/>
                    <a:pt x="720" y="99"/>
                  </a:cubicBezTo>
                  <a:close/>
                  <a:moveTo>
                    <a:pt x="1030" y="76"/>
                  </a:moveTo>
                  <a:cubicBezTo>
                    <a:pt x="1030" y="75"/>
                    <a:pt x="1030" y="74"/>
                    <a:pt x="1029" y="73"/>
                  </a:cubicBezTo>
                  <a:cubicBezTo>
                    <a:pt x="1029" y="74"/>
                    <a:pt x="1029" y="75"/>
                    <a:pt x="1030" y="76"/>
                  </a:cubicBezTo>
                  <a:close/>
                  <a:moveTo>
                    <a:pt x="685" y="33"/>
                  </a:moveTo>
                  <a:cubicBezTo>
                    <a:pt x="686" y="33"/>
                    <a:pt x="687" y="33"/>
                    <a:pt x="687" y="33"/>
                  </a:cubicBezTo>
                  <a:cubicBezTo>
                    <a:pt x="687" y="32"/>
                    <a:pt x="686" y="33"/>
                    <a:pt x="685" y="33"/>
                  </a:cubicBezTo>
                  <a:close/>
                  <a:moveTo>
                    <a:pt x="890" y="42"/>
                  </a:moveTo>
                  <a:cubicBezTo>
                    <a:pt x="890" y="42"/>
                    <a:pt x="889" y="42"/>
                    <a:pt x="888" y="42"/>
                  </a:cubicBezTo>
                  <a:cubicBezTo>
                    <a:pt x="889" y="43"/>
                    <a:pt x="890" y="42"/>
                    <a:pt x="890" y="42"/>
                  </a:cubicBezTo>
                  <a:close/>
                  <a:moveTo>
                    <a:pt x="893" y="33"/>
                  </a:moveTo>
                  <a:cubicBezTo>
                    <a:pt x="894" y="33"/>
                    <a:pt x="894" y="33"/>
                    <a:pt x="895" y="33"/>
                  </a:cubicBezTo>
                  <a:cubicBezTo>
                    <a:pt x="894" y="32"/>
                    <a:pt x="894" y="33"/>
                    <a:pt x="893" y="33"/>
                  </a:cubicBezTo>
                  <a:close/>
                  <a:moveTo>
                    <a:pt x="1293" y="39"/>
                  </a:moveTo>
                  <a:cubicBezTo>
                    <a:pt x="1294" y="38"/>
                    <a:pt x="1294" y="38"/>
                    <a:pt x="1295" y="37"/>
                  </a:cubicBezTo>
                  <a:cubicBezTo>
                    <a:pt x="1294" y="38"/>
                    <a:pt x="1293" y="38"/>
                    <a:pt x="1293" y="39"/>
                  </a:cubicBezTo>
                  <a:close/>
                  <a:moveTo>
                    <a:pt x="773" y="33"/>
                  </a:moveTo>
                  <a:cubicBezTo>
                    <a:pt x="774" y="33"/>
                    <a:pt x="775" y="33"/>
                    <a:pt x="776" y="33"/>
                  </a:cubicBezTo>
                  <a:cubicBezTo>
                    <a:pt x="775" y="33"/>
                    <a:pt x="774" y="32"/>
                    <a:pt x="773" y="33"/>
                  </a:cubicBezTo>
                  <a:close/>
                  <a:moveTo>
                    <a:pt x="828" y="58"/>
                  </a:moveTo>
                  <a:cubicBezTo>
                    <a:pt x="828" y="59"/>
                    <a:pt x="828" y="60"/>
                    <a:pt x="828" y="61"/>
                  </a:cubicBezTo>
                  <a:cubicBezTo>
                    <a:pt x="829" y="60"/>
                    <a:pt x="828" y="59"/>
                    <a:pt x="828" y="58"/>
                  </a:cubicBezTo>
                  <a:close/>
                  <a:moveTo>
                    <a:pt x="677" y="33"/>
                  </a:moveTo>
                  <a:cubicBezTo>
                    <a:pt x="678" y="33"/>
                    <a:pt x="679" y="33"/>
                    <a:pt x="680" y="33"/>
                  </a:cubicBezTo>
                  <a:cubicBezTo>
                    <a:pt x="679" y="33"/>
                    <a:pt x="678" y="32"/>
                    <a:pt x="677" y="33"/>
                  </a:cubicBezTo>
                  <a:close/>
                  <a:moveTo>
                    <a:pt x="1369" y="6"/>
                  </a:moveTo>
                  <a:cubicBezTo>
                    <a:pt x="1370" y="6"/>
                    <a:pt x="1371" y="6"/>
                    <a:pt x="1371" y="6"/>
                  </a:cubicBezTo>
                  <a:cubicBezTo>
                    <a:pt x="1371" y="5"/>
                    <a:pt x="1370" y="5"/>
                    <a:pt x="1369" y="6"/>
                  </a:cubicBezTo>
                  <a:close/>
                  <a:moveTo>
                    <a:pt x="781" y="33"/>
                  </a:moveTo>
                  <a:cubicBezTo>
                    <a:pt x="781" y="33"/>
                    <a:pt x="782" y="33"/>
                    <a:pt x="783" y="33"/>
                  </a:cubicBezTo>
                  <a:cubicBezTo>
                    <a:pt x="782" y="32"/>
                    <a:pt x="781" y="33"/>
                    <a:pt x="781" y="33"/>
                  </a:cubicBezTo>
                  <a:close/>
                  <a:moveTo>
                    <a:pt x="1005" y="103"/>
                  </a:moveTo>
                  <a:cubicBezTo>
                    <a:pt x="1004" y="103"/>
                    <a:pt x="1004" y="103"/>
                    <a:pt x="1003" y="103"/>
                  </a:cubicBezTo>
                  <a:cubicBezTo>
                    <a:pt x="1004" y="103"/>
                    <a:pt x="1004" y="103"/>
                    <a:pt x="1005" y="103"/>
                  </a:cubicBezTo>
                  <a:close/>
                  <a:moveTo>
                    <a:pt x="1207" y="76"/>
                  </a:moveTo>
                  <a:cubicBezTo>
                    <a:pt x="1208" y="75"/>
                    <a:pt x="1208" y="74"/>
                    <a:pt x="1207" y="74"/>
                  </a:cubicBezTo>
                  <a:cubicBezTo>
                    <a:pt x="1207" y="74"/>
                    <a:pt x="1207" y="75"/>
                    <a:pt x="1207" y="76"/>
                  </a:cubicBezTo>
                  <a:close/>
                  <a:moveTo>
                    <a:pt x="1127" y="33"/>
                  </a:moveTo>
                  <a:cubicBezTo>
                    <a:pt x="1128" y="33"/>
                    <a:pt x="1129" y="33"/>
                    <a:pt x="1130" y="33"/>
                  </a:cubicBezTo>
                  <a:cubicBezTo>
                    <a:pt x="1129" y="33"/>
                    <a:pt x="1128" y="32"/>
                    <a:pt x="1127" y="33"/>
                  </a:cubicBezTo>
                  <a:close/>
                  <a:moveTo>
                    <a:pt x="1531" y="15"/>
                  </a:moveTo>
                  <a:cubicBezTo>
                    <a:pt x="1531" y="14"/>
                    <a:pt x="1532" y="14"/>
                    <a:pt x="1532" y="13"/>
                  </a:cubicBezTo>
                  <a:cubicBezTo>
                    <a:pt x="1532" y="14"/>
                    <a:pt x="1531" y="14"/>
                    <a:pt x="1531" y="15"/>
                  </a:cubicBezTo>
                  <a:close/>
                  <a:moveTo>
                    <a:pt x="1548" y="75"/>
                  </a:moveTo>
                  <a:cubicBezTo>
                    <a:pt x="1547" y="75"/>
                    <a:pt x="1547" y="76"/>
                    <a:pt x="1546" y="76"/>
                  </a:cubicBezTo>
                  <a:cubicBezTo>
                    <a:pt x="1547" y="76"/>
                    <a:pt x="1547" y="76"/>
                    <a:pt x="1548" y="75"/>
                  </a:cubicBezTo>
                  <a:close/>
                  <a:moveTo>
                    <a:pt x="1699" y="15"/>
                  </a:moveTo>
                  <a:cubicBezTo>
                    <a:pt x="1700" y="14"/>
                    <a:pt x="1700" y="14"/>
                    <a:pt x="1700" y="13"/>
                  </a:cubicBezTo>
                  <a:cubicBezTo>
                    <a:pt x="1700" y="14"/>
                    <a:pt x="1699" y="14"/>
                    <a:pt x="1699" y="15"/>
                  </a:cubicBezTo>
                  <a:close/>
                  <a:moveTo>
                    <a:pt x="844" y="33"/>
                  </a:moveTo>
                  <a:cubicBezTo>
                    <a:pt x="845" y="33"/>
                    <a:pt x="846" y="33"/>
                    <a:pt x="847" y="33"/>
                  </a:cubicBezTo>
                  <a:cubicBezTo>
                    <a:pt x="846" y="33"/>
                    <a:pt x="845" y="32"/>
                    <a:pt x="844" y="33"/>
                  </a:cubicBezTo>
                  <a:close/>
                  <a:moveTo>
                    <a:pt x="851" y="33"/>
                  </a:moveTo>
                  <a:cubicBezTo>
                    <a:pt x="852" y="33"/>
                    <a:pt x="852" y="33"/>
                    <a:pt x="853" y="33"/>
                  </a:cubicBezTo>
                  <a:cubicBezTo>
                    <a:pt x="852" y="32"/>
                    <a:pt x="852" y="33"/>
                    <a:pt x="851" y="33"/>
                  </a:cubicBezTo>
                  <a:close/>
                  <a:moveTo>
                    <a:pt x="1055" y="33"/>
                  </a:moveTo>
                  <a:cubicBezTo>
                    <a:pt x="1056" y="33"/>
                    <a:pt x="1057" y="33"/>
                    <a:pt x="1058" y="33"/>
                  </a:cubicBezTo>
                  <a:cubicBezTo>
                    <a:pt x="1057" y="33"/>
                    <a:pt x="1056" y="32"/>
                    <a:pt x="1055" y="33"/>
                  </a:cubicBezTo>
                  <a:close/>
                  <a:moveTo>
                    <a:pt x="1661" y="8"/>
                  </a:moveTo>
                  <a:cubicBezTo>
                    <a:pt x="1661" y="8"/>
                    <a:pt x="1662" y="8"/>
                    <a:pt x="1663" y="8"/>
                  </a:cubicBezTo>
                  <a:cubicBezTo>
                    <a:pt x="1662" y="7"/>
                    <a:pt x="1661" y="8"/>
                    <a:pt x="1661" y="8"/>
                  </a:cubicBezTo>
                  <a:close/>
                  <a:moveTo>
                    <a:pt x="1233" y="33"/>
                  </a:moveTo>
                  <a:cubicBezTo>
                    <a:pt x="1234" y="33"/>
                    <a:pt x="1235" y="33"/>
                    <a:pt x="1236" y="33"/>
                  </a:cubicBezTo>
                  <a:cubicBezTo>
                    <a:pt x="1235" y="33"/>
                    <a:pt x="1234" y="32"/>
                    <a:pt x="1233" y="33"/>
                  </a:cubicBezTo>
                  <a:close/>
                  <a:moveTo>
                    <a:pt x="1241" y="33"/>
                  </a:moveTo>
                  <a:cubicBezTo>
                    <a:pt x="1241" y="33"/>
                    <a:pt x="1242" y="33"/>
                    <a:pt x="1243" y="33"/>
                  </a:cubicBezTo>
                  <a:cubicBezTo>
                    <a:pt x="1242" y="32"/>
                    <a:pt x="1241" y="33"/>
                    <a:pt x="1241" y="33"/>
                  </a:cubicBezTo>
                  <a:close/>
                  <a:moveTo>
                    <a:pt x="589" y="73"/>
                  </a:moveTo>
                  <a:cubicBezTo>
                    <a:pt x="589" y="74"/>
                    <a:pt x="589" y="75"/>
                    <a:pt x="589" y="76"/>
                  </a:cubicBezTo>
                  <a:cubicBezTo>
                    <a:pt x="589" y="75"/>
                    <a:pt x="590" y="74"/>
                    <a:pt x="589" y="73"/>
                  </a:cubicBezTo>
                  <a:close/>
                  <a:moveTo>
                    <a:pt x="1410" y="72"/>
                  </a:moveTo>
                  <a:cubicBezTo>
                    <a:pt x="1410" y="71"/>
                    <a:pt x="1410" y="70"/>
                    <a:pt x="1410" y="69"/>
                  </a:cubicBezTo>
                  <a:cubicBezTo>
                    <a:pt x="1410" y="70"/>
                    <a:pt x="1410" y="71"/>
                    <a:pt x="1410" y="72"/>
                  </a:cubicBezTo>
                  <a:close/>
                  <a:moveTo>
                    <a:pt x="1370" y="15"/>
                  </a:moveTo>
                  <a:cubicBezTo>
                    <a:pt x="1369" y="15"/>
                    <a:pt x="1369" y="15"/>
                    <a:pt x="1368" y="15"/>
                  </a:cubicBezTo>
                  <a:cubicBezTo>
                    <a:pt x="1369" y="15"/>
                    <a:pt x="1369" y="15"/>
                    <a:pt x="1370" y="15"/>
                  </a:cubicBezTo>
                  <a:close/>
                  <a:moveTo>
                    <a:pt x="1555" y="15"/>
                  </a:moveTo>
                  <a:cubicBezTo>
                    <a:pt x="1554" y="15"/>
                    <a:pt x="1553" y="15"/>
                    <a:pt x="1552" y="15"/>
                  </a:cubicBezTo>
                  <a:cubicBezTo>
                    <a:pt x="1553" y="15"/>
                    <a:pt x="1554" y="15"/>
                    <a:pt x="1555" y="15"/>
                  </a:cubicBezTo>
                  <a:close/>
                  <a:moveTo>
                    <a:pt x="1470" y="66"/>
                  </a:moveTo>
                  <a:cubicBezTo>
                    <a:pt x="1470" y="67"/>
                    <a:pt x="1470" y="67"/>
                    <a:pt x="1470" y="68"/>
                  </a:cubicBezTo>
                  <a:cubicBezTo>
                    <a:pt x="1471" y="67"/>
                    <a:pt x="1470" y="67"/>
                    <a:pt x="1470" y="66"/>
                  </a:cubicBezTo>
                  <a:close/>
                  <a:moveTo>
                    <a:pt x="1723" y="15"/>
                  </a:moveTo>
                  <a:cubicBezTo>
                    <a:pt x="1722" y="15"/>
                    <a:pt x="1721" y="15"/>
                    <a:pt x="1720" y="15"/>
                  </a:cubicBezTo>
                  <a:cubicBezTo>
                    <a:pt x="1721" y="15"/>
                    <a:pt x="1722" y="15"/>
                    <a:pt x="1723" y="15"/>
                  </a:cubicBezTo>
                  <a:close/>
                  <a:moveTo>
                    <a:pt x="951" y="65"/>
                  </a:moveTo>
                  <a:cubicBezTo>
                    <a:pt x="951" y="64"/>
                    <a:pt x="951" y="63"/>
                    <a:pt x="951" y="63"/>
                  </a:cubicBezTo>
                  <a:cubicBezTo>
                    <a:pt x="951" y="64"/>
                    <a:pt x="951" y="64"/>
                    <a:pt x="951" y="65"/>
                  </a:cubicBezTo>
                  <a:close/>
                  <a:moveTo>
                    <a:pt x="1558" y="16"/>
                  </a:moveTo>
                  <a:cubicBezTo>
                    <a:pt x="1557" y="15"/>
                    <a:pt x="1556" y="15"/>
                    <a:pt x="1556" y="15"/>
                  </a:cubicBezTo>
                  <a:cubicBezTo>
                    <a:pt x="1556" y="16"/>
                    <a:pt x="1557" y="15"/>
                    <a:pt x="1558" y="16"/>
                  </a:cubicBezTo>
                  <a:close/>
                  <a:moveTo>
                    <a:pt x="1726" y="16"/>
                  </a:moveTo>
                  <a:cubicBezTo>
                    <a:pt x="1725" y="15"/>
                    <a:pt x="1724" y="15"/>
                    <a:pt x="1724" y="15"/>
                  </a:cubicBezTo>
                  <a:cubicBezTo>
                    <a:pt x="1724" y="16"/>
                    <a:pt x="1725" y="15"/>
                    <a:pt x="1726" y="16"/>
                  </a:cubicBezTo>
                  <a:close/>
                  <a:moveTo>
                    <a:pt x="1207" y="63"/>
                  </a:moveTo>
                  <a:cubicBezTo>
                    <a:pt x="1208" y="63"/>
                    <a:pt x="1208" y="62"/>
                    <a:pt x="1207" y="61"/>
                  </a:cubicBezTo>
                  <a:cubicBezTo>
                    <a:pt x="1207" y="62"/>
                    <a:pt x="1207" y="63"/>
                    <a:pt x="1207" y="63"/>
                  </a:cubicBezTo>
                  <a:close/>
                  <a:moveTo>
                    <a:pt x="1155" y="53"/>
                  </a:moveTo>
                  <a:cubicBezTo>
                    <a:pt x="1155" y="54"/>
                    <a:pt x="1155" y="54"/>
                    <a:pt x="1155" y="55"/>
                  </a:cubicBezTo>
                  <a:cubicBezTo>
                    <a:pt x="1155" y="54"/>
                    <a:pt x="1155" y="53"/>
                    <a:pt x="1155" y="53"/>
                  </a:cubicBezTo>
                  <a:close/>
                  <a:moveTo>
                    <a:pt x="680" y="42"/>
                  </a:moveTo>
                  <a:cubicBezTo>
                    <a:pt x="679" y="42"/>
                    <a:pt x="679" y="42"/>
                    <a:pt x="678" y="42"/>
                  </a:cubicBezTo>
                  <a:cubicBezTo>
                    <a:pt x="679" y="42"/>
                    <a:pt x="679" y="43"/>
                    <a:pt x="680" y="42"/>
                  </a:cubicBezTo>
                  <a:close/>
                  <a:moveTo>
                    <a:pt x="1568" y="59"/>
                  </a:moveTo>
                  <a:cubicBezTo>
                    <a:pt x="1568" y="59"/>
                    <a:pt x="1567" y="60"/>
                    <a:pt x="1567" y="60"/>
                  </a:cubicBezTo>
                  <a:cubicBezTo>
                    <a:pt x="1568" y="60"/>
                    <a:pt x="1568" y="60"/>
                    <a:pt x="1568" y="59"/>
                  </a:cubicBezTo>
                  <a:close/>
                  <a:moveTo>
                    <a:pt x="848" y="42"/>
                  </a:moveTo>
                  <a:cubicBezTo>
                    <a:pt x="847" y="42"/>
                    <a:pt x="846" y="42"/>
                    <a:pt x="845" y="42"/>
                  </a:cubicBezTo>
                  <a:cubicBezTo>
                    <a:pt x="846" y="43"/>
                    <a:pt x="847" y="42"/>
                    <a:pt x="848" y="42"/>
                  </a:cubicBezTo>
                  <a:close/>
                  <a:moveTo>
                    <a:pt x="1440" y="6"/>
                  </a:moveTo>
                  <a:cubicBezTo>
                    <a:pt x="1441" y="6"/>
                    <a:pt x="1441" y="6"/>
                    <a:pt x="1442" y="6"/>
                  </a:cubicBezTo>
                  <a:cubicBezTo>
                    <a:pt x="1441" y="5"/>
                    <a:pt x="1441" y="5"/>
                    <a:pt x="1440" y="6"/>
                  </a:cubicBezTo>
                  <a:close/>
                  <a:moveTo>
                    <a:pt x="1554" y="6"/>
                  </a:moveTo>
                  <a:cubicBezTo>
                    <a:pt x="1554" y="6"/>
                    <a:pt x="1555" y="6"/>
                    <a:pt x="1556" y="6"/>
                  </a:cubicBezTo>
                  <a:cubicBezTo>
                    <a:pt x="1555" y="5"/>
                    <a:pt x="1554" y="5"/>
                    <a:pt x="1554" y="6"/>
                  </a:cubicBezTo>
                  <a:close/>
                  <a:moveTo>
                    <a:pt x="1722" y="6"/>
                  </a:moveTo>
                  <a:cubicBezTo>
                    <a:pt x="1722" y="6"/>
                    <a:pt x="1723" y="6"/>
                    <a:pt x="1724" y="6"/>
                  </a:cubicBezTo>
                  <a:cubicBezTo>
                    <a:pt x="1723" y="5"/>
                    <a:pt x="1722" y="5"/>
                    <a:pt x="1722" y="6"/>
                  </a:cubicBezTo>
                  <a:close/>
                  <a:moveTo>
                    <a:pt x="1436" y="6"/>
                  </a:moveTo>
                  <a:cubicBezTo>
                    <a:pt x="1437" y="6"/>
                    <a:pt x="1438" y="6"/>
                    <a:pt x="1438" y="6"/>
                  </a:cubicBezTo>
                  <a:cubicBezTo>
                    <a:pt x="1438" y="6"/>
                    <a:pt x="1437" y="6"/>
                    <a:pt x="1436" y="6"/>
                  </a:cubicBezTo>
                  <a:close/>
                  <a:moveTo>
                    <a:pt x="990" y="6"/>
                  </a:moveTo>
                  <a:cubicBezTo>
                    <a:pt x="990" y="7"/>
                    <a:pt x="991" y="7"/>
                    <a:pt x="992" y="6"/>
                  </a:cubicBezTo>
                  <a:cubicBezTo>
                    <a:pt x="991" y="6"/>
                    <a:pt x="990" y="6"/>
                    <a:pt x="990" y="6"/>
                  </a:cubicBezTo>
                  <a:close/>
                  <a:moveTo>
                    <a:pt x="1007" y="6"/>
                  </a:moveTo>
                  <a:cubicBezTo>
                    <a:pt x="1008" y="7"/>
                    <a:pt x="1009" y="6"/>
                    <a:pt x="1009" y="6"/>
                  </a:cubicBezTo>
                  <a:cubicBezTo>
                    <a:pt x="1009" y="6"/>
                    <a:pt x="1008" y="6"/>
                    <a:pt x="1007" y="6"/>
                  </a:cubicBezTo>
                  <a:close/>
                  <a:moveTo>
                    <a:pt x="886" y="42"/>
                  </a:moveTo>
                  <a:cubicBezTo>
                    <a:pt x="885" y="42"/>
                    <a:pt x="884" y="42"/>
                    <a:pt x="884" y="42"/>
                  </a:cubicBezTo>
                  <a:cubicBezTo>
                    <a:pt x="884" y="42"/>
                    <a:pt x="885" y="43"/>
                    <a:pt x="886" y="42"/>
                  </a:cubicBezTo>
                  <a:close/>
                  <a:moveTo>
                    <a:pt x="990" y="92"/>
                  </a:moveTo>
                  <a:cubicBezTo>
                    <a:pt x="991" y="93"/>
                    <a:pt x="992" y="93"/>
                    <a:pt x="992" y="93"/>
                  </a:cubicBezTo>
                  <a:cubicBezTo>
                    <a:pt x="992" y="92"/>
                    <a:pt x="991" y="93"/>
                    <a:pt x="990" y="92"/>
                  </a:cubicBezTo>
                  <a:close/>
                  <a:moveTo>
                    <a:pt x="1040" y="40"/>
                  </a:moveTo>
                  <a:cubicBezTo>
                    <a:pt x="1041" y="40"/>
                    <a:pt x="1041" y="40"/>
                    <a:pt x="1041" y="39"/>
                  </a:cubicBezTo>
                  <a:cubicBezTo>
                    <a:pt x="1041" y="39"/>
                    <a:pt x="1040" y="40"/>
                    <a:pt x="1040" y="40"/>
                  </a:cubicBezTo>
                  <a:close/>
                  <a:moveTo>
                    <a:pt x="951" y="50"/>
                  </a:moveTo>
                  <a:cubicBezTo>
                    <a:pt x="951" y="49"/>
                    <a:pt x="951" y="48"/>
                    <a:pt x="951" y="48"/>
                  </a:cubicBezTo>
                  <a:cubicBezTo>
                    <a:pt x="951" y="48"/>
                    <a:pt x="951" y="49"/>
                    <a:pt x="951" y="50"/>
                  </a:cubicBezTo>
                  <a:close/>
                  <a:moveTo>
                    <a:pt x="1265" y="58"/>
                  </a:moveTo>
                  <a:cubicBezTo>
                    <a:pt x="1265" y="58"/>
                    <a:pt x="1265" y="59"/>
                    <a:pt x="1266" y="60"/>
                  </a:cubicBezTo>
                  <a:cubicBezTo>
                    <a:pt x="1266" y="59"/>
                    <a:pt x="1266" y="58"/>
                    <a:pt x="1265" y="58"/>
                  </a:cubicBezTo>
                  <a:close/>
                  <a:moveTo>
                    <a:pt x="694" y="97"/>
                  </a:moveTo>
                  <a:cubicBezTo>
                    <a:pt x="694" y="97"/>
                    <a:pt x="693" y="97"/>
                    <a:pt x="693" y="98"/>
                  </a:cubicBezTo>
                  <a:cubicBezTo>
                    <a:pt x="694" y="98"/>
                    <a:pt x="694" y="97"/>
                    <a:pt x="694" y="97"/>
                  </a:cubicBezTo>
                  <a:close/>
                  <a:moveTo>
                    <a:pt x="1002" y="93"/>
                  </a:moveTo>
                  <a:cubicBezTo>
                    <a:pt x="1003" y="93"/>
                    <a:pt x="1003" y="93"/>
                    <a:pt x="1004" y="92"/>
                  </a:cubicBezTo>
                  <a:cubicBezTo>
                    <a:pt x="1003" y="93"/>
                    <a:pt x="1002" y="92"/>
                    <a:pt x="1002" y="93"/>
                  </a:cubicBezTo>
                  <a:close/>
                  <a:moveTo>
                    <a:pt x="1373" y="56"/>
                  </a:moveTo>
                  <a:cubicBezTo>
                    <a:pt x="1374" y="56"/>
                    <a:pt x="1374" y="55"/>
                    <a:pt x="1375" y="55"/>
                  </a:cubicBezTo>
                  <a:cubicBezTo>
                    <a:pt x="1374" y="55"/>
                    <a:pt x="1373" y="55"/>
                    <a:pt x="1373" y="56"/>
                  </a:cubicBezTo>
                  <a:close/>
                  <a:moveTo>
                    <a:pt x="1127" y="42"/>
                  </a:moveTo>
                  <a:cubicBezTo>
                    <a:pt x="1127" y="42"/>
                    <a:pt x="1126" y="42"/>
                    <a:pt x="1125" y="42"/>
                  </a:cubicBezTo>
                  <a:cubicBezTo>
                    <a:pt x="1126" y="42"/>
                    <a:pt x="1127" y="43"/>
                    <a:pt x="1127" y="42"/>
                  </a:cubicBezTo>
                  <a:close/>
                  <a:moveTo>
                    <a:pt x="1132" y="42"/>
                  </a:moveTo>
                  <a:cubicBezTo>
                    <a:pt x="1131" y="42"/>
                    <a:pt x="1131" y="42"/>
                    <a:pt x="1130" y="42"/>
                  </a:cubicBezTo>
                  <a:cubicBezTo>
                    <a:pt x="1131" y="43"/>
                    <a:pt x="1131" y="42"/>
                    <a:pt x="1132" y="42"/>
                  </a:cubicBezTo>
                  <a:close/>
                  <a:moveTo>
                    <a:pt x="1343" y="92"/>
                  </a:moveTo>
                  <a:cubicBezTo>
                    <a:pt x="1343" y="92"/>
                    <a:pt x="1343" y="91"/>
                    <a:pt x="1343" y="90"/>
                  </a:cubicBezTo>
                  <a:cubicBezTo>
                    <a:pt x="1343" y="91"/>
                    <a:pt x="1343" y="92"/>
                    <a:pt x="1343" y="92"/>
                  </a:cubicBezTo>
                  <a:close/>
                  <a:moveTo>
                    <a:pt x="1707" y="88"/>
                  </a:moveTo>
                  <a:cubicBezTo>
                    <a:pt x="1707" y="88"/>
                    <a:pt x="1707" y="89"/>
                    <a:pt x="1707" y="90"/>
                  </a:cubicBezTo>
                  <a:cubicBezTo>
                    <a:pt x="1707" y="89"/>
                    <a:pt x="1707" y="88"/>
                    <a:pt x="1707" y="88"/>
                  </a:cubicBezTo>
                  <a:close/>
                  <a:moveTo>
                    <a:pt x="1069" y="103"/>
                  </a:moveTo>
                  <a:cubicBezTo>
                    <a:pt x="1068" y="103"/>
                    <a:pt x="1067" y="103"/>
                    <a:pt x="1066" y="103"/>
                  </a:cubicBezTo>
                  <a:cubicBezTo>
                    <a:pt x="1067" y="103"/>
                    <a:pt x="1068" y="103"/>
                    <a:pt x="1069" y="103"/>
                  </a:cubicBezTo>
                  <a:close/>
                  <a:moveTo>
                    <a:pt x="1470" y="39"/>
                  </a:moveTo>
                  <a:cubicBezTo>
                    <a:pt x="1470" y="40"/>
                    <a:pt x="1470" y="40"/>
                    <a:pt x="1470" y="41"/>
                  </a:cubicBezTo>
                  <a:cubicBezTo>
                    <a:pt x="1470" y="40"/>
                    <a:pt x="1471" y="40"/>
                    <a:pt x="1470" y="39"/>
                  </a:cubicBezTo>
                  <a:close/>
                  <a:moveTo>
                    <a:pt x="1385" y="58"/>
                  </a:moveTo>
                  <a:cubicBezTo>
                    <a:pt x="1385" y="58"/>
                    <a:pt x="1384" y="59"/>
                    <a:pt x="1384" y="59"/>
                  </a:cubicBezTo>
                  <a:cubicBezTo>
                    <a:pt x="1385" y="59"/>
                    <a:pt x="1385" y="59"/>
                    <a:pt x="1385" y="58"/>
                  </a:cubicBezTo>
                  <a:close/>
                  <a:moveTo>
                    <a:pt x="1175" y="89"/>
                  </a:moveTo>
                  <a:cubicBezTo>
                    <a:pt x="1175" y="88"/>
                    <a:pt x="1175" y="87"/>
                    <a:pt x="1174" y="87"/>
                  </a:cubicBezTo>
                  <a:cubicBezTo>
                    <a:pt x="1175" y="87"/>
                    <a:pt x="1174" y="88"/>
                    <a:pt x="1175" y="89"/>
                  </a:cubicBezTo>
                  <a:close/>
                  <a:moveTo>
                    <a:pt x="551" y="39"/>
                  </a:moveTo>
                  <a:cubicBezTo>
                    <a:pt x="552" y="40"/>
                    <a:pt x="552" y="40"/>
                    <a:pt x="552" y="41"/>
                  </a:cubicBezTo>
                  <a:cubicBezTo>
                    <a:pt x="552" y="40"/>
                    <a:pt x="552" y="39"/>
                    <a:pt x="551" y="39"/>
                  </a:cubicBezTo>
                  <a:close/>
                  <a:moveTo>
                    <a:pt x="1389" y="54"/>
                  </a:moveTo>
                  <a:cubicBezTo>
                    <a:pt x="1389" y="54"/>
                    <a:pt x="1388" y="55"/>
                    <a:pt x="1388" y="55"/>
                  </a:cubicBezTo>
                  <a:cubicBezTo>
                    <a:pt x="1389" y="55"/>
                    <a:pt x="1389" y="55"/>
                    <a:pt x="1389" y="54"/>
                  </a:cubicBezTo>
                  <a:close/>
                  <a:moveTo>
                    <a:pt x="1087" y="57"/>
                  </a:moveTo>
                  <a:cubicBezTo>
                    <a:pt x="1087" y="58"/>
                    <a:pt x="1087" y="59"/>
                    <a:pt x="1088" y="60"/>
                  </a:cubicBezTo>
                  <a:cubicBezTo>
                    <a:pt x="1088" y="59"/>
                    <a:pt x="1088" y="58"/>
                    <a:pt x="1087" y="57"/>
                  </a:cubicBezTo>
                  <a:close/>
                  <a:moveTo>
                    <a:pt x="989" y="103"/>
                  </a:moveTo>
                  <a:cubicBezTo>
                    <a:pt x="988" y="103"/>
                    <a:pt x="987" y="103"/>
                    <a:pt x="986" y="103"/>
                  </a:cubicBezTo>
                  <a:cubicBezTo>
                    <a:pt x="987" y="103"/>
                    <a:pt x="988" y="103"/>
                    <a:pt x="989" y="103"/>
                  </a:cubicBezTo>
                  <a:close/>
                  <a:moveTo>
                    <a:pt x="589" y="80"/>
                  </a:moveTo>
                  <a:cubicBezTo>
                    <a:pt x="589" y="81"/>
                    <a:pt x="589" y="82"/>
                    <a:pt x="589" y="82"/>
                  </a:cubicBezTo>
                  <a:cubicBezTo>
                    <a:pt x="590" y="82"/>
                    <a:pt x="589" y="81"/>
                    <a:pt x="589" y="80"/>
                  </a:cubicBezTo>
                  <a:close/>
                  <a:moveTo>
                    <a:pt x="1716" y="75"/>
                  </a:moveTo>
                  <a:cubicBezTo>
                    <a:pt x="1715" y="75"/>
                    <a:pt x="1715" y="76"/>
                    <a:pt x="1714" y="76"/>
                  </a:cubicBezTo>
                  <a:cubicBezTo>
                    <a:pt x="1715" y="76"/>
                    <a:pt x="1715" y="76"/>
                    <a:pt x="1716" y="75"/>
                  </a:cubicBezTo>
                  <a:close/>
                  <a:moveTo>
                    <a:pt x="1005" y="92"/>
                  </a:moveTo>
                  <a:cubicBezTo>
                    <a:pt x="1005" y="92"/>
                    <a:pt x="1006" y="93"/>
                    <a:pt x="1006" y="92"/>
                  </a:cubicBezTo>
                  <a:cubicBezTo>
                    <a:pt x="1006" y="92"/>
                    <a:pt x="1005" y="92"/>
                    <a:pt x="1005" y="92"/>
                  </a:cubicBezTo>
                  <a:close/>
                  <a:moveTo>
                    <a:pt x="1289" y="60"/>
                  </a:moveTo>
                  <a:cubicBezTo>
                    <a:pt x="1288" y="61"/>
                    <a:pt x="1288" y="61"/>
                    <a:pt x="1288" y="62"/>
                  </a:cubicBezTo>
                  <a:cubicBezTo>
                    <a:pt x="1289" y="61"/>
                    <a:pt x="1289" y="61"/>
                    <a:pt x="1289" y="60"/>
                  </a:cubicBezTo>
                  <a:close/>
                  <a:moveTo>
                    <a:pt x="1030" y="61"/>
                  </a:moveTo>
                  <a:cubicBezTo>
                    <a:pt x="1030" y="61"/>
                    <a:pt x="1030" y="60"/>
                    <a:pt x="1030" y="59"/>
                  </a:cubicBezTo>
                  <a:cubicBezTo>
                    <a:pt x="1029" y="60"/>
                    <a:pt x="1030" y="61"/>
                    <a:pt x="1030" y="61"/>
                  </a:cubicBezTo>
                  <a:close/>
                  <a:moveTo>
                    <a:pt x="1219" y="75"/>
                  </a:moveTo>
                  <a:cubicBezTo>
                    <a:pt x="1219" y="75"/>
                    <a:pt x="1219" y="76"/>
                    <a:pt x="1219" y="77"/>
                  </a:cubicBezTo>
                  <a:cubicBezTo>
                    <a:pt x="1219" y="76"/>
                    <a:pt x="1219" y="75"/>
                    <a:pt x="1219" y="75"/>
                  </a:cubicBezTo>
                  <a:close/>
                  <a:moveTo>
                    <a:pt x="1386" y="29"/>
                  </a:moveTo>
                  <a:cubicBezTo>
                    <a:pt x="1386" y="28"/>
                    <a:pt x="1386" y="28"/>
                    <a:pt x="1386" y="27"/>
                  </a:cubicBezTo>
                  <a:cubicBezTo>
                    <a:pt x="1386" y="28"/>
                    <a:pt x="1385" y="29"/>
                    <a:pt x="1386" y="29"/>
                  </a:cubicBezTo>
                  <a:close/>
                  <a:moveTo>
                    <a:pt x="669" y="103"/>
                  </a:moveTo>
                  <a:cubicBezTo>
                    <a:pt x="669" y="103"/>
                    <a:pt x="668" y="103"/>
                    <a:pt x="668" y="103"/>
                  </a:cubicBezTo>
                  <a:cubicBezTo>
                    <a:pt x="668" y="103"/>
                    <a:pt x="669" y="103"/>
                    <a:pt x="669" y="103"/>
                  </a:cubicBezTo>
                  <a:close/>
                  <a:moveTo>
                    <a:pt x="1208" y="78"/>
                  </a:moveTo>
                  <a:cubicBezTo>
                    <a:pt x="1208" y="78"/>
                    <a:pt x="1208" y="77"/>
                    <a:pt x="1208" y="76"/>
                  </a:cubicBezTo>
                  <a:cubicBezTo>
                    <a:pt x="1208" y="77"/>
                    <a:pt x="1207" y="78"/>
                    <a:pt x="1208" y="78"/>
                  </a:cubicBezTo>
                  <a:close/>
                  <a:moveTo>
                    <a:pt x="1067" y="93"/>
                  </a:moveTo>
                  <a:cubicBezTo>
                    <a:pt x="1068" y="94"/>
                    <a:pt x="1068" y="94"/>
                    <a:pt x="1069" y="93"/>
                  </a:cubicBezTo>
                  <a:cubicBezTo>
                    <a:pt x="1068" y="93"/>
                    <a:pt x="1067" y="93"/>
                    <a:pt x="1067" y="93"/>
                  </a:cubicBezTo>
                  <a:close/>
                  <a:moveTo>
                    <a:pt x="912" y="52"/>
                  </a:moveTo>
                  <a:cubicBezTo>
                    <a:pt x="912" y="52"/>
                    <a:pt x="912" y="53"/>
                    <a:pt x="912" y="54"/>
                  </a:cubicBezTo>
                  <a:cubicBezTo>
                    <a:pt x="912" y="53"/>
                    <a:pt x="913" y="52"/>
                    <a:pt x="912" y="52"/>
                  </a:cubicBezTo>
                  <a:close/>
                  <a:moveTo>
                    <a:pt x="788" y="102"/>
                  </a:moveTo>
                  <a:cubicBezTo>
                    <a:pt x="788" y="102"/>
                    <a:pt x="787" y="102"/>
                    <a:pt x="787" y="103"/>
                  </a:cubicBezTo>
                  <a:cubicBezTo>
                    <a:pt x="787" y="102"/>
                    <a:pt x="788" y="103"/>
                    <a:pt x="788" y="102"/>
                  </a:cubicBezTo>
                  <a:close/>
                  <a:moveTo>
                    <a:pt x="1684" y="26"/>
                  </a:moveTo>
                  <a:cubicBezTo>
                    <a:pt x="1684" y="27"/>
                    <a:pt x="1684" y="27"/>
                    <a:pt x="1684" y="28"/>
                  </a:cubicBezTo>
                  <a:cubicBezTo>
                    <a:pt x="1684" y="27"/>
                    <a:pt x="1684" y="26"/>
                    <a:pt x="1684" y="26"/>
                  </a:cubicBezTo>
                  <a:close/>
                  <a:moveTo>
                    <a:pt x="1007" y="102"/>
                  </a:moveTo>
                  <a:cubicBezTo>
                    <a:pt x="1007" y="102"/>
                    <a:pt x="1006" y="102"/>
                    <a:pt x="1006" y="103"/>
                  </a:cubicBezTo>
                  <a:cubicBezTo>
                    <a:pt x="1006" y="102"/>
                    <a:pt x="1007" y="103"/>
                    <a:pt x="1007" y="102"/>
                  </a:cubicBezTo>
                  <a:close/>
                  <a:moveTo>
                    <a:pt x="1729" y="6"/>
                  </a:moveTo>
                  <a:cubicBezTo>
                    <a:pt x="1729" y="6"/>
                    <a:pt x="1730" y="7"/>
                    <a:pt x="1730" y="6"/>
                  </a:cubicBezTo>
                  <a:cubicBezTo>
                    <a:pt x="1730" y="6"/>
                    <a:pt x="1729" y="6"/>
                    <a:pt x="1729" y="6"/>
                  </a:cubicBezTo>
                  <a:close/>
                  <a:moveTo>
                    <a:pt x="1714" y="6"/>
                  </a:moveTo>
                  <a:cubicBezTo>
                    <a:pt x="1715" y="7"/>
                    <a:pt x="1716" y="7"/>
                    <a:pt x="1716" y="6"/>
                  </a:cubicBezTo>
                  <a:cubicBezTo>
                    <a:pt x="1716" y="6"/>
                    <a:pt x="1715" y="6"/>
                    <a:pt x="1714" y="6"/>
                  </a:cubicBezTo>
                  <a:close/>
                  <a:moveTo>
                    <a:pt x="1560" y="6"/>
                  </a:moveTo>
                  <a:cubicBezTo>
                    <a:pt x="1561" y="6"/>
                    <a:pt x="1562" y="7"/>
                    <a:pt x="1562" y="6"/>
                  </a:cubicBezTo>
                  <a:cubicBezTo>
                    <a:pt x="1562" y="6"/>
                    <a:pt x="1561" y="6"/>
                    <a:pt x="1560" y="6"/>
                  </a:cubicBezTo>
                  <a:close/>
                  <a:moveTo>
                    <a:pt x="1546" y="6"/>
                  </a:moveTo>
                  <a:cubicBezTo>
                    <a:pt x="1547" y="7"/>
                    <a:pt x="1547" y="7"/>
                    <a:pt x="1548" y="6"/>
                  </a:cubicBezTo>
                  <a:cubicBezTo>
                    <a:pt x="1547" y="6"/>
                    <a:pt x="1547" y="6"/>
                    <a:pt x="1546" y="6"/>
                  </a:cubicBezTo>
                  <a:close/>
                  <a:moveTo>
                    <a:pt x="566" y="103"/>
                  </a:moveTo>
                  <a:cubicBezTo>
                    <a:pt x="566" y="103"/>
                    <a:pt x="565" y="103"/>
                    <a:pt x="564" y="103"/>
                  </a:cubicBezTo>
                  <a:cubicBezTo>
                    <a:pt x="565" y="103"/>
                    <a:pt x="566" y="103"/>
                    <a:pt x="566" y="103"/>
                  </a:cubicBezTo>
                  <a:close/>
                  <a:moveTo>
                    <a:pt x="772" y="103"/>
                  </a:moveTo>
                  <a:cubicBezTo>
                    <a:pt x="772" y="103"/>
                    <a:pt x="771" y="103"/>
                    <a:pt x="770" y="103"/>
                  </a:cubicBezTo>
                  <a:cubicBezTo>
                    <a:pt x="771" y="103"/>
                    <a:pt x="772" y="103"/>
                    <a:pt x="772" y="103"/>
                  </a:cubicBezTo>
                  <a:close/>
                  <a:moveTo>
                    <a:pt x="699" y="79"/>
                  </a:moveTo>
                  <a:cubicBezTo>
                    <a:pt x="699" y="80"/>
                    <a:pt x="699" y="81"/>
                    <a:pt x="700" y="81"/>
                  </a:cubicBezTo>
                  <a:cubicBezTo>
                    <a:pt x="700" y="80"/>
                    <a:pt x="700" y="80"/>
                    <a:pt x="699" y="79"/>
                  </a:cubicBezTo>
                  <a:close/>
                  <a:moveTo>
                    <a:pt x="1362" y="6"/>
                  </a:moveTo>
                  <a:cubicBezTo>
                    <a:pt x="1363" y="7"/>
                    <a:pt x="1363" y="6"/>
                    <a:pt x="1364" y="6"/>
                  </a:cubicBezTo>
                  <a:cubicBezTo>
                    <a:pt x="1363" y="6"/>
                    <a:pt x="1363" y="6"/>
                    <a:pt x="1362" y="6"/>
                  </a:cubicBezTo>
                  <a:close/>
                  <a:moveTo>
                    <a:pt x="575" y="6"/>
                  </a:moveTo>
                  <a:cubicBezTo>
                    <a:pt x="576" y="7"/>
                    <a:pt x="576" y="6"/>
                    <a:pt x="577" y="6"/>
                  </a:cubicBezTo>
                  <a:cubicBezTo>
                    <a:pt x="577" y="6"/>
                    <a:pt x="576" y="6"/>
                    <a:pt x="575" y="6"/>
                  </a:cubicBezTo>
                  <a:close/>
                  <a:moveTo>
                    <a:pt x="843" y="42"/>
                  </a:moveTo>
                  <a:cubicBezTo>
                    <a:pt x="842" y="42"/>
                    <a:pt x="842" y="42"/>
                    <a:pt x="841" y="42"/>
                  </a:cubicBezTo>
                  <a:cubicBezTo>
                    <a:pt x="842" y="42"/>
                    <a:pt x="842" y="43"/>
                    <a:pt x="843" y="42"/>
                  </a:cubicBezTo>
                  <a:close/>
                  <a:moveTo>
                    <a:pt x="951" y="47"/>
                  </a:moveTo>
                  <a:cubicBezTo>
                    <a:pt x="952" y="46"/>
                    <a:pt x="952" y="46"/>
                    <a:pt x="952" y="45"/>
                  </a:cubicBezTo>
                  <a:cubicBezTo>
                    <a:pt x="951" y="46"/>
                    <a:pt x="951" y="46"/>
                    <a:pt x="951" y="47"/>
                  </a:cubicBezTo>
                  <a:close/>
                  <a:moveTo>
                    <a:pt x="559" y="6"/>
                  </a:moveTo>
                  <a:cubicBezTo>
                    <a:pt x="559" y="7"/>
                    <a:pt x="560" y="6"/>
                    <a:pt x="560" y="6"/>
                  </a:cubicBezTo>
                  <a:cubicBezTo>
                    <a:pt x="560" y="6"/>
                    <a:pt x="559" y="6"/>
                    <a:pt x="559" y="6"/>
                  </a:cubicBezTo>
                  <a:close/>
                  <a:moveTo>
                    <a:pt x="805" y="56"/>
                  </a:moveTo>
                  <a:cubicBezTo>
                    <a:pt x="805" y="57"/>
                    <a:pt x="805" y="58"/>
                    <a:pt x="805" y="58"/>
                  </a:cubicBezTo>
                  <a:cubicBezTo>
                    <a:pt x="805" y="57"/>
                    <a:pt x="806" y="57"/>
                    <a:pt x="805" y="56"/>
                  </a:cubicBezTo>
                  <a:close/>
                  <a:moveTo>
                    <a:pt x="963" y="47"/>
                  </a:moveTo>
                  <a:cubicBezTo>
                    <a:pt x="963" y="48"/>
                    <a:pt x="963" y="49"/>
                    <a:pt x="963" y="49"/>
                  </a:cubicBezTo>
                  <a:cubicBezTo>
                    <a:pt x="963" y="49"/>
                    <a:pt x="963" y="48"/>
                    <a:pt x="963" y="47"/>
                  </a:cubicBezTo>
                  <a:close/>
                  <a:moveTo>
                    <a:pt x="1410" y="40"/>
                  </a:moveTo>
                  <a:cubicBezTo>
                    <a:pt x="1411" y="39"/>
                    <a:pt x="1411" y="38"/>
                    <a:pt x="1411" y="38"/>
                  </a:cubicBezTo>
                  <a:cubicBezTo>
                    <a:pt x="1410" y="38"/>
                    <a:pt x="1411" y="39"/>
                    <a:pt x="1410" y="40"/>
                  </a:cubicBezTo>
                  <a:close/>
                  <a:moveTo>
                    <a:pt x="859" y="57"/>
                  </a:moveTo>
                  <a:cubicBezTo>
                    <a:pt x="859" y="56"/>
                    <a:pt x="859" y="55"/>
                    <a:pt x="859" y="55"/>
                  </a:cubicBezTo>
                  <a:cubicBezTo>
                    <a:pt x="859" y="55"/>
                    <a:pt x="858" y="56"/>
                    <a:pt x="859" y="57"/>
                  </a:cubicBezTo>
                  <a:close/>
                  <a:moveTo>
                    <a:pt x="1410" y="42"/>
                  </a:moveTo>
                  <a:cubicBezTo>
                    <a:pt x="1410" y="42"/>
                    <a:pt x="1410" y="41"/>
                    <a:pt x="1410" y="40"/>
                  </a:cubicBezTo>
                  <a:cubicBezTo>
                    <a:pt x="1410" y="41"/>
                    <a:pt x="1410" y="42"/>
                    <a:pt x="1410" y="42"/>
                  </a:cubicBezTo>
                  <a:close/>
                  <a:moveTo>
                    <a:pt x="1470" y="69"/>
                  </a:moveTo>
                  <a:cubicBezTo>
                    <a:pt x="1470" y="69"/>
                    <a:pt x="1470" y="70"/>
                    <a:pt x="1470" y="71"/>
                  </a:cubicBezTo>
                  <a:cubicBezTo>
                    <a:pt x="1470" y="70"/>
                    <a:pt x="1470" y="69"/>
                    <a:pt x="1470" y="69"/>
                  </a:cubicBezTo>
                  <a:close/>
                  <a:moveTo>
                    <a:pt x="1186" y="85"/>
                  </a:moveTo>
                  <a:cubicBezTo>
                    <a:pt x="1186" y="86"/>
                    <a:pt x="1186" y="86"/>
                    <a:pt x="1186" y="87"/>
                  </a:cubicBezTo>
                  <a:cubicBezTo>
                    <a:pt x="1186" y="86"/>
                    <a:pt x="1186" y="86"/>
                    <a:pt x="1186" y="85"/>
                  </a:cubicBezTo>
                  <a:close/>
                  <a:moveTo>
                    <a:pt x="1041" y="74"/>
                  </a:moveTo>
                  <a:cubicBezTo>
                    <a:pt x="1041" y="75"/>
                    <a:pt x="1041" y="76"/>
                    <a:pt x="1041" y="76"/>
                  </a:cubicBezTo>
                  <a:cubicBezTo>
                    <a:pt x="1041" y="76"/>
                    <a:pt x="1041" y="75"/>
                    <a:pt x="1041" y="74"/>
                  </a:cubicBezTo>
                  <a:close/>
                  <a:moveTo>
                    <a:pt x="688" y="33"/>
                  </a:moveTo>
                  <a:cubicBezTo>
                    <a:pt x="688" y="33"/>
                    <a:pt x="689" y="33"/>
                    <a:pt x="690" y="33"/>
                  </a:cubicBezTo>
                  <a:cubicBezTo>
                    <a:pt x="689" y="33"/>
                    <a:pt x="688" y="33"/>
                    <a:pt x="688" y="33"/>
                  </a:cubicBezTo>
                  <a:close/>
                  <a:moveTo>
                    <a:pt x="748" y="77"/>
                  </a:moveTo>
                  <a:cubicBezTo>
                    <a:pt x="748" y="76"/>
                    <a:pt x="748" y="75"/>
                    <a:pt x="747" y="75"/>
                  </a:cubicBezTo>
                  <a:cubicBezTo>
                    <a:pt x="747" y="76"/>
                    <a:pt x="747" y="76"/>
                    <a:pt x="748" y="77"/>
                  </a:cubicBezTo>
                  <a:close/>
                  <a:moveTo>
                    <a:pt x="952" y="67"/>
                  </a:moveTo>
                  <a:cubicBezTo>
                    <a:pt x="952" y="67"/>
                    <a:pt x="952" y="66"/>
                    <a:pt x="951" y="66"/>
                  </a:cubicBezTo>
                  <a:cubicBezTo>
                    <a:pt x="951" y="66"/>
                    <a:pt x="951" y="67"/>
                    <a:pt x="952" y="67"/>
                  </a:cubicBezTo>
                  <a:close/>
                  <a:moveTo>
                    <a:pt x="993" y="16"/>
                  </a:moveTo>
                  <a:cubicBezTo>
                    <a:pt x="992" y="16"/>
                    <a:pt x="992" y="16"/>
                    <a:pt x="991" y="17"/>
                  </a:cubicBezTo>
                  <a:cubicBezTo>
                    <a:pt x="992" y="17"/>
                    <a:pt x="993" y="17"/>
                    <a:pt x="993" y="16"/>
                  </a:cubicBezTo>
                  <a:close/>
                  <a:moveTo>
                    <a:pt x="700" y="86"/>
                  </a:moveTo>
                  <a:cubicBezTo>
                    <a:pt x="699" y="86"/>
                    <a:pt x="699" y="87"/>
                    <a:pt x="699" y="88"/>
                  </a:cubicBezTo>
                  <a:cubicBezTo>
                    <a:pt x="700" y="87"/>
                    <a:pt x="700" y="86"/>
                    <a:pt x="700" y="86"/>
                  </a:cubicBezTo>
                  <a:close/>
                  <a:moveTo>
                    <a:pt x="1006" y="17"/>
                  </a:moveTo>
                  <a:cubicBezTo>
                    <a:pt x="1006" y="16"/>
                    <a:pt x="1005" y="16"/>
                    <a:pt x="1005" y="16"/>
                  </a:cubicBezTo>
                  <a:cubicBezTo>
                    <a:pt x="1005" y="17"/>
                    <a:pt x="1006" y="16"/>
                    <a:pt x="1006" y="17"/>
                  </a:cubicBezTo>
                  <a:close/>
                  <a:moveTo>
                    <a:pt x="871" y="58"/>
                  </a:moveTo>
                  <a:cubicBezTo>
                    <a:pt x="871" y="58"/>
                    <a:pt x="871" y="59"/>
                    <a:pt x="871" y="59"/>
                  </a:cubicBezTo>
                  <a:cubicBezTo>
                    <a:pt x="871" y="59"/>
                    <a:pt x="871" y="58"/>
                    <a:pt x="871" y="58"/>
                  </a:cubicBezTo>
                  <a:close/>
                  <a:moveTo>
                    <a:pt x="1386" y="37"/>
                  </a:moveTo>
                  <a:cubicBezTo>
                    <a:pt x="1386" y="37"/>
                    <a:pt x="1386" y="36"/>
                    <a:pt x="1386" y="35"/>
                  </a:cubicBezTo>
                  <a:cubicBezTo>
                    <a:pt x="1385" y="36"/>
                    <a:pt x="1386" y="37"/>
                    <a:pt x="1386" y="37"/>
                  </a:cubicBezTo>
                  <a:close/>
                  <a:moveTo>
                    <a:pt x="715" y="90"/>
                  </a:moveTo>
                  <a:cubicBezTo>
                    <a:pt x="715" y="89"/>
                    <a:pt x="715" y="88"/>
                    <a:pt x="715" y="88"/>
                  </a:cubicBezTo>
                  <a:cubicBezTo>
                    <a:pt x="715" y="88"/>
                    <a:pt x="714" y="89"/>
                    <a:pt x="715" y="90"/>
                  </a:cubicBezTo>
                  <a:close/>
                  <a:moveTo>
                    <a:pt x="1397" y="25"/>
                  </a:moveTo>
                  <a:cubicBezTo>
                    <a:pt x="1397" y="26"/>
                    <a:pt x="1397" y="26"/>
                    <a:pt x="1397" y="27"/>
                  </a:cubicBezTo>
                  <a:cubicBezTo>
                    <a:pt x="1397" y="26"/>
                    <a:pt x="1397" y="25"/>
                    <a:pt x="1397" y="25"/>
                  </a:cubicBezTo>
                  <a:close/>
                  <a:moveTo>
                    <a:pt x="1367" y="15"/>
                  </a:moveTo>
                  <a:cubicBezTo>
                    <a:pt x="1366" y="15"/>
                    <a:pt x="1366" y="15"/>
                    <a:pt x="1365" y="15"/>
                  </a:cubicBezTo>
                  <a:cubicBezTo>
                    <a:pt x="1366" y="15"/>
                    <a:pt x="1366" y="16"/>
                    <a:pt x="1367" y="15"/>
                  </a:cubicBezTo>
                  <a:close/>
                  <a:moveTo>
                    <a:pt x="1373" y="15"/>
                  </a:moveTo>
                  <a:cubicBezTo>
                    <a:pt x="1373" y="15"/>
                    <a:pt x="1372" y="15"/>
                    <a:pt x="1371" y="15"/>
                  </a:cubicBezTo>
                  <a:cubicBezTo>
                    <a:pt x="1372" y="16"/>
                    <a:pt x="1373" y="15"/>
                    <a:pt x="1373" y="15"/>
                  </a:cubicBezTo>
                  <a:close/>
                  <a:moveTo>
                    <a:pt x="963" y="64"/>
                  </a:moveTo>
                  <a:cubicBezTo>
                    <a:pt x="963" y="65"/>
                    <a:pt x="963" y="65"/>
                    <a:pt x="963" y="66"/>
                  </a:cubicBezTo>
                  <a:cubicBezTo>
                    <a:pt x="963" y="65"/>
                    <a:pt x="964" y="64"/>
                    <a:pt x="963" y="64"/>
                  </a:cubicBezTo>
                  <a:close/>
                  <a:moveTo>
                    <a:pt x="1665" y="58"/>
                  </a:moveTo>
                  <a:cubicBezTo>
                    <a:pt x="1664" y="58"/>
                    <a:pt x="1664" y="58"/>
                    <a:pt x="1664" y="59"/>
                  </a:cubicBezTo>
                  <a:cubicBezTo>
                    <a:pt x="1664" y="59"/>
                    <a:pt x="1664" y="59"/>
                    <a:pt x="1664" y="59"/>
                  </a:cubicBezTo>
                  <a:cubicBezTo>
                    <a:pt x="1664" y="59"/>
                    <a:pt x="1664" y="59"/>
                    <a:pt x="1665" y="58"/>
                  </a:cubicBezTo>
                  <a:close/>
                  <a:moveTo>
                    <a:pt x="1246" y="103"/>
                  </a:moveTo>
                  <a:cubicBezTo>
                    <a:pt x="1245" y="103"/>
                    <a:pt x="1245" y="103"/>
                    <a:pt x="1244" y="103"/>
                  </a:cubicBezTo>
                  <a:cubicBezTo>
                    <a:pt x="1245" y="103"/>
                    <a:pt x="1246" y="103"/>
                    <a:pt x="1246" y="103"/>
                  </a:cubicBezTo>
                  <a:close/>
                  <a:moveTo>
                    <a:pt x="1411" y="74"/>
                  </a:moveTo>
                  <a:cubicBezTo>
                    <a:pt x="1411" y="73"/>
                    <a:pt x="1411" y="72"/>
                    <a:pt x="1410" y="72"/>
                  </a:cubicBezTo>
                  <a:cubicBezTo>
                    <a:pt x="1411" y="72"/>
                    <a:pt x="1410" y="73"/>
                    <a:pt x="1411" y="74"/>
                  </a:cubicBezTo>
                  <a:close/>
                  <a:moveTo>
                    <a:pt x="1198" y="103"/>
                  </a:moveTo>
                  <a:cubicBezTo>
                    <a:pt x="1197" y="103"/>
                    <a:pt x="1196" y="103"/>
                    <a:pt x="1196" y="103"/>
                  </a:cubicBezTo>
                  <a:cubicBezTo>
                    <a:pt x="1197" y="103"/>
                    <a:pt x="1197" y="103"/>
                    <a:pt x="1198" y="103"/>
                  </a:cubicBezTo>
                  <a:close/>
                  <a:moveTo>
                    <a:pt x="1539" y="88"/>
                  </a:moveTo>
                  <a:cubicBezTo>
                    <a:pt x="1538" y="88"/>
                    <a:pt x="1539" y="89"/>
                    <a:pt x="1539" y="90"/>
                  </a:cubicBezTo>
                  <a:cubicBezTo>
                    <a:pt x="1539" y="89"/>
                    <a:pt x="1539" y="88"/>
                    <a:pt x="1539" y="88"/>
                  </a:cubicBezTo>
                  <a:close/>
                  <a:moveTo>
                    <a:pt x="1188" y="103"/>
                  </a:moveTo>
                  <a:cubicBezTo>
                    <a:pt x="1188" y="103"/>
                    <a:pt x="1187" y="103"/>
                    <a:pt x="1187" y="103"/>
                  </a:cubicBezTo>
                  <a:cubicBezTo>
                    <a:pt x="1187" y="103"/>
                    <a:pt x="1188" y="103"/>
                    <a:pt x="1188" y="103"/>
                  </a:cubicBezTo>
                  <a:close/>
                  <a:moveTo>
                    <a:pt x="1551" y="15"/>
                  </a:moveTo>
                  <a:cubicBezTo>
                    <a:pt x="1550" y="15"/>
                    <a:pt x="1550" y="15"/>
                    <a:pt x="1549" y="15"/>
                  </a:cubicBezTo>
                  <a:cubicBezTo>
                    <a:pt x="1550" y="15"/>
                    <a:pt x="1551" y="16"/>
                    <a:pt x="1551" y="15"/>
                  </a:cubicBezTo>
                  <a:close/>
                  <a:moveTo>
                    <a:pt x="1470" y="71"/>
                  </a:moveTo>
                  <a:cubicBezTo>
                    <a:pt x="1469" y="71"/>
                    <a:pt x="1469" y="72"/>
                    <a:pt x="1469" y="73"/>
                  </a:cubicBezTo>
                  <a:cubicBezTo>
                    <a:pt x="1470" y="72"/>
                    <a:pt x="1470" y="71"/>
                    <a:pt x="1470" y="71"/>
                  </a:cubicBezTo>
                  <a:close/>
                  <a:moveTo>
                    <a:pt x="1719" y="15"/>
                  </a:moveTo>
                  <a:cubicBezTo>
                    <a:pt x="1719" y="15"/>
                    <a:pt x="1718" y="15"/>
                    <a:pt x="1717" y="15"/>
                  </a:cubicBezTo>
                  <a:cubicBezTo>
                    <a:pt x="1718" y="15"/>
                    <a:pt x="1719" y="16"/>
                    <a:pt x="1719" y="15"/>
                  </a:cubicBezTo>
                  <a:close/>
                  <a:moveTo>
                    <a:pt x="759" y="75"/>
                  </a:moveTo>
                  <a:cubicBezTo>
                    <a:pt x="759" y="76"/>
                    <a:pt x="759" y="77"/>
                    <a:pt x="759" y="77"/>
                  </a:cubicBezTo>
                  <a:cubicBezTo>
                    <a:pt x="759" y="77"/>
                    <a:pt x="759" y="76"/>
                    <a:pt x="759" y="75"/>
                  </a:cubicBezTo>
                  <a:close/>
                  <a:moveTo>
                    <a:pt x="1527" y="90"/>
                  </a:moveTo>
                  <a:cubicBezTo>
                    <a:pt x="1528" y="90"/>
                    <a:pt x="1528" y="89"/>
                    <a:pt x="1528" y="89"/>
                  </a:cubicBezTo>
                  <a:cubicBezTo>
                    <a:pt x="1527" y="89"/>
                    <a:pt x="1527" y="90"/>
                    <a:pt x="1527" y="90"/>
                  </a:cubicBezTo>
                  <a:close/>
                  <a:moveTo>
                    <a:pt x="963" y="62"/>
                  </a:moveTo>
                  <a:cubicBezTo>
                    <a:pt x="963" y="62"/>
                    <a:pt x="963" y="63"/>
                    <a:pt x="963" y="64"/>
                  </a:cubicBezTo>
                  <a:cubicBezTo>
                    <a:pt x="963" y="63"/>
                    <a:pt x="963" y="62"/>
                    <a:pt x="963" y="62"/>
                  </a:cubicBezTo>
                  <a:close/>
                  <a:moveTo>
                    <a:pt x="1696" y="90"/>
                  </a:moveTo>
                  <a:cubicBezTo>
                    <a:pt x="1696" y="90"/>
                    <a:pt x="1696" y="89"/>
                    <a:pt x="1696" y="89"/>
                  </a:cubicBezTo>
                  <a:cubicBezTo>
                    <a:pt x="1695" y="89"/>
                    <a:pt x="1696" y="90"/>
                    <a:pt x="1696" y="90"/>
                  </a:cubicBezTo>
                  <a:close/>
                  <a:moveTo>
                    <a:pt x="1030" y="78"/>
                  </a:moveTo>
                  <a:cubicBezTo>
                    <a:pt x="1030" y="77"/>
                    <a:pt x="1030" y="77"/>
                    <a:pt x="1030" y="76"/>
                  </a:cubicBezTo>
                  <a:cubicBezTo>
                    <a:pt x="1030" y="77"/>
                    <a:pt x="1029" y="77"/>
                    <a:pt x="1030" y="78"/>
                  </a:cubicBezTo>
                  <a:close/>
                  <a:moveTo>
                    <a:pt x="1144" y="57"/>
                  </a:moveTo>
                  <a:cubicBezTo>
                    <a:pt x="1144" y="57"/>
                    <a:pt x="1144" y="56"/>
                    <a:pt x="1143" y="55"/>
                  </a:cubicBezTo>
                  <a:cubicBezTo>
                    <a:pt x="1144" y="56"/>
                    <a:pt x="1143" y="57"/>
                    <a:pt x="1144" y="57"/>
                  </a:cubicBezTo>
                  <a:close/>
                  <a:moveTo>
                    <a:pt x="1111" y="58"/>
                  </a:moveTo>
                  <a:cubicBezTo>
                    <a:pt x="1110" y="58"/>
                    <a:pt x="1110" y="59"/>
                    <a:pt x="1110" y="59"/>
                  </a:cubicBezTo>
                  <a:cubicBezTo>
                    <a:pt x="1111" y="59"/>
                    <a:pt x="1111" y="58"/>
                    <a:pt x="1111" y="58"/>
                  </a:cubicBezTo>
                  <a:close/>
                  <a:moveTo>
                    <a:pt x="747" y="62"/>
                  </a:moveTo>
                  <a:cubicBezTo>
                    <a:pt x="748" y="62"/>
                    <a:pt x="748" y="61"/>
                    <a:pt x="748" y="60"/>
                  </a:cubicBezTo>
                  <a:cubicBezTo>
                    <a:pt x="747" y="61"/>
                    <a:pt x="747" y="62"/>
                    <a:pt x="747" y="62"/>
                  </a:cubicBezTo>
                  <a:close/>
                  <a:moveTo>
                    <a:pt x="786" y="103"/>
                  </a:moveTo>
                  <a:cubicBezTo>
                    <a:pt x="786" y="103"/>
                    <a:pt x="785" y="103"/>
                    <a:pt x="784" y="103"/>
                  </a:cubicBezTo>
                  <a:cubicBezTo>
                    <a:pt x="785" y="103"/>
                    <a:pt x="786" y="103"/>
                    <a:pt x="786" y="103"/>
                  </a:cubicBezTo>
                  <a:close/>
                  <a:moveTo>
                    <a:pt x="1470" y="36"/>
                  </a:moveTo>
                  <a:cubicBezTo>
                    <a:pt x="1470" y="37"/>
                    <a:pt x="1470" y="38"/>
                    <a:pt x="1470" y="38"/>
                  </a:cubicBezTo>
                  <a:cubicBezTo>
                    <a:pt x="1470" y="38"/>
                    <a:pt x="1470" y="37"/>
                    <a:pt x="1470" y="36"/>
                  </a:cubicBezTo>
                  <a:close/>
                  <a:moveTo>
                    <a:pt x="1188" y="91"/>
                  </a:moveTo>
                  <a:cubicBezTo>
                    <a:pt x="1188" y="91"/>
                    <a:pt x="1188" y="92"/>
                    <a:pt x="1189" y="92"/>
                  </a:cubicBezTo>
                  <a:cubicBezTo>
                    <a:pt x="1189" y="91"/>
                    <a:pt x="1188" y="91"/>
                    <a:pt x="1188" y="91"/>
                  </a:cubicBezTo>
                  <a:close/>
                  <a:moveTo>
                    <a:pt x="1397" y="36"/>
                  </a:moveTo>
                  <a:cubicBezTo>
                    <a:pt x="1397" y="37"/>
                    <a:pt x="1397" y="37"/>
                    <a:pt x="1397" y="38"/>
                  </a:cubicBezTo>
                  <a:cubicBezTo>
                    <a:pt x="1397" y="37"/>
                    <a:pt x="1397" y="37"/>
                    <a:pt x="1397" y="36"/>
                  </a:cubicBezTo>
                  <a:close/>
                  <a:moveTo>
                    <a:pt x="1745" y="15"/>
                  </a:moveTo>
                  <a:cubicBezTo>
                    <a:pt x="1745" y="15"/>
                    <a:pt x="1745" y="16"/>
                    <a:pt x="1745" y="16"/>
                  </a:cubicBezTo>
                  <a:cubicBezTo>
                    <a:pt x="1745" y="15"/>
                    <a:pt x="1745" y="15"/>
                    <a:pt x="1745" y="15"/>
                  </a:cubicBezTo>
                  <a:close/>
                  <a:moveTo>
                    <a:pt x="856" y="48"/>
                  </a:moveTo>
                  <a:cubicBezTo>
                    <a:pt x="856" y="47"/>
                    <a:pt x="856" y="47"/>
                    <a:pt x="855" y="47"/>
                  </a:cubicBezTo>
                  <a:cubicBezTo>
                    <a:pt x="855" y="47"/>
                    <a:pt x="855" y="47"/>
                    <a:pt x="856" y="48"/>
                  </a:cubicBezTo>
                  <a:close/>
                  <a:moveTo>
                    <a:pt x="1376" y="6"/>
                  </a:moveTo>
                  <a:cubicBezTo>
                    <a:pt x="1377" y="6"/>
                    <a:pt x="1377" y="6"/>
                    <a:pt x="1378" y="6"/>
                  </a:cubicBezTo>
                  <a:cubicBezTo>
                    <a:pt x="1377" y="6"/>
                    <a:pt x="1377" y="6"/>
                    <a:pt x="1376" y="6"/>
                  </a:cubicBezTo>
                  <a:close/>
                  <a:moveTo>
                    <a:pt x="1434" y="6"/>
                  </a:moveTo>
                  <a:cubicBezTo>
                    <a:pt x="1435" y="7"/>
                    <a:pt x="1435" y="7"/>
                    <a:pt x="1436" y="6"/>
                  </a:cubicBezTo>
                  <a:cubicBezTo>
                    <a:pt x="1435" y="6"/>
                    <a:pt x="1435" y="6"/>
                    <a:pt x="1434" y="6"/>
                  </a:cubicBezTo>
                  <a:close/>
                  <a:moveTo>
                    <a:pt x="1447" y="6"/>
                  </a:moveTo>
                  <a:cubicBezTo>
                    <a:pt x="1447" y="6"/>
                    <a:pt x="1448" y="7"/>
                    <a:pt x="1448" y="6"/>
                  </a:cubicBezTo>
                  <a:cubicBezTo>
                    <a:pt x="1448" y="6"/>
                    <a:pt x="1447" y="6"/>
                    <a:pt x="1447" y="6"/>
                  </a:cubicBezTo>
                  <a:close/>
                  <a:moveTo>
                    <a:pt x="1537" y="21"/>
                  </a:moveTo>
                  <a:cubicBezTo>
                    <a:pt x="1537" y="21"/>
                    <a:pt x="1537" y="21"/>
                    <a:pt x="1536" y="21"/>
                  </a:cubicBezTo>
                  <a:cubicBezTo>
                    <a:pt x="1537" y="21"/>
                    <a:pt x="1537" y="21"/>
                    <a:pt x="1537" y="21"/>
                  </a:cubicBezTo>
                  <a:close/>
                  <a:moveTo>
                    <a:pt x="557" y="7"/>
                  </a:moveTo>
                  <a:cubicBezTo>
                    <a:pt x="557" y="7"/>
                    <a:pt x="558" y="7"/>
                    <a:pt x="558" y="7"/>
                  </a:cubicBezTo>
                  <a:cubicBezTo>
                    <a:pt x="558" y="7"/>
                    <a:pt x="557" y="6"/>
                    <a:pt x="557" y="7"/>
                  </a:cubicBezTo>
                  <a:close/>
                  <a:moveTo>
                    <a:pt x="577" y="7"/>
                  </a:moveTo>
                  <a:cubicBezTo>
                    <a:pt x="578" y="7"/>
                    <a:pt x="578" y="7"/>
                    <a:pt x="579" y="7"/>
                  </a:cubicBezTo>
                  <a:cubicBezTo>
                    <a:pt x="578" y="6"/>
                    <a:pt x="578" y="7"/>
                    <a:pt x="577" y="7"/>
                  </a:cubicBezTo>
                  <a:close/>
                  <a:moveTo>
                    <a:pt x="988" y="7"/>
                  </a:moveTo>
                  <a:cubicBezTo>
                    <a:pt x="988" y="7"/>
                    <a:pt x="989" y="7"/>
                    <a:pt x="989" y="7"/>
                  </a:cubicBezTo>
                  <a:cubicBezTo>
                    <a:pt x="989" y="7"/>
                    <a:pt x="988" y="6"/>
                    <a:pt x="988" y="7"/>
                  </a:cubicBezTo>
                  <a:close/>
                  <a:moveTo>
                    <a:pt x="1010" y="7"/>
                  </a:moveTo>
                  <a:cubicBezTo>
                    <a:pt x="1010" y="7"/>
                    <a:pt x="1011" y="7"/>
                    <a:pt x="1012" y="7"/>
                  </a:cubicBezTo>
                  <a:cubicBezTo>
                    <a:pt x="1011" y="6"/>
                    <a:pt x="1011" y="7"/>
                    <a:pt x="1010" y="7"/>
                  </a:cubicBezTo>
                  <a:close/>
                  <a:moveTo>
                    <a:pt x="1360" y="7"/>
                  </a:moveTo>
                  <a:cubicBezTo>
                    <a:pt x="1361" y="7"/>
                    <a:pt x="1361" y="7"/>
                    <a:pt x="1362" y="7"/>
                  </a:cubicBezTo>
                  <a:cubicBezTo>
                    <a:pt x="1361" y="7"/>
                    <a:pt x="1361" y="6"/>
                    <a:pt x="1360" y="7"/>
                  </a:cubicBezTo>
                  <a:close/>
                  <a:moveTo>
                    <a:pt x="1378" y="7"/>
                  </a:moveTo>
                  <a:cubicBezTo>
                    <a:pt x="1378" y="7"/>
                    <a:pt x="1379" y="7"/>
                    <a:pt x="1379" y="7"/>
                  </a:cubicBezTo>
                  <a:cubicBezTo>
                    <a:pt x="1379" y="6"/>
                    <a:pt x="1379" y="7"/>
                    <a:pt x="1378" y="7"/>
                  </a:cubicBezTo>
                  <a:close/>
                  <a:moveTo>
                    <a:pt x="968" y="16"/>
                  </a:moveTo>
                  <a:cubicBezTo>
                    <a:pt x="969" y="16"/>
                    <a:pt x="969" y="16"/>
                    <a:pt x="969" y="15"/>
                  </a:cubicBezTo>
                  <a:cubicBezTo>
                    <a:pt x="969" y="15"/>
                    <a:pt x="969" y="15"/>
                    <a:pt x="968" y="16"/>
                  </a:cubicBezTo>
                  <a:close/>
                  <a:moveTo>
                    <a:pt x="680" y="94"/>
                  </a:moveTo>
                  <a:cubicBezTo>
                    <a:pt x="680" y="94"/>
                    <a:pt x="681" y="94"/>
                    <a:pt x="681" y="93"/>
                  </a:cubicBezTo>
                  <a:cubicBezTo>
                    <a:pt x="681" y="93"/>
                    <a:pt x="680" y="93"/>
                    <a:pt x="680" y="94"/>
                  </a:cubicBezTo>
                  <a:close/>
                  <a:moveTo>
                    <a:pt x="952" y="45"/>
                  </a:moveTo>
                  <a:cubicBezTo>
                    <a:pt x="952" y="44"/>
                    <a:pt x="952" y="44"/>
                    <a:pt x="952" y="43"/>
                  </a:cubicBezTo>
                  <a:cubicBezTo>
                    <a:pt x="951" y="44"/>
                    <a:pt x="952" y="44"/>
                    <a:pt x="952" y="45"/>
                  </a:cubicBezTo>
                  <a:close/>
                  <a:moveTo>
                    <a:pt x="737" y="94"/>
                  </a:moveTo>
                  <a:cubicBezTo>
                    <a:pt x="738" y="94"/>
                    <a:pt x="738" y="94"/>
                    <a:pt x="739" y="93"/>
                  </a:cubicBezTo>
                  <a:cubicBezTo>
                    <a:pt x="738" y="93"/>
                    <a:pt x="738" y="93"/>
                    <a:pt x="737" y="94"/>
                  </a:cubicBezTo>
                  <a:close/>
                  <a:moveTo>
                    <a:pt x="1706" y="21"/>
                  </a:moveTo>
                  <a:cubicBezTo>
                    <a:pt x="1705" y="21"/>
                    <a:pt x="1705" y="21"/>
                    <a:pt x="1705" y="21"/>
                  </a:cubicBezTo>
                  <a:cubicBezTo>
                    <a:pt x="1705" y="21"/>
                    <a:pt x="1705" y="21"/>
                    <a:pt x="1706" y="21"/>
                  </a:cubicBezTo>
                  <a:close/>
                  <a:moveTo>
                    <a:pt x="774" y="93"/>
                  </a:moveTo>
                  <a:cubicBezTo>
                    <a:pt x="775" y="94"/>
                    <a:pt x="775" y="94"/>
                    <a:pt x="776" y="93"/>
                  </a:cubicBezTo>
                  <a:cubicBezTo>
                    <a:pt x="775" y="93"/>
                    <a:pt x="775" y="93"/>
                    <a:pt x="774" y="93"/>
                  </a:cubicBezTo>
                  <a:close/>
                  <a:moveTo>
                    <a:pt x="1076" y="37"/>
                  </a:moveTo>
                  <a:cubicBezTo>
                    <a:pt x="1077" y="38"/>
                    <a:pt x="1077" y="38"/>
                    <a:pt x="1077" y="38"/>
                  </a:cubicBezTo>
                  <a:cubicBezTo>
                    <a:pt x="1077" y="37"/>
                    <a:pt x="1077" y="37"/>
                    <a:pt x="1076" y="37"/>
                  </a:cubicBezTo>
                  <a:close/>
                  <a:moveTo>
                    <a:pt x="785" y="93"/>
                  </a:moveTo>
                  <a:cubicBezTo>
                    <a:pt x="785" y="94"/>
                    <a:pt x="786" y="94"/>
                    <a:pt x="786" y="93"/>
                  </a:cubicBezTo>
                  <a:cubicBezTo>
                    <a:pt x="786" y="93"/>
                    <a:pt x="785" y="93"/>
                    <a:pt x="785" y="93"/>
                  </a:cubicBezTo>
                  <a:close/>
                  <a:moveTo>
                    <a:pt x="579" y="7"/>
                  </a:moveTo>
                  <a:cubicBezTo>
                    <a:pt x="580" y="7"/>
                    <a:pt x="580" y="7"/>
                    <a:pt x="581" y="7"/>
                  </a:cubicBezTo>
                  <a:cubicBezTo>
                    <a:pt x="580" y="7"/>
                    <a:pt x="580" y="7"/>
                    <a:pt x="579" y="7"/>
                  </a:cubicBezTo>
                  <a:close/>
                  <a:moveTo>
                    <a:pt x="1056" y="93"/>
                  </a:moveTo>
                  <a:cubicBezTo>
                    <a:pt x="1057" y="94"/>
                    <a:pt x="1057" y="94"/>
                    <a:pt x="1058" y="93"/>
                  </a:cubicBezTo>
                  <a:cubicBezTo>
                    <a:pt x="1057" y="93"/>
                    <a:pt x="1057" y="93"/>
                    <a:pt x="1056" y="93"/>
                  </a:cubicBezTo>
                  <a:close/>
                  <a:moveTo>
                    <a:pt x="1012" y="7"/>
                  </a:moveTo>
                  <a:cubicBezTo>
                    <a:pt x="1012" y="7"/>
                    <a:pt x="1013" y="7"/>
                    <a:pt x="1013" y="7"/>
                  </a:cubicBezTo>
                  <a:cubicBezTo>
                    <a:pt x="1013" y="7"/>
                    <a:pt x="1012" y="7"/>
                    <a:pt x="1012" y="7"/>
                  </a:cubicBezTo>
                  <a:close/>
                  <a:moveTo>
                    <a:pt x="1375" y="16"/>
                  </a:moveTo>
                  <a:cubicBezTo>
                    <a:pt x="1375" y="16"/>
                    <a:pt x="1374" y="15"/>
                    <a:pt x="1374" y="16"/>
                  </a:cubicBezTo>
                  <a:cubicBezTo>
                    <a:pt x="1374" y="16"/>
                    <a:pt x="1374" y="16"/>
                    <a:pt x="1375" y="16"/>
                  </a:cubicBezTo>
                  <a:close/>
                  <a:moveTo>
                    <a:pt x="1191" y="93"/>
                  </a:moveTo>
                  <a:cubicBezTo>
                    <a:pt x="1192" y="94"/>
                    <a:pt x="1192" y="94"/>
                    <a:pt x="1193" y="94"/>
                  </a:cubicBezTo>
                  <a:cubicBezTo>
                    <a:pt x="1192" y="93"/>
                    <a:pt x="1192" y="93"/>
                    <a:pt x="1191" y="93"/>
                  </a:cubicBezTo>
                  <a:close/>
                  <a:moveTo>
                    <a:pt x="1215" y="94"/>
                  </a:moveTo>
                  <a:cubicBezTo>
                    <a:pt x="1215" y="94"/>
                    <a:pt x="1215" y="93"/>
                    <a:pt x="1214" y="93"/>
                  </a:cubicBezTo>
                  <a:cubicBezTo>
                    <a:pt x="1214" y="94"/>
                    <a:pt x="1215" y="94"/>
                    <a:pt x="1215" y="94"/>
                  </a:cubicBezTo>
                  <a:close/>
                  <a:moveTo>
                    <a:pt x="1581" y="37"/>
                  </a:moveTo>
                  <a:cubicBezTo>
                    <a:pt x="1581" y="37"/>
                    <a:pt x="1581" y="38"/>
                    <a:pt x="1581" y="39"/>
                  </a:cubicBezTo>
                  <a:cubicBezTo>
                    <a:pt x="1582" y="38"/>
                    <a:pt x="1581" y="37"/>
                    <a:pt x="1581" y="37"/>
                  </a:cubicBezTo>
                  <a:close/>
                  <a:moveTo>
                    <a:pt x="1549" y="16"/>
                  </a:moveTo>
                  <a:cubicBezTo>
                    <a:pt x="1548" y="15"/>
                    <a:pt x="1548" y="16"/>
                    <a:pt x="1548" y="16"/>
                  </a:cubicBezTo>
                  <a:cubicBezTo>
                    <a:pt x="1548" y="16"/>
                    <a:pt x="1549" y="16"/>
                    <a:pt x="1549" y="16"/>
                  </a:cubicBezTo>
                  <a:close/>
                  <a:moveTo>
                    <a:pt x="1749" y="37"/>
                  </a:moveTo>
                  <a:cubicBezTo>
                    <a:pt x="1749" y="37"/>
                    <a:pt x="1749" y="38"/>
                    <a:pt x="1749" y="39"/>
                  </a:cubicBezTo>
                  <a:cubicBezTo>
                    <a:pt x="1750" y="38"/>
                    <a:pt x="1749" y="37"/>
                    <a:pt x="1749" y="37"/>
                  </a:cubicBezTo>
                  <a:close/>
                  <a:moveTo>
                    <a:pt x="1717" y="16"/>
                  </a:moveTo>
                  <a:cubicBezTo>
                    <a:pt x="1717" y="15"/>
                    <a:pt x="1716" y="16"/>
                    <a:pt x="1716" y="16"/>
                  </a:cubicBezTo>
                  <a:cubicBezTo>
                    <a:pt x="1716" y="16"/>
                    <a:pt x="1717" y="16"/>
                    <a:pt x="1717" y="16"/>
                  </a:cubicBezTo>
                  <a:close/>
                  <a:moveTo>
                    <a:pt x="1234" y="93"/>
                  </a:moveTo>
                  <a:cubicBezTo>
                    <a:pt x="1235" y="94"/>
                    <a:pt x="1235" y="94"/>
                    <a:pt x="1236" y="93"/>
                  </a:cubicBezTo>
                  <a:cubicBezTo>
                    <a:pt x="1235" y="93"/>
                    <a:pt x="1235" y="93"/>
                    <a:pt x="1234" y="93"/>
                  </a:cubicBezTo>
                  <a:close/>
                  <a:moveTo>
                    <a:pt x="1245" y="93"/>
                  </a:moveTo>
                  <a:cubicBezTo>
                    <a:pt x="1245" y="94"/>
                    <a:pt x="1246" y="94"/>
                    <a:pt x="1246" y="93"/>
                  </a:cubicBezTo>
                  <a:cubicBezTo>
                    <a:pt x="1246" y="93"/>
                    <a:pt x="1245" y="93"/>
                    <a:pt x="1245" y="93"/>
                  </a:cubicBezTo>
                  <a:close/>
                  <a:moveTo>
                    <a:pt x="761" y="38"/>
                  </a:moveTo>
                  <a:cubicBezTo>
                    <a:pt x="761" y="38"/>
                    <a:pt x="761" y="38"/>
                    <a:pt x="762" y="37"/>
                  </a:cubicBezTo>
                  <a:cubicBezTo>
                    <a:pt x="761" y="37"/>
                    <a:pt x="761" y="38"/>
                    <a:pt x="761" y="38"/>
                  </a:cubicBezTo>
                  <a:close/>
                  <a:moveTo>
                    <a:pt x="1154" y="51"/>
                  </a:moveTo>
                  <a:cubicBezTo>
                    <a:pt x="1154" y="52"/>
                    <a:pt x="1154" y="52"/>
                    <a:pt x="1155" y="53"/>
                  </a:cubicBezTo>
                  <a:cubicBezTo>
                    <a:pt x="1155" y="52"/>
                    <a:pt x="1155" y="51"/>
                    <a:pt x="1154" y="51"/>
                  </a:cubicBezTo>
                  <a:close/>
                  <a:moveTo>
                    <a:pt x="1038" y="94"/>
                  </a:moveTo>
                  <a:cubicBezTo>
                    <a:pt x="1038" y="94"/>
                    <a:pt x="1037" y="94"/>
                    <a:pt x="1037" y="94"/>
                  </a:cubicBezTo>
                  <a:cubicBezTo>
                    <a:pt x="1037" y="94"/>
                    <a:pt x="1037" y="94"/>
                    <a:pt x="1038" y="94"/>
                  </a:cubicBezTo>
                  <a:close/>
                  <a:moveTo>
                    <a:pt x="1742" y="53"/>
                  </a:moveTo>
                  <a:cubicBezTo>
                    <a:pt x="1742" y="53"/>
                    <a:pt x="1742" y="54"/>
                    <a:pt x="1741" y="54"/>
                  </a:cubicBezTo>
                  <a:cubicBezTo>
                    <a:pt x="1742" y="54"/>
                    <a:pt x="1742" y="54"/>
                    <a:pt x="1742" y="53"/>
                  </a:cubicBezTo>
                  <a:close/>
                  <a:moveTo>
                    <a:pt x="1420" y="95"/>
                  </a:moveTo>
                  <a:cubicBezTo>
                    <a:pt x="1420" y="95"/>
                    <a:pt x="1420" y="94"/>
                    <a:pt x="1419" y="94"/>
                  </a:cubicBezTo>
                  <a:cubicBezTo>
                    <a:pt x="1420" y="95"/>
                    <a:pt x="1420" y="95"/>
                    <a:pt x="1420" y="95"/>
                  </a:cubicBezTo>
                  <a:close/>
                  <a:moveTo>
                    <a:pt x="552" y="21"/>
                  </a:moveTo>
                  <a:cubicBezTo>
                    <a:pt x="551" y="22"/>
                    <a:pt x="551" y="22"/>
                    <a:pt x="551" y="22"/>
                  </a:cubicBezTo>
                  <a:cubicBezTo>
                    <a:pt x="551" y="22"/>
                    <a:pt x="552" y="22"/>
                    <a:pt x="552" y="21"/>
                  </a:cubicBezTo>
                  <a:close/>
                  <a:moveTo>
                    <a:pt x="696" y="95"/>
                  </a:moveTo>
                  <a:cubicBezTo>
                    <a:pt x="695" y="95"/>
                    <a:pt x="695" y="95"/>
                    <a:pt x="695" y="96"/>
                  </a:cubicBezTo>
                  <a:cubicBezTo>
                    <a:pt x="696" y="96"/>
                    <a:pt x="696" y="95"/>
                    <a:pt x="696" y="95"/>
                  </a:cubicBezTo>
                  <a:close/>
                  <a:moveTo>
                    <a:pt x="1116" y="38"/>
                  </a:moveTo>
                  <a:cubicBezTo>
                    <a:pt x="1116" y="38"/>
                    <a:pt x="1117" y="38"/>
                    <a:pt x="1117" y="37"/>
                  </a:cubicBezTo>
                  <a:cubicBezTo>
                    <a:pt x="1116" y="37"/>
                    <a:pt x="1116" y="38"/>
                    <a:pt x="1116" y="38"/>
                  </a:cubicBezTo>
                  <a:close/>
                  <a:moveTo>
                    <a:pt x="969" y="96"/>
                  </a:moveTo>
                  <a:cubicBezTo>
                    <a:pt x="969" y="96"/>
                    <a:pt x="969" y="95"/>
                    <a:pt x="968" y="95"/>
                  </a:cubicBezTo>
                  <a:cubicBezTo>
                    <a:pt x="969" y="96"/>
                    <a:pt x="969" y="96"/>
                    <a:pt x="969" y="96"/>
                  </a:cubicBezTo>
                  <a:close/>
                  <a:moveTo>
                    <a:pt x="971" y="97"/>
                  </a:moveTo>
                  <a:cubicBezTo>
                    <a:pt x="970" y="96"/>
                    <a:pt x="970" y="96"/>
                    <a:pt x="969" y="96"/>
                  </a:cubicBezTo>
                  <a:cubicBezTo>
                    <a:pt x="970" y="96"/>
                    <a:pt x="970" y="97"/>
                    <a:pt x="971" y="97"/>
                  </a:cubicBezTo>
                  <a:close/>
                  <a:moveTo>
                    <a:pt x="1040" y="97"/>
                  </a:moveTo>
                  <a:cubicBezTo>
                    <a:pt x="1040" y="97"/>
                    <a:pt x="1040" y="96"/>
                    <a:pt x="1039" y="96"/>
                  </a:cubicBezTo>
                  <a:cubicBezTo>
                    <a:pt x="1040" y="97"/>
                    <a:pt x="1040" y="97"/>
                    <a:pt x="1040" y="97"/>
                  </a:cubicBezTo>
                  <a:close/>
                  <a:moveTo>
                    <a:pt x="1309" y="44"/>
                  </a:moveTo>
                  <a:cubicBezTo>
                    <a:pt x="1308" y="43"/>
                    <a:pt x="1308" y="43"/>
                    <a:pt x="1307" y="43"/>
                  </a:cubicBezTo>
                  <a:cubicBezTo>
                    <a:pt x="1307" y="44"/>
                    <a:pt x="1308" y="44"/>
                    <a:pt x="1309" y="44"/>
                  </a:cubicBezTo>
                  <a:close/>
                  <a:moveTo>
                    <a:pt x="1498" y="21"/>
                  </a:moveTo>
                  <a:cubicBezTo>
                    <a:pt x="1498" y="22"/>
                    <a:pt x="1497" y="22"/>
                    <a:pt x="1497" y="22"/>
                  </a:cubicBezTo>
                  <a:cubicBezTo>
                    <a:pt x="1498" y="22"/>
                    <a:pt x="1498" y="22"/>
                    <a:pt x="1498" y="21"/>
                  </a:cubicBezTo>
                  <a:close/>
                  <a:moveTo>
                    <a:pt x="1684" y="37"/>
                  </a:moveTo>
                  <a:cubicBezTo>
                    <a:pt x="1684" y="38"/>
                    <a:pt x="1684" y="38"/>
                    <a:pt x="1684" y="39"/>
                  </a:cubicBezTo>
                  <a:cubicBezTo>
                    <a:pt x="1684" y="38"/>
                    <a:pt x="1684" y="38"/>
                    <a:pt x="1684" y="37"/>
                  </a:cubicBezTo>
                  <a:close/>
                  <a:moveTo>
                    <a:pt x="1219" y="97"/>
                  </a:moveTo>
                  <a:cubicBezTo>
                    <a:pt x="1218" y="97"/>
                    <a:pt x="1218" y="97"/>
                    <a:pt x="1218" y="97"/>
                  </a:cubicBezTo>
                  <a:cubicBezTo>
                    <a:pt x="1218" y="97"/>
                    <a:pt x="1218" y="97"/>
                    <a:pt x="1219" y="97"/>
                  </a:cubicBezTo>
                  <a:close/>
                  <a:moveTo>
                    <a:pt x="759" y="98"/>
                  </a:moveTo>
                  <a:cubicBezTo>
                    <a:pt x="759" y="97"/>
                    <a:pt x="759" y="97"/>
                    <a:pt x="758" y="97"/>
                  </a:cubicBezTo>
                  <a:cubicBezTo>
                    <a:pt x="758" y="97"/>
                    <a:pt x="759" y="98"/>
                    <a:pt x="759" y="98"/>
                  </a:cubicBezTo>
                  <a:close/>
                  <a:moveTo>
                    <a:pt x="562" y="16"/>
                  </a:moveTo>
                  <a:cubicBezTo>
                    <a:pt x="561" y="16"/>
                    <a:pt x="561" y="16"/>
                    <a:pt x="560" y="17"/>
                  </a:cubicBezTo>
                  <a:cubicBezTo>
                    <a:pt x="561" y="17"/>
                    <a:pt x="561" y="17"/>
                    <a:pt x="562" y="16"/>
                  </a:cubicBezTo>
                  <a:close/>
                  <a:moveTo>
                    <a:pt x="573" y="17"/>
                  </a:moveTo>
                  <a:cubicBezTo>
                    <a:pt x="573" y="16"/>
                    <a:pt x="572" y="16"/>
                    <a:pt x="572" y="16"/>
                  </a:cubicBezTo>
                  <a:cubicBezTo>
                    <a:pt x="572" y="17"/>
                    <a:pt x="573" y="17"/>
                    <a:pt x="573" y="17"/>
                  </a:cubicBezTo>
                  <a:close/>
                  <a:moveTo>
                    <a:pt x="1423" y="98"/>
                  </a:moveTo>
                  <a:cubicBezTo>
                    <a:pt x="1423" y="97"/>
                    <a:pt x="1422" y="97"/>
                    <a:pt x="1422" y="97"/>
                  </a:cubicBezTo>
                  <a:cubicBezTo>
                    <a:pt x="1422" y="97"/>
                    <a:pt x="1422" y="98"/>
                    <a:pt x="1423" y="98"/>
                  </a:cubicBezTo>
                  <a:close/>
                  <a:moveTo>
                    <a:pt x="665" y="39"/>
                  </a:moveTo>
                  <a:cubicBezTo>
                    <a:pt x="665" y="38"/>
                    <a:pt x="665" y="38"/>
                    <a:pt x="666" y="38"/>
                  </a:cubicBezTo>
                  <a:cubicBezTo>
                    <a:pt x="665" y="38"/>
                    <a:pt x="665" y="38"/>
                    <a:pt x="665" y="39"/>
                  </a:cubicBezTo>
                  <a:close/>
                  <a:moveTo>
                    <a:pt x="1457" y="97"/>
                  </a:moveTo>
                  <a:cubicBezTo>
                    <a:pt x="1456" y="97"/>
                    <a:pt x="1456" y="98"/>
                    <a:pt x="1456" y="98"/>
                  </a:cubicBezTo>
                  <a:cubicBezTo>
                    <a:pt x="1456" y="98"/>
                    <a:pt x="1457" y="98"/>
                    <a:pt x="1457" y="97"/>
                  </a:cubicBezTo>
                  <a:close/>
                  <a:moveTo>
                    <a:pt x="761" y="99"/>
                  </a:moveTo>
                  <a:cubicBezTo>
                    <a:pt x="760" y="98"/>
                    <a:pt x="760" y="98"/>
                    <a:pt x="760" y="98"/>
                  </a:cubicBezTo>
                  <a:cubicBezTo>
                    <a:pt x="760" y="99"/>
                    <a:pt x="760" y="99"/>
                    <a:pt x="761" y="99"/>
                  </a:cubicBezTo>
                  <a:close/>
                  <a:moveTo>
                    <a:pt x="1425" y="99"/>
                  </a:moveTo>
                  <a:cubicBezTo>
                    <a:pt x="1424" y="99"/>
                    <a:pt x="1424" y="98"/>
                    <a:pt x="1424" y="98"/>
                  </a:cubicBezTo>
                  <a:cubicBezTo>
                    <a:pt x="1424" y="99"/>
                    <a:pt x="1424" y="99"/>
                    <a:pt x="1425" y="99"/>
                  </a:cubicBezTo>
                  <a:close/>
                  <a:moveTo>
                    <a:pt x="1574" y="53"/>
                  </a:moveTo>
                  <a:cubicBezTo>
                    <a:pt x="1574" y="53"/>
                    <a:pt x="1573" y="54"/>
                    <a:pt x="1573" y="54"/>
                  </a:cubicBezTo>
                  <a:cubicBezTo>
                    <a:pt x="1574" y="54"/>
                    <a:pt x="1574" y="54"/>
                    <a:pt x="1574" y="53"/>
                  </a:cubicBezTo>
                  <a:close/>
                  <a:moveTo>
                    <a:pt x="1011" y="102"/>
                  </a:moveTo>
                  <a:cubicBezTo>
                    <a:pt x="1010" y="101"/>
                    <a:pt x="1010" y="102"/>
                    <a:pt x="1009" y="102"/>
                  </a:cubicBezTo>
                  <a:cubicBezTo>
                    <a:pt x="1010" y="102"/>
                    <a:pt x="1010" y="102"/>
                    <a:pt x="1011" y="102"/>
                  </a:cubicBezTo>
                  <a:close/>
                  <a:moveTo>
                    <a:pt x="984" y="102"/>
                  </a:moveTo>
                  <a:cubicBezTo>
                    <a:pt x="984" y="102"/>
                    <a:pt x="983" y="102"/>
                    <a:pt x="983" y="102"/>
                  </a:cubicBezTo>
                  <a:cubicBezTo>
                    <a:pt x="983" y="102"/>
                    <a:pt x="984" y="102"/>
                    <a:pt x="984" y="102"/>
                  </a:cubicBezTo>
                  <a:close/>
                  <a:moveTo>
                    <a:pt x="1009" y="102"/>
                  </a:moveTo>
                  <a:cubicBezTo>
                    <a:pt x="1009" y="102"/>
                    <a:pt x="1008" y="102"/>
                    <a:pt x="1008" y="102"/>
                  </a:cubicBezTo>
                  <a:cubicBezTo>
                    <a:pt x="1008" y="102"/>
                    <a:pt x="1009" y="102"/>
                    <a:pt x="1009" y="102"/>
                  </a:cubicBezTo>
                  <a:close/>
                  <a:moveTo>
                    <a:pt x="568" y="102"/>
                  </a:moveTo>
                  <a:cubicBezTo>
                    <a:pt x="568" y="102"/>
                    <a:pt x="567" y="102"/>
                    <a:pt x="567" y="103"/>
                  </a:cubicBezTo>
                  <a:cubicBezTo>
                    <a:pt x="567" y="103"/>
                    <a:pt x="568" y="103"/>
                    <a:pt x="568" y="102"/>
                  </a:cubicBezTo>
                  <a:close/>
                  <a:moveTo>
                    <a:pt x="1220" y="39"/>
                  </a:moveTo>
                  <a:cubicBezTo>
                    <a:pt x="1220" y="38"/>
                    <a:pt x="1221" y="38"/>
                    <a:pt x="1221" y="38"/>
                  </a:cubicBezTo>
                  <a:cubicBezTo>
                    <a:pt x="1221" y="38"/>
                    <a:pt x="1220" y="38"/>
                    <a:pt x="1220" y="39"/>
                  </a:cubicBezTo>
                  <a:close/>
                  <a:moveTo>
                    <a:pt x="684" y="102"/>
                  </a:moveTo>
                  <a:cubicBezTo>
                    <a:pt x="683" y="102"/>
                    <a:pt x="683" y="102"/>
                    <a:pt x="683" y="103"/>
                  </a:cubicBezTo>
                  <a:cubicBezTo>
                    <a:pt x="683" y="103"/>
                    <a:pt x="684" y="103"/>
                    <a:pt x="684" y="102"/>
                  </a:cubicBezTo>
                  <a:close/>
                  <a:moveTo>
                    <a:pt x="986" y="103"/>
                  </a:moveTo>
                  <a:cubicBezTo>
                    <a:pt x="986" y="102"/>
                    <a:pt x="985" y="102"/>
                    <a:pt x="985" y="102"/>
                  </a:cubicBezTo>
                  <a:cubicBezTo>
                    <a:pt x="985" y="103"/>
                    <a:pt x="986" y="103"/>
                    <a:pt x="986" y="103"/>
                  </a:cubicBezTo>
                  <a:close/>
                  <a:moveTo>
                    <a:pt x="1052" y="103"/>
                  </a:moveTo>
                  <a:cubicBezTo>
                    <a:pt x="1052" y="102"/>
                    <a:pt x="1051" y="102"/>
                    <a:pt x="1051" y="102"/>
                  </a:cubicBezTo>
                  <a:cubicBezTo>
                    <a:pt x="1051" y="103"/>
                    <a:pt x="1052" y="103"/>
                    <a:pt x="1052" y="103"/>
                  </a:cubicBezTo>
                  <a:close/>
                  <a:moveTo>
                    <a:pt x="1070" y="102"/>
                  </a:moveTo>
                  <a:cubicBezTo>
                    <a:pt x="1070" y="102"/>
                    <a:pt x="1069" y="102"/>
                    <a:pt x="1069" y="103"/>
                  </a:cubicBezTo>
                  <a:cubicBezTo>
                    <a:pt x="1069" y="103"/>
                    <a:pt x="1070" y="103"/>
                    <a:pt x="1070" y="102"/>
                  </a:cubicBezTo>
                  <a:close/>
                  <a:moveTo>
                    <a:pt x="575" y="17"/>
                  </a:moveTo>
                  <a:cubicBezTo>
                    <a:pt x="575" y="17"/>
                    <a:pt x="574" y="17"/>
                    <a:pt x="574" y="17"/>
                  </a:cubicBezTo>
                  <a:cubicBezTo>
                    <a:pt x="574" y="17"/>
                    <a:pt x="575" y="17"/>
                    <a:pt x="575" y="17"/>
                  </a:cubicBezTo>
                  <a:close/>
                  <a:moveTo>
                    <a:pt x="1259" y="42"/>
                  </a:moveTo>
                  <a:cubicBezTo>
                    <a:pt x="1259" y="42"/>
                    <a:pt x="1259" y="42"/>
                    <a:pt x="1260" y="43"/>
                  </a:cubicBezTo>
                  <a:cubicBezTo>
                    <a:pt x="1260" y="42"/>
                    <a:pt x="1259" y="42"/>
                    <a:pt x="1259" y="42"/>
                  </a:cubicBezTo>
                  <a:close/>
                  <a:moveTo>
                    <a:pt x="1230" y="103"/>
                  </a:moveTo>
                  <a:cubicBezTo>
                    <a:pt x="1230" y="102"/>
                    <a:pt x="1229" y="102"/>
                    <a:pt x="1229" y="102"/>
                  </a:cubicBezTo>
                  <a:cubicBezTo>
                    <a:pt x="1229" y="103"/>
                    <a:pt x="1230" y="103"/>
                    <a:pt x="1230" y="103"/>
                  </a:cubicBezTo>
                  <a:close/>
                  <a:moveTo>
                    <a:pt x="1248" y="102"/>
                  </a:moveTo>
                  <a:cubicBezTo>
                    <a:pt x="1248" y="102"/>
                    <a:pt x="1247" y="102"/>
                    <a:pt x="1247" y="103"/>
                  </a:cubicBezTo>
                  <a:cubicBezTo>
                    <a:pt x="1247" y="103"/>
                    <a:pt x="1248" y="103"/>
                    <a:pt x="1248" y="102"/>
                  </a:cubicBezTo>
                  <a:close/>
                  <a:moveTo>
                    <a:pt x="1663" y="8"/>
                  </a:moveTo>
                  <a:cubicBezTo>
                    <a:pt x="1664" y="8"/>
                    <a:pt x="1664" y="8"/>
                    <a:pt x="1665" y="8"/>
                  </a:cubicBezTo>
                  <a:cubicBezTo>
                    <a:pt x="1664" y="8"/>
                    <a:pt x="1664" y="8"/>
                    <a:pt x="1663" y="8"/>
                  </a:cubicBezTo>
                  <a:close/>
                  <a:moveTo>
                    <a:pt x="991" y="17"/>
                  </a:moveTo>
                  <a:cubicBezTo>
                    <a:pt x="990" y="17"/>
                    <a:pt x="990" y="17"/>
                    <a:pt x="990" y="17"/>
                  </a:cubicBezTo>
                  <a:cubicBezTo>
                    <a:pt x="990" y="17"/>
                    <a:pt x="991" y="17"/>
                    <a:pt x="991" y="17"/>
                  </a:cubicBezTo>
                  <a:close/>
                  <a:moveTo>
                    <a:pt x="1008" y="17"/>
                  </a:moveTo>
                  <a:cubicBezTo>
                    <a:pt x="1008" y="17"/>
                    <a:pt x="1008" y="17"/>
                    <a:pt x="1007" y="17"/>
                  </a:cubicBezTo>
                  <a:cubicBezTo>
                    <a:pt x="1007" y="17"/>
                    <a:pt x="1008" y="17"/>
                    <a:pt x="1008" y="17"/>
                  </a:cubicBezTo>
                  <a:close/>
                  <a:moveTo>
                    <a:pt x="1433" y="103"/>
                  </a:moveTo>
                  <a:cubicBezTo>
                    <a:pt x="1432" y="102"/>
                    <a:pt x="1432" y="102"/>
                    <a:pt x="1431" y="102"/>
                  </a:cubicBezTo>
                  <a:cubicBezTo>
                    <a:pt x="1432" y="103"/>
                    <a:pt x="1432" y="103"/>
                    <a:pt x="1433" y="103"/>
                  </a:cubicBezTo>
                  <a:close/>
                  <a:moveTo>
                    <a:pt x="1447" y="102"/>
                  </a:moveTo>
                  <a:cubicBezTo>
                    <a:pt x="1447" y="102"/>
                    <a:pt x="1446" y="102"/>
                    <a:pt x="1446" y="103"/>
                  </a:cubicBezTo>
                  <a:cubicBezTo>
                    <a:pt x="1446" y="103"/>
                    <a:pt x="1447" y="103"/>
                    <a:pt x="1447" y="102"/>
                  </a:cubicBezTo>
                  <a:close/>
                  <a:moveTo>
                    <a:pt x="682" y="103"/>
                  </a:moveTo>
                  <a:cubicBezTo>
                    <a:pt x="682" y="103"/>
                    <a:pt x="681" y="103"/>
                    <a:pt x="681" y="103"/>
                  </a:cubicBezTo>
                  <a:cubicBezTo>
                    <a:pt x="681" y="103"/>
                    <a:pt x="682" y="103"/>
                    <a:pt x="682" y="103"/>
                  </a:cubicBezTo>
                  <a:close/>
                  <a:moveTo>
                    <a:pt x="728" y="103"/>
                  </a:moveTo>
                  <a:cubicBezTo>
                    <a:pt x="728" y="103"/>
                    <a:pt x="727" y="103"/>
                    <a:pt x="727" y="103"/>
                  </a:cubicBezTo>
                  <a:cubicBezTo>
                    <a:pt x="727" y="103"/>
                    <a:pt x="728" y="103"/>
                    <a:pt x="728" y="103"/>
                  </a:cubicBezTo>
                  <a:close/>
                  <a:moveTo>
                    <a:pt x="738" y="103"/>
                  </a:moveTo>
                  <a:cubicBezTo>
                    <a:pt x="737" y="103"/>
                    <a:pt x="737" y="103"/>
                    <a:pt x="736" y="103"/>
                  </a:cubicBezTo>
                  <a:cubicBezTo>
                    <a:pt x="737" y="103"/>
                    <a:pt x="737" y="103"/>
                    <a:pt x="738" y="103"/>
                  </a:cubicBezTo>
                  <a:close/>
                  <a:moveTo>
                    <a:pt x="1054" y="103"/>
                  </a:moveTo>
                  <a:cubicBezTo>
                    <a:pt x="1054" y="103"/>
                    <a:pt x="1053" y="103"/>
                    <a:pt x="1053" y="103"/>
                  </a:cubicBezTo>
                  <a:cubicBezTo>
                    <a:pt x="1053" y="103"/>
                    <a:pt x="1054" y="103"/>
                    <a:pt x="1054" y="103"/>
                  </a:cubicBezTo>
                  <a:close/>
                  <a:moveTo>
                    <a:pt x="961" y="24"/>
                  </a:moveTo>
                  <a:cubicBezTo>
                    <a:pt x="961" y="23"/>
                    <a:pt x="962" y="23"/>
                    <a:pt x="962" y="23"/>
                  </a:cubicBezTo>
                  <a:cubicBezTo>
                    <a:pt x="961" y="23"/>
                    <a:pt x="961" y="23"/>
                    <a:pt x="961" y="24"/>
                  </a:cubicBezTo>
                  <a:close/>
                  <a:moveTo>
                    <a:pt x="1232" y="103"/>
                  </a:moveTo>
                  <a:cubicBezTo>
                    <a:pt x="1232" y="103"/>
                    <a:pt x="1231" y="103"/>
                    <a:pt x="1230" y="103"/>
                  </a:cubicBezTo>
                  <a:cubicBezTo>
                    <a:pt x="1231" y="103"/>
                    <a:pt x="1231" y="103"/>
                    <a:pt x="1232" y="103"/>
                  </a:cubicBezTo>
                  <a:close/>
                  <a:moveTo>
                    <a:pt x="1435" y="103"/>
                  </a:moveTo>
                  <a:cubicBezTo>
                    <a:pt x="1434" y="103"/>
                    <a:pt x="1434" y="103"/>
                    <a:pt x="1433" y="103"/>
                  </a:cubicBezTo>
                  <a:cubicBezTo>
                    <a:pt x="1433" y="103"/>
                    <a:pt x="1434" y="103"/>
                    <a:pt x="1435" y="103"/>
                  </a:cubicBezTo>
                  <a:close/>
                  <a:moveTo>
                    <a:pt x="1446" y="103"/>
                  </a:moveTo>
                  <a:cubicBezTo>
                    <a:pt x="1445" y="103"/>
                    <a:pt x="1445" y="103"/>
                    <a:pt x="1444" y="103"/>
                  </a:cubicBezTo>
                  <a:cubicBezTo>
                    <a:pt x="1445" y="103"/>
                    <a:pt x="1445" y="103"/>
                    <a:pt x="1446" y="103"/>
                  </a:cubicBezTo>
                  <a:close/>
                  <a:moveTo>
                    <a:pt x="607" y="122"/>
                  </a:moveTo>
                  <a:cubicBezTo>
                    <a:pt x="607" y="122"/>
                    <a:pt x="608" y="122"/>
                    <a:pt x="608" y="121"/>
                  </a:cubicBezTo>
                  <a:cubicBezTo>
                    <a:pt x="607" y="121"/>
                    <a:pt x="607" y="122"/>
                    <a:pt x="607" y="122"/>
                  </a:cubicBezTo>
                  <a:close/>
                  <a:moveTo>
                    <a:pt x="1665" y="8"/>
                  </a:moveTo>
                  <a:cubicBezTo>
                    <a:pt x="1665" y="9"/>
                    <a:pt x="1666" y="9"/>
                    <a:pt x="1666" y="9"/>
                  </a:cubicBezTo>
                  <a:cubicBezTo>
                    <a:pt x="1666" y="8"/>
                    <a:pt x="1665" y="8"/>
                    <a:pt x="1665" y="8"/>
                  </a:cubicBezTo>
                  <a:close/>
                  <a:moveTo>
                    <a:pt x="597" y="123"/>
                  </a:moveTo>
                  <a:cubicBezTo>
                    <a:pt x="597" y="123"/>
                    <a:pt x="598" y="123"/>
                    <a:pt x="598" y="123"/>
                  </a:cubicBezTo>
                  <a:cubicBezTo>
                    <a:pt x="598" y="123"/>
                    <a:pt x="597" y="123"/>
                    <a:pt x="597" y="123"/>
                  </a:cubicBezTo>
                  <a:close/>
                  <a:moveTo>
                    <a:pt x="1411" y="36"/>
                  </a:moveTo>
                  <a:cubicBezTo>
                    <a:pt x="1411" y="35"/>
                    <a:pt x="1412" y="35"/>
                    <a:pt x="1411" y="34"/>
                  </a:cubicBezTo>
                  <a:cubicBezTo>
                    <a:pt x="1411" y="35"/>
                    <a:pt x="1411" y="35"/>
                    <a:pt x="1411" y="36"/>
                  </a:cubicBezTo>
                  <a:close/>
                  <a:moveTo>
                    <a:pt x="1469" y="34"/>
                  </a:moveTo>
                  <a:cubicBezTo>
                    <a:pt x="1469" y="35"/>
                    <a:pt x="1469" y="35"/>
                    <a:pt x="1470" y="36"/>
                  </a:cubicBezTo>
                  <a:cubicBezTo>
                    <a:pt x="1470" y="35"/>
                    <a:pt x="1470" y="35"/>
                    <a:pt x="1469" y="34"/>
                  </a:cubicBezTo>
                  <a:close/>
                  <a:moveTo>
                    <a:pt x="619" y="123"/>
                  </a:moveTo>
                  <a:cubicBezTo>
                    <a:pt x="619" y="123"/>
                    <a:pt x="619" y="124"/>
                    <a:pt x="618" y="124"/>
                  </a:cubicBezTo>
                  <a:cubicBezTo>
                    <a:pt x="619" y="124"/>
                    <a:pt x="619" y="124"/>
                    <a:pt x="619" y="123"/>
                  </a:cubicBezTo>
                  <a:close/>
                  <a:moveTo>
                    <a:pt x="618" y="125"/>
                  </a:moveTo>
                  <a:cubicBezTo>
                    <a:pt x="617" y="125"/>
                    <a:pt x="617" y="125"/>
                    <a:pt x="617" y="126"/>
                  </a:cubicBezTo>
                  <a:cubicBezTo>
                    <a:pt x="618" y="126"/>
                    <a:pt x="618" y="125"/>
                    <a:pt x="618" y="125"/>
                  </a:cubicBezTo>
                  <a:close/>
                  <a:moveTo>
                    <a:pt x="966" y="18"/>
                  </a:moveTo>
                  <a:cubicBezTo>
                    <a:pt x="967" y="18"/>
                    <a:pt x="967" y="17"/>
                    <a:pt x="967" y="17"/>
                  </a:cubicBezTo>
                  <a:cubicBezTo>
                    <a:pt x="967" y="17"/>
                    <a:pt x="966" y="17"/>
                    <a:pt x="966" y="18"/>
                  </a:cubicBezTo>
                  <a:close/>
                  <a:moveTo>
                    <a:pt x="615" y="128"/>
                  </a:moveTo>
                  <a:cubicBezTo>
                    <a:pt x="615" y="128"/>
                    <a:pt x="614" y="128"/>
                    <a:pt x="614" y="129"/>
                  </a:cubicBezTo>
                  <a:cubicBezTo>
                    <a:pt x="615" y="129"/>
                    <a:pt x="615" y="128"/>
                    <a:pt x="615" y="128"/>
                  </a:cubicBezTo>
                  <a:close/>
                  <a:moveTo>
                    <a:pt x="597" y="133"/>
                  </a:moveTo>
                  <a:cubicBezTo>
                    <a:pt x="596" y="132"/>
                    <a:pt x="596" y="132"/>
                    <a:pt x="595" y="133"/>
                  </a:cubicBezTo>
                  <a:cubicBezTo>
                    <a:pt x="596" y="133"/>
                    <a:pt x="596" y="133"/>
                    <a:pt x="597" y="133"/>
                  </a:cubicBezTo>
                  <a:close/>
                  <a:moveTo>
                    <a:pt x="759" y="39"/>
                  </a:moveTo>
                  <a:cubicBezTo>
                    <a:pt x="760" y="39"/>
                    <a:pt x="760" y="39"/>
                    <a:pt x="760" y="39"/>
                  </a:cubicBezTo>
                  <a:cubicBezTo>
                    <a:pt x="760" y="39"/>
                    <a:pt x="759" y="39"/>
                    <a:pt x="759" y="39"/>
                  </a:cubicBezTo>
                  <a:close/>
                  <a:moveTo>
                    <a:pt x="906" y="39"/>
                  </a:moveTo>
                  <a:cubicBezTo>
                    <a:pt x="906" y="39"/>
                    <a:pt x="907" y="39"/>
                    <a:pt x="907" y="40"/>
                  </a:cubicBezTo>
                  <a:cubicBezTo>
                    <a:pt x="907" y="39"/>
                    <a:pt x="907" y="39"/>
                    <a:pt x="906" y="39"/>
                  </a:cubicBezTo>
                  <a:close/>
                  <a:moveTo>
                    <a:pt x="1397" y="38"/>
                  </a:moveTo>
                  <a:cubicBezTo>
                    <a:pt x="1396" y="39"/>
                    <a:pt x="1396" y="39"/>
                    <a:pt x="1397" y="40"/>
                  </a:cubicBezTo>
                  <a:cubicBezTo>
                    <a:pt x="1397" y="39"/>
                    <a:pt x="1397" y="39"/>
                    <a:pt x="1397" y="38"/>
                  </a:cubicBezTo>
                  <a:close/>
                  <a:moveTo>
                    <a:pt x="659" y="49"/>
                  </a:moveTo>
                  <a:cubicBezTo>
                    <a:pt x="659" y="49"/>
                    <a:pt x="659" y="48"/>
                    <a:pt x="659" y="48"/>
                  </a:cubicBezTo>
                  <a:cubicBezTo>
                    <a:pt x="658" y="48"/>
                    <a:pt x="659" y="49"/>
                    <a:pt x="659" y="49"/>
                  </a:cubicBezTo>
                  <a:close/>
                  <a:moveTo>
                    <a:pt x="1149" y="39"/>
                  </a:moveTo>
                  <a:cubicBezTo>
                    <a:pt x="1149" y="39"/>
                    <a:pt x="1149" y="40"/>
                    <a:pt x="1149" y="40"/>
                  </a:cubicBezTo>
                  <a:cubicBezTo>
                    <a:pt x="1149" y="39"/>
                    <a:pt x="1149" y="39"/>
                    <a:pt x="1149" y="39"/>
                  </a:cubicBezTo>
                  <a:close/>
                  <a:moveTo>
                    <a:pt x="1581" y="39"/>
                  </a:moveTo>
                  <a:cubicBezTo>
                    <a:pt x="1581" y="39"/>
                    <a:pt x="1581" y="40"/>
                    <a:pt x="1581" y="40"/>
                  </a:cubicBezTo>
                  <a:cubicBezTo>
                    <a:pt x="1581" y="40"/>
                    <a:pt x="1581" y="39"/>
                    <a:pt x="1581" y="39"/>
                  </a:cubicBezTo>
                  <a:close/>
                  <a:moveTo>
                    <a:pt x="1749" y="39"/>
                  </a:moveTo>
                  <a:cubicBezTo>
                    <a:pt x="1749" y="39"/>
                    <a:pt x="1749" y="40"/>
                    <a:pt x="1749" y="40"/>
                  </a:cubicBezTo>
                  <a:cubicBezTo>
                    <a:pt x="1749" y="40"/>
                    <a:pt x="1749" y="39"/>
                    <a:pt x="1749" y="39"/>
                  </a:cubicBezTo>
                  <a:close/>
                  <a:moveTo>
                    <a:pt x="864" y="39"/>
                  </a:moveTo>
                  <a:cubicBezTo>
                    <a:pt x="864" y="40"/>
                    <a:pt x="865" y="40"/>
                    <a:pt x="865" y="40"/>
                  </a:cubicBezTo>
                  <a:cubicBezTo>
                    <a:pt x="865" y="40"/>
                    <a:pt x="865" y="39"/>
                    <a:pt x="864" y="39"/>
                  </a:cubicBezTo>
                  <a:close/>
                  <a:moveTo>
                    <a:pt x="1218" y="40"/>
                  </a:moveTo>
                  <a:cubicBezTo>
                    <a:pt x="1219" y="40"/>
                    <a:pt x="1219" y="40"/>
                    <a:pt x="1219" y="39"/>
                  </a:cubicBezTo>
                  <a:cubicBezTo>
                    <a:pt x="1219" y="39"/>
                    <a:pt x="1218" y="39"/>
                    <a:pt x="1218" y="40"/>
                  </a:cubicBezTo>
                  <a:close/>
                  <a:moveTo>
                    <a:pt x="1391" y="52"/>
                  </a:moveTo>
                  <a:cubicBezTo>
                    <a:pt x="1391" y="52"/>
                    <a:pt x="1390" y="52"/>
                    <a:pt x="1390" y="53"/>
                  </a:cubicBezTo>
                  <a:cubicBezTo>
                    <a:pt x="1391" y="53"/>
                    <a:pt x="1391" y="52"/>
                    <a:pt x="1391" y="52"/>
                  </a:cubicBezTo>
                  <a:close/>
                  <a:moveTo>
                    <a:pt x="1397" y="40"/>
                  </a:moveTo>
                  <a:cubicBezTo>
                    <a:pt x="1396" y="40"/>
                    <a:pt x="1396" y="41"/>
                    <a:pt x="1396" y="41"/>
                  </a:cubicBezTo>
                  <a:cubicBezTo>
                    <a:pt x="1397" y="41"/>
                    <a:pt x="1396" y="40"/>
                    <a:pt x="1397" y="40"/>
                  </a:cubicBezTo>
                  <a:close/>
                  <a:moveTo>
                    <a:pt x="831" y="41"/>
                  </a:moveTo>
                  <a:cubicBezTo>
                    <a:pt x="831" y="41"/>
                    <a:pt x="831" y="41"/>
                    <a:pt x="831" y="40"/>
                  </a:cubicBezTo>
                  <a:cubicBezTo>
                    <a:pt x="831" y="40"/>
                    <a:pt x="831" y="41"/>
                    <a:pt x="831" y="41"/>
                  </a:cubicBezTo>
                  <a:close/>
                  <a:moveTo>
                    <a:pt x="1112" y="42"/>
                  </a:moveTo>
                  <a:cubicBezTo>
                    <a:pt x="1113" y="42"/>
                    <a:pt x="1113" y="41"/>
                    <a:pt x="1113" y="41"/>
                  </a:cubicBezTo>
                  <a:cubicBezTo>
                    <a:pt x="1113" y="41"/>
                    <a:pt x="1112" y="41"/>
                    <a:pt x="1112" y="42"/>
                  </a:cubicBezTo>
                  <a:close/>
                  <a:moveTo>
                    <a:pt x="670" y="49"/>
                  </a:moveTo>
                  <a:cubicBezTo>
                    <a:pt x="670" y="49"/>
                    <a:pt x="670" y="49"/>
                    <a:pt x="670" y="50"/>
                  </a:cubicBezTo>
                  <a:cubicBezTo>
                    <a:pt x="670" y="50"/>
                    <a:pt x="670" y="49"/>
                    <a:pt x="670" y="49"/>
                  </a:cubicBezTo>
                  <a:close/>
                  <a:moveTo>
                    <a:pt x="1115" y="49"/>
                  </a:moveTo>
                  <a:cubicBezTo>
                    <a:pt x="1115" y="49"/>
                    <a:pt x="1114" y="49"/>
                    <a:pt x="1114" y="50"/>
                  </a:cubicBezTo>
                  <a:cubicBezTo>
                    <a:pt x="1115" y="49"/>
                    <a:pt x="1115" y="49"/>
                    <a:pt x="1115" y="49"/>
                  </a:cubicBezTo>
                  <a:close/>
                  <a:moveTo>
                    <a:pt x="1380" y="50"/>
                  </a:moveTo>
                  <a:cubicBezTo>
                    <a:pt x="1380" y="49"/>
                    <a:pt x="1380" y="49"/>
                    <a:pt x="1381" y="49"/>
                  </a:cubicBezTo>
                  <a:cubicBezTo>
                    <a:pt x="1380" y="49"/>
                    <a:pt x="1380" y="49"/>
                    <a:pt x="1380" y="50"/>
                  </a:cubicBezTo>
                  <a:close/>
                  <a:moveTo>
                    <a:pt x="607" y="132"/>
                  </a:moveTo>
                  <a:cubicBezTo>
                    <a:pt x="606" y="132"/>
                    <a:pt x="606" y="132"/>
                    <a:pt x="605" y="133"/>
                  </a:cubicBezTo>
                  <a:cubicBezTo>
                    <a:pt x="606" y="133"/>
                    <a:pt x="606" y="133"/>
                    <a:pt x="607" y="132"/>
                  </a:cubicBezTo>
                  <a:close/>
                  <a:moveTo>
                    <a:pt x="976" y="23"/>
                  </a:moveTo>
                  <a:cubicBezTo>
                    <a:pt x="976" y="24"/>
                    <a:pt x="975" y="24"/>
                    <a:pt x="975" y="24"/>
                  </a:cubicBezTo>
                  <a:cubicBezTo>
                    <a:pt x="976" y="24"/>
                    <a:pt x="976" y="24"/>
                    <a:pt x="976" y="23"/>
                  </a:cubicBezTo>
                  <a:close/>
                  <a:moveTo>
                    <a:pt x="553" y="42"/>
                  </a:moveTo>
                  <a:cubicBezTo>
                    <a:pt x="554" y="42"/>
                    <a:pt x="554" y="42"/>
                    <a:pt x="554" y="42"/>
                  </a:cubicBezTo>
                  <a:cubicBezTo>
                    <a:pt x="554" y="42"/>
                    <a:pt x="554" y="42"/>
                    <a:pt x="553" y="42"/>
                  </a:cubicBezTo>
                  <a:close/>
                  <a:moveTo>
                    <a:pt x="1725" y="56"/>
                  </a:moveTo>
                  <a:cubicBezTo>
                    <a:pt x="1726" y="56"/>
                    <a:pt x="1726" y="56"/>
                    <a:pt x="1726" y="56"/>
                  </a:cubicBezTo>
                  <a:cubicBezTo>
                    <a:pt x="1726" y="56"/>
                    <a:pt x="1725" y="56"/>
                    <a:pt x="1725" y="56"/>
                  </a:cubicBezTo>
                  <a:close/>
                  <a:moveTo>
                    <a:pt x="659" y="57"/>
                  </a:moveTo>
                  <a:cubicBezTo>
                    <a:pt x="659" y="57"/>
                    <a:pt x="659" y="56"/>
                    <a:pt x="659" y="56"/>
                  </a:cubicBezTo>
                  <a:cubicBezTo>
                    <a:pt x="659" y="56"/>
                    <a:pt x="658" y="57"/>
                    <a:pt x="659" y="57"/>
                  </a:cubicBezTo>
                  <a:close/>
                  <a:moveTo>
                    <a:pt x="829" y="56"/>
                  </a:moveTo>
                  <a:cubicBezTo>
                    <a:pt x="828" y="57"/>
                    <a:pt x="828" y="57"/>
                    <a:pt x="828" y="58"/>
                  </a:cubicBezTo>
                  <a:cubicBezTo>
                    <a:pt x="829" y="58"/>
                    <a:pt x="829" y="57"/>
                    <a:pt x="829" y="56"/>
                  </a:cubicBezTo>
                  <a:close/>
                  <a:moveTo>
                    <a:pt x="859" y="55"/>
                  </a:moveTo>
                  <a:cubicBezTo>
                    <a:pt x="859" y="54"/>
                    <a:pt x="859" y="54"/>
                    <a:pt x="858" y="53"/>
                  </a:cubicBezTo>
                  <a:cubicBezTo>
                    <a:pt x="858" y="54"/>
                    <a:pt x="858" y="54"/>
                    <a:pt x="859" y="55"/>
                  </a:cubicBezTo>
                  <a:close/>
                  <a:moveTo>
                    <a:pt x="1372" y="57"/>
                  </a:moveTo>
                  <a:cubicBezTo>
                    <a:pt x="1372" y="57"/>
                    <a:pt x="1372" y="57"/>
                    <a:pt x="1373" y="57"/>
                  </a:cubicBezTo>
                  <a:cubicBezTo>
                    <a:pt x="1372" y="57"/>
                    <a:pt x="1372" y="57"/>
                    <a:pt x="1372" y="57"/>
                  </a:cubicBezTo>
                  <a:close/>
                  <a:moveTo>
                    <a:pt x="578" y="58"/>
                  </a:moveTo>
                  <a:cubicBezTo>
                    <a:pt x="578" y="58"/>
                    <a:pt x="579" y="58"/>
                    <a:pt x="579" y="58"/>
                  </a:cubicBezTo>
                  <a:cubicBezTo>
                    <a:pt x="579" y="58"/>
                    <a:pt x="579" y="58"/>
                    <a:pt x="578" y="58"/>
                  </a:cubicBezTo>
                  <a:close/>
                  <a:moveTo>
                    <a:pt x="1208" y="59"/>
                  </a:moveTo>
                  <a:cubicBezTo>
                    <a:pt x="1208" y="59"/>
                    <a:pt x="1208" y="58"/>
                    <a:pt x="1208" y="58"/>
                  </a:cubicBezTo>
                  <a:cubicBezTo>
                    <a:pt x="1208" y="58"/>
                    <a:pt x="1208" y="59"/>
                    <a:pt x="1208" y="59"/>
                  </a:cubicBezTo>
                  <a:close/>
                  <a:moveTo>
                    <a:pt x="1289" y="58"/>
                  </a:moveTo>
                  <a:cubicBezTo>
                    <a:pt x="1289" y="59"/>
                    <a:pt x="1289" y="59"/>
                    <a:pt x="1289" y="60"/>
                  </a:cubicBezTo>
                  <a:cubicBezTo>
                    <a:pt x="1289" y="59"/>
                    <a:pt x="1289" y="59"/>
                    <a:pt x="1289" y="58"/>
                  </a:cubicBezTo>
                  <a:close/>
                  <a:moveTo>
                    <a:pt x="748" y="60"/>
                  </a:moveTo>
                  <a:cubicBezTo>
                    <a:pt x="748" y="60"/>
                    <a:pt x="748" y="59"/>
                    <a:pt x="748" y="59"/>
                  </a:cubicBezTo>
                  <a:cubicBezTo>
                    <a:pt x="748" y="59"/>
                    <a:pt x="748" y="60"/>
                    <a:pt x="748" y="60"/>
                  </a:cubicBezTo>
                  <a:close/>
                  <a:moveTo>
                    <a:pt x="670" y="50"/>
                  </a:moveTo>
                  <a:cubicBezTo>
                    <a:pt x="669" y="51"/>
                    <a:pt x="669" y="52"/>
                    <a:pt x="670" y="52"/>
                  </a:cubicBezTo>
                  <a:cubicBezTo>
                    <a:pt x="670" y="52"/>
                    <a:pt x="670" y="51"/>
                    <a:pt x="670" y="50"/>
                  </a:cubicBezTo>
                  <a:close/>
                  <a:moveTo>
                    <a:pt x="1737" y="59"/>
                  </a:moveTo>
                  <a:cubicBezTo>
                    <a:pt x="1736" y="59"/>
                    <a:pt x="1736" y="59"/>
                    <a:pt x="1736" y="60"/>
                  </a:cubicBezTo>
                  <a:cubicBezTo>
                    <a:pt x="1736" y="60"/>
                    <a:pt x="1736" y="60"/>
                    <a:pt x="1737" y="59"/>
                  </a:cubicBezTo>
                  <a:close/>
                  <a:moveTo>
                    <a:pt x="580" y="59"/>
                  </a:moveTo>
                  <a:cubicBezTo>
                    <a:pt x="580" y="60"/>
                    <a:pt x="581" y="60"/>
                    <a:pt x="581" y="60"/>
                  </a:cubicBezTo>
                  <a:cubicBezTo>
                    <a:pt x="581" y="60"/>
                    <a:pt x="581" y="59"/>
                    <a:pt x="580" y="59"/>
                  </a:cubicBezTo>
                  <a:close/>
                  <a:moveTo>
                    <a:pt x="1208" y="61"/>
                  </a:moveTo>
                  <a:cubicBezTo>
                    <a:pt x="1208" y="60"/>
                    <a:pt x="1208" y="60"/>
                    <a:pt x="1208" y="59"/>
                  </a:cubicBezTo>
                  <a:cubicBezTo>
                    <a:pt x="1207" y="60"/>
                    <a:pt x="1208" y="60"/>
                    <a:pt x="1208" y="61"/>
                  </a:cubicBezTo>
                  <a:close/>
                  <a:moveTo>
                    <a:pt x="1666" y="60"/>
                  </a:moveTo>
                  <a:cubicBezTo>
                    <a:pt x="1666" y="60"/>
                    <a:pt x="1667" y="61"/>
                    <a:pt x="1667" y="61"/>
                  </a:cubicBezTo>
                  <a:cubicBezTo>
                    <a:pt x="1667" y="60"/>
                    <a:pt x="1666" y="60"/>
                    <a:pt x="1666" y="60"/>
                  </a:cubicBezTo>
                  <a:close/>
                  <a:moveTo>
                    <a:pt x="1719" y="61"/>
                  </a:moveTo>
                  <a:cubicBezTo>
                    <a:pt x="1720" y="61"/>
                    <a:pt x="1720" y="60"/>
                    <a:pt x="1720" y="60"/>
                  </a:cubicBezTo>
                  <a:cubicBezTo>
                    <a:pt x="1720" y="60"/>
                    <a:pt x="1719" y="60"/>
                    <a:pt x="1719" y="61"/>
                  </a:cubicBezTo>
                  <a:close/>
                  <a:moveTo>
                    <a:pt x="1383" y="60"/>
                  </a:moveTo>
                  <a:cubicBezTo>
                    <a:pt x="1382" y="60"/>
                    <a:pt x="1382" y="61"/>
                    <a:pt x="1382" y="61"/>
                  </a:cubicBezTo>
                  <a:cubicBezTo>
                    <a:pt x="1382" y="61"/>
                    <a:pt x="1382" y="61"/>
                    <a:pt x="1383" y="60"/>
                  </a:cubicBezTo>
                  <a:close/>
                  <a:moveTo>
                    <a:pt x="1366" y="62"/>
                  </a:moveTo>
                  <a:cubicBezTo>
                    <a:pt x="1366" y="61"/>
                    <a:pt x="1367" y="61"/>
                    <a:pt x="1367" y="61"/>
                  </a:cubicBezTo>
                  <a:cubicBezTo>
                    <a:pt x="1366" y="61"/>
                    <a:pt x="1366" y="61"/>
                    <a:pt x="1366" y="62"/>
                  </a:cubicBezTo>
                  <a:close/>
                  <a:moveTo>
                    <a:pt x="1550" y="62"/>
                  </a:moveTo>
                  <a:cubicBezTo>
                    <a:pt x="1550" y="62"/>
                    <a:pt x="1550" y="62"/>
                    <a:pt x="1551" y="61"/>
                  </a:cubicBezTo>
                  <a:cubicBezTo>
                    <a:pt x="1550" y="61"/>
                    <a:pt x="1550" y="61"/>
                    <a:pt x="1550" y="62"/>
                  </a:cubicBezTo>
                  <a:close/>
                  <a:moveTo>
                    <a:pt x="1566" y="61"/>
                  </a:moveTo>
                  <a:cubicBezTo>
                    <a:pt x="1566" y="61"/>
                    <a:pt x="1565" y="61"/>
                    <a:pt x="1565" y="62"/>
                  </a:cubicBezTo>
                  <a:cubicBezTo>
                    <a:pt x="1566" y="62"/>
                    <a:pt x="1566" y="62"/>
                    <a:pt x="1566" y="61"/>
                  </a:cubicBezTo>
                  <a:close/>
                  <a:moveTo>
                    <a:pt x="1718" y="62"/>
                  </a:moveTo>
                  <a:cubicBezTo>
                    <a:pt x="1718" y="62"/>
                    <a:pt x="1719" y="62"/>
                    <a:pt x="1719" y="61"/>
                  </a:cubicBezTo>
                  <a:cubicBezTo>
                    <a:pt x="1718" y="61"/>
                    <a:pt x="1718" y="61"/>
                    <a:pt x="1718" y="62"/>
                  </a:cubicBezTo>
                  <a:close/>
                  <a:moveTo>
                    <a:pt x="1456" y="10"/>
                  </a:moveTo>
                  <a:cubicBezTo>
                    <a:pt x="1456" y="10"/>
                    <a:pt x="1456" y="10"/>
                    <a:pt x="1457" y="10"/>
                  </a:cubicBezTo>
                  <a:cubicBezTo>
                    <a:pt x="1457" y="10"/>
                    <a:pt x="1456" y="10"/>
                    <a:pt x="1456" y="10"/>
                  </a:cubicBezTo>
                  <a:close/>
                  <a:moveTo>
                    <a:pt x="1734" y="61"/>
                  </a:moveTo>
                  <a:cubicBezTo>
                    <a:pt x="1734" y="61"/>
                    <a:pt x="1733" y="61"/>
                    <a:pt x="1733" y="62"/>
                  </a:cubicBezTo>
                  <a:cubicBezTo>
                    <a:pt x="1734" y="62"/>
                    <a:pt x="1734" y="62"/>
                    <a:pt x="1734" y="61"/>
                  </a:cubicBezTo>
                  <a:close/>
                  <a:moveTo>
                    <a:pt x="1119" y="45"/>
                  </a:moveTo>
                  <a:cubicBezTo>
                    <a:pt x="1118" y="45"/>
                    <a:pt x="1118" y="45"/>
                    <a:pt x="1118" y="46"/>
                  </a:cubicBezTo>
                  <a:cubicBezTo>
                    <a:pt x="1118" y="46"/>
                    <a:pt x="1119" y="46"/>
                    <a:pt x="1119" y="45"/>
                  </a:cubicBezTo>
                  <a:close/>
                  <a:moveTo>
                    <a:pt x="1365" y="63"/>
                  </a:moveTo>
                  <a:cubicBezTo>
                    <a:pt x="1365" y="62"/>
                    <a:pt x="1365" y="62"/>
                    <a:pt x="1366" y="62"/>
                  </a:cubicBezTo>
                  <a:cubicBezTo>
                    <a:pt x="1365" y="62"/>
                    <a:pt x="1365" y="62"/>
                    <a:pt x="1365" y="63"/>
                  </a:cubicBezTo>
                  <a:close/>
                  <a:moveTo>
                    <a:pt x="583" y="62"/>
                  </a:moveTo>
                  <a:cubicBezTo>
                    <a:pt x="583" y="63"/>
                    <a:pt x="584" y="63"/>
                    <a:pt x="584" y="63"/>
                  </a:cubicBezTo>
                  <a:cubicBezTo>
                    <a:pt x="584" y="63"/>
                    <a:pt x="584" y="62"/>
                    <a:pt x="583" y="62"/>
                  </a:cubicBezTo>
                  <a:close/>
                  <a:moveTo>
                    <a:pt x="1581" y="25"/>
                  </a:moveTo>
                  <a:cubicBezTo>
                    <a:pt x="1581" y="25"/>
                    <a:pt x="1581" y="26"/>
                    <a:pt x="1581" y="26"/>
                  </a:cubicBezTo>
                  <a:cubicBezTo>
                    <a:pt x="1581" y="26"/>
                    <a:pt x="1582" y="25"/>
                    <a:pt x="1581" y="25"/>
                  </a:cubicBezTo>
                  <a:close/>
                  <a:moveTo>
                    <a:pt x="1548" y="63"/>
                  </a:moveTo>
                  <a:cubicBezTo>
                    <a:pt x="1549" y="63"/>
                    <a:pt x="1549" y="63"/>
                    <a:pt x="1549" y="62"/>
                  </a:cubicBezTo>
                  <a:cubicBezTo>
                    <a:pt x="1549" y="62"/>
                    <a:pt x="1548" y="62"/>
                    <a:pt x="1548" y="63"/>
                  </a:cubicBezTo>
                  <a:close/>
                  <a:moveTo>
                    <a:pt x="1668" y="62"/>
                  </a:moveTo>
                  <a:cubicBezTo>
                    <a:pt x="1668" y="63"/>
                    <a:pt x="1669" y="63"/>
                    <a:pt x="1669" y="63"/>
                  </a:cubicBezTo>
                  <a:cubicBezTo>
                    <a:pt x="1669" y="63"/>
                    <a:pt x="1669" y="62"/>
                    <a:pt x="1668" y="62"/>
                  </a:cubicBezTo>
                  <a:close/>
                  <a:moveTo>
                    <a:pt x="964" y="44"/>
                  </a:moveTo>
                  <a:cubicBezTo>
                    <a:pt x="963" y="44"/>
                    <a:pt x="963" y="45"/>
                    <a:pt x="963" y="45"/>
                  </a:cubicBezTo>
                  <a:cubicBezTo>
                    <a:pt x="964" y="45"/>
                    <a:pt x="964" y="44"/>
                    <a:pt x="964" y="44"/>
                  </a:cubicBezTo>
                  <a:close/>
                  <a:moveTo>
                    <a:pt x="1749" y="25"/>
                  </a:moveTo>
                  <a:cubicBezTo>
                    <a:pt x="1749" y="25"/>
                    <a:pt x="1749" y="26"/>
                    <a:pt x="1749" y="26"/>
                  </a:cubicBezTo>
                  <a:cubicBezTo>
                    <a:pt x="1749" y="26"/>
                    <a:pt x="1750" y="25"/>
                    <a:pt x="1749" y="25"/>
                  </a:cubicBezTo>
                  <a:close/>
                  <a:moveTo>
                    <a:pt x="1716" y="63"/>
                  </a:moveTo>
                  <a:cubicBezTo>
                    <a:pt x="1717" y="63"/>
                    <a:pt x="1717" y="63"/>
                    <a:pt x="1717" y="62"/>
                  </a:cubicBezTo>
                  <a:cubicBezTo>
                    <a:pt x="1717" y="62"/>
                    <a:pt x="1717" y="62"/>
                    <a:pt x="1716" y="63"/>
                  </a:cubicBezTo>
                  <a:close/>
                  <a:moveTo>
                    <a:pt x="1036" y="45"/>
                  </a:moveTo>
                  <a:cubicBezTo>
                    <a:pt x="1037" y="45"/>
                    <a:pt x="1037" y="44"/>
                    <a:pt x="1037" y="44"/>
                  </a:cubicBezTo>
                  <a:cubicBezTo>
                    <a:pt x="1036" y="44"/>
                    <a:pt x="1036" y="44"/>
                    <a:pt x="1036" y="45"/>
                  </a:cubicBezTo>
                  <a:close/>
                  <a:moveTo>
                    <a:pt x="1571" y="10"/>
                  </a:moveTo>
                  <a:cubicBezTo>
                    <a:pt x="1571" y="10"/>
                    <a:pt x="1571" y="11"/>
                    <a:pt x="1572" y="11"/>
                  </a:cubicBezTo>
                  <a:cubicBezTo>
                    <a:pt x="1572" y="10"/>
                    <a:pt x="1571" y="10"/>
                    <a:pt x="1571" y="10"/>
                  </a:cubicBezTo>
                  <a:close/>
                  <a:moveTo>
                    <a:pt x="1213" y="46"/>
                  </a:moveTo>
                  <a:cubicBezTo>
                    <a:pt x="1213" y="46"/>
                    <a:pt x="1214" y="46"/>
                    <a:pt x="1214" y="45"/>
                  </a:cubicBezTo>
                  <a:cubicBezTo>
                    <a:pt x="1213" y="45"/>
                    <a:pt x="1213" y="46"/>
                    <a:pt x="1213" y="46"/>
                  </a:cubicBezTo>
                  <a:close/>
                  <a:moveTo>
                    <a:pt x="901" y="56"/>
                  </a:moveTo>
                  <a:cubicBezTo>
                    <a:pt x="901" y="55"/>
                    <a:pt x="901" y="54"/>
                    <a:pt x="901" y="54"/>
                  </a:cubicBezTo>
                  <a:cubicBezTo>
                    <a:pt x="901" y="55"/>
                    <a:pt x="901" y="55"/>
                    <a:pt x="901" y="56"/>
                  </a:cubicBezTo>
                  <a:close/>
                  <a:moveTo>
                    <a:pt x="1363" y="64"/>
                  </a:moveTo>
                  <a:cubicBezTo>
                    <a:pt x="1364" y="64"/>
                    <a:pt x="1364" y="63"/>
                    <a:pt x="1364" y="63"/>
                  </a:cubicBezTo>
                  <a:cubicBezTo>
                    <a:pt x="1364" y="63"/>
                    <a:pt x="1363" y="63"/>
                    <a:pt x="1363" y="64"/>
                  </a:cubicBezTo>
                  <a:close/>
                  <a:moveTo>
                    <a:pt x="1381" y="19"/>
                  </a:moveTo>
                  <a:cubicBezTo>
                    <a:pt x="1380" y="18"/>
                    <a:pt x="1380" y="18"/>
                    <a:pt x="1379" y="18"/>
                  </a:cubicBezTo>
                  <a:cubicBezTo>
                    <a:pt x="1380" y="18"/>
                    <a:pt x="1380" y="19"/>
                    <a:pt x="1381" y="19"/>
                  </a:cubicBezTo>
                  <a:close/>
                  <a:moveTo>
                    <a:pt x="1547" y="64"/>
                  </a:moveTo>
                  <a:cubicBezTo>
                    <a:pt x="1547" y="64"/>
                    <a:pt x="1548" y="64"/>
                    <a:pt x="1548" y="63"/>
                  </a:cubicBezTo>
                  <a:cubicBezTo>
                    <a:pt x="1547" y="63"/>
                    <a:pt x="1547" y="63"/>
                    <a:pt x="1547" y="64"/>
                  </a:cubicBezTo>
                  <a:close/>
                  <a:moveTo>
                    <a:pt x="1715" y="64"/>
                  </a:moveTo>
                  <a:cubicBezTo>
                    <a:pt x="1715" y="64"/>
                    <a:pt x="1716" y="64"/>
                    <a:pt x="1716" y="63"/>
                  </a:cubicBezTo>
                  <a:cubicBezTo>
                    <a:pt x="1716" y="63"/>
                    <a:pt x="1715" y="63"/>
                    <a:pt x="1715" y="64"/>
                  </a:cubicBezTo>
                  <a:close/>
                  <a:moveTo>
                    <a:pt x="585" y="64"/>
                  </a:moveTo>
                  <a:cubicBezTo>
                    <a:pt x="585" y="64"/>
                    <a:pt x="585" y="65"/>
                    <a:pt x="585" y="65"/>
                  </a:cubicBezTo>
                  <a:cubicBezTo>
                    <a:pt x="585" y="64"/>
                    <a:pt x="585" y="64"/>
                    <a:pt x="585" y="64"/>
                  </a:cubicBezTo>
                  <a:close/>
                  <a:moveTo>
                    <a:pt x="805" y="54"/>
                  </a:moveTo>
                  <a:cubicBezTo>
                    <a:pt x="805" y="55"/>
                    <a:pt x="805" y="55"/>
                    <a:pt x="805" y="56"/>
                  </a:cubicBezTo>
                  <a:cubicBezTo>
                    <a:pt x="805" y="55"/>
                    <a:pt x="805" y="55"/>
                    <a:pt x="805" y="54"/>
                  </a:cubicBezTo>
                  <a:close/>
                  <a:moveTo>
                    <a:pt x="1360" y="66"/>
                  </a:moveTo>
                  <a:cubicBezTo>
                    <a:pt x="1360" y="66"/>
                    <a:pt x="1361" y="66"/>
                    <a:pt x="1361" y="65"/>
                  </a:cubicBezTo>
                  <a:cubicBezTo>
                    <a:pt x="1360" y="65"/>
                    <a:pt x="1360" y="66"/>
                    <a:pt x="1360" y="66"/>
                  </a:cubicBezTo>
                  <a:close/>
                  <a:moveTo>
                    <a:pt x="1729" y="65"/>
                  </a:moveTo>
                  <a:cubicBezTo>
                    <a:pt x="1728" y="65"/>
                    <a:pt x="1728" y="66"/>
                    <a:pt x="1728" y="66"/>
                  </a:cubicBezTo>
                  <a:cubicBezTo>
                    <a:pt x="1728" y="66"/>
                    <a:pt x="1728" y="66"/>
                    <a:pt x="1729" y="65"/>
                  </a:cubicBezTo>
                  <a:close/>
                  <a:moveTo>
                    <a:pt x="1712" y="66"/>
                  </a:moveTo>
                  <a:cubicBezTo>
                    <a:pt x="1712" y="66"/>
                    <a:pt x="1713" y="66"/>
                    <a:pt x="1713" y="66"/>
                  </a:cubicBezTo>
                  <a:cubicBezTo>
                    <a:pt x="1712" y="66"/>
                    <a:pt x="1712" y="66"/>
                    <a:pt x="1712" y="66"/>
                  </a:cubicBezTo>
                  <a:close/>
                  <a:moveTo>
                    <a:pt x="537" y="27"/>
                  </a:moveTo>
                  <a:cubicBezTo>
                    <a:pt x="537" y="26"/>
                    <a:pt x="537" y="26"/>
                    <a:pt x="537" y="25"/>
                  </a:cubicBezTo>
                  <a:cubicBezTo>
                    <a:pt x="537" y="26"/>
                    <a:pt x="537" y="26"/>
                    <a:pt x="537" y="27"/>
                  </a:cubicBezTo>
                  <a:close/>
                  <a:moveTo>
                    <a:pt x="1358" y="68"/>
                  </a:moveTo>
                  <a:cubicBezTo>
                    <a:pt x="1359" y="67"/>
                    <a:pt x="1359" y="67"/>
                    <a:pt x="1359" y="67"/>
                  </a:cubicBezTo>
                  <a:cubicBezTo>
                    <a:pt x="1359" y="67"/>
                    <a:pt x="1358" y="67"/>
                    <a:pt x="1358" y="68"/>
                  </a:cubicBezTo>
                  <a:close/>
                  <a:moveTo>
                    <a:pt x="1351" y="11"/>
                  </a:moveTo>
                  <a:cubicBezTo>
                    <a:pt x="1351" y="11"/>
                    <a:pt x="1351" y="11"/>
                    <a:pt x="1352" y="11"/>
                  </a:cubicBezTo>
                  <a:cubicBezTo>
                    <a:pt x="1351" y="11"/>
                    <a:pt x="1351" y="11"/>
                    <a:pt x="1351" y="11"/>
                  </a:cubicBezTo>
                  <a:close/>
                  <a:moveTo>
                    <a:pt x="1542" y="68"/>
                  </a:moveTo>
                  <a:cubicBezTo>
                    <a:pt x="1542" y="68"/>
                    <a:pt x="1542" y="68"/>
                    <a:pt x="1543" y="67"/>
                  </a:cubicBezTo>
                  <a:cubicBezTo>
                    <a:pt x="1542" y="67"/>
                    <a:pt x="1542" y="68"/>
                    <a:pt x="1542" y="68"/>
                  </a:cubicBezTo>
                  <a:close/>
                  <a:moveTo>
                    <a:pt x="1457" y="11"/>
                  </a:moveTo>
                  <a:cubicBezTo>
                    <a:pt x="1457" y="11"/>
                    <a:pt x="1458" y="11"/>
                    <a:pt x="1458" y="11"/>
                  </a:cubicBezTo>
                  <a:cubicBezTo>
                    <a:pt x="1458" y="11"/>
                    <a:pt x="1458" y="11"/>
                    <a:pt x="1457" y="11"/>
                  </a:cubicBezTo>
                  <a:close/>
                  <a:moveTo>
                    <a:pt x="1660" y="68"/>
                  </a:moveTo>
                  <a:cubicBezTo>
                    <a:pt x="1660" y="68"/>
                    <a:pt x="1659" y="68"/>
                    <a:pt x="1659" y="67"/>
                  </a:cubicBezTo>
                  <a:cubicBezTo>
                    <a:pt x="1659" y="68"/>
                    <a:pt x="1659" y="68"/>
                    <a:pt x="1660" y="68"/>
                  </a:cubicBezTo>
                  <a:close/>
                  <a:moveTo>
                    <a:pt x="1038" y="43"/>
                  </a:moveTo>
                  <a:cubicBezTo>
                    <a:pt x="1038" y="43"/>
                    <a:pt x="1038" y="42"/>
                    <a:pt x="1038" y="42"/>
                  </a:cubicBezTo>
                  <a:cubicBezTo>
                    <a:pt x="1038" y="42"/>
                    <a:pt x="1038" y="43"/>
                    <a:pt x="1038" y="43"/>
                  </a:cubicBezTo>
                  <a:close/>
                  <a:moveTo>
                    <a:pt x="952" y="69"/>
                  </a:moveTo>
                  <a:cubicBezTo>
                    <a:pt x="952" y="69"/>
                    <a:pt x="952" y="68"/>
                    <a:pt x="952" y="68"/>
                  </a:cubicBezTo>
                  <a:cubicBezTo>
                    <a:pt x="952" y="68"/>
                    <a:pt x="951" y="69"/>
                    <a:pt x="952" y="69"/>
                  </a:cubicBezTo>
                  <a:close/>
                  <a:moveTo>
                    <a:pt x="1373" y="68"/>
                  </a:moveTo>
                  <a:cubicBezTo>
                    <a:pt x="1372" y="68"/>
                    <a:pt x="1372" y="68"/>
                    <a:pt x="1372" y="68"/>
                  </a:cubicBezTo>
                  <a:cubicBezTo>
                    <a:pt x="1372" y="68"/>
                    <a:pt x="1373" y="68"/>
                    <a:pt x="1373" y="68"/>
                  </a:cubicBezTo>
                  <a:close/>
                  <a:moveTo>
                    <a:pt x="1557" y="68"/>
                  </a:moveTo>
                  <a:cubicBezTo>
                    <a:pt x="1556" y="68"/>
                    <a:pt x="1556" y="68"/>
                    <a:pt x="1556" y="69"/>
                  </a:cubicBezTo>
                  <a:cubicBezTo>
                    <a:pt x="1556" y="69"/>
                    <a:pt x="1556" y="69"/>
                    <a:pt x="1557" y="68"/>
                  </a:cubicBezTo>
                  <a:close/>
                  <a:moveTo>
                    <a:pt x="1356" y="69"/>
                  </a:moveTo>
                  <a:cubicBezTo>
                    <a:pt x="1357" y="69"/>
                    <a:pt x="1357" y="69"/>
                    <a:pt x="1357" y="68"/>
                  </a:cubicBezTo>
                  <a:cubicBezTo>
                    <a:pt x="1357" y="68"/>
                    <a:pt x="1356" y="69"/>
                    <a:pt x="1356" y="69"/>
                  </a:cubicBezTo>
                  <a:close/>
                  <a:moveTo>
                    <a:pt x="1423" y="12"/>
                  </a:moveTo>
                  <a:cubicBezTo>
                    <a:pt x="1424" y="12"/>
                    <a:pt x="1424" y="11"/>
                    <a:pt x="1424" y="11"/>
                  </a:cubicBezTo>
                  <a:cubicBezTo>
                    <a:pt x="1424" y="11"/>
                    <a:pt x="1423" y="11"/>
                    <a:pt x="1423" y="12"/>
                  </a:cubicBezTo>
                  <a:close/>
                  <a:moveTo>
                    <a:pt x="692" y="69"/>
                  </a:moveTo>
                  <a:cubicBezTo>
                    <a:pt x="692" y="69"/>
                    <a:pt x="693" y="69"/>
                    <a:pt x="693" y="70"/>
                  </a:cubicBezTo>
                  <a:cubicBezTo>
                    <a:pt x="693" y="69"/>
                    <a:pt x="692" y="69"/>
                    <a:pt x="692" y="69"/>
                  </a:cubicBezTo>
                  <a:close/>
                  <a:moveTo>
                    <a:pt x="1540" y="70"/>
                  </a:moveTo>
                  <a:cubicBezTo>
                    <a:pt x="1540" y="70"/>
                    <a:pt x="1540" y="70"/>
                    <a:pt x="1541" y="69"/>
                  </a:cubicBezTo>
                  <a:cubicBezTo>
                    <a:pt x="1540" y="69"/>
                    <a:pt x="1540" y="69"/>
                    <a:pt x="1540" y="70"/>
                  </a:cubicBezTo>
                  <a:close/>
                  <a:moveTo>
                    <a:pt x="1708" y="70"/>
                  </a:moveTo>
                  <a:cubicBezTo>
                    <a:pt x="1708" y="70"/>
                    <a:pt x="1709" y="70"/>
                    <a:pt x="1709" y="69"/>
                  </a:cubicBezTo>
                  <a:cubicBezTo>
                    <a:pt x="1708" y="69"/>
                    <a:pt x="1708" y="69"/>
                    <a:pt x="1708" y="70"/>
                  </a:cubicBezTo>
                  <a:close/>
                  <a:moveTo>
                    <a:pt x="1367" y="72"/>
                  </a:moveTo>
                  <a:cubicBezTo>
                    <a:pt x="1367" y="72"/>
                    <a:pt x="1366" y="72"/>
                    <a:pt x="1366" y="73"/>
                  </a:cubicBezTo>
                  <a:cubicBezTo>
                    <a:pt x="1367" y="73"/>
                    <a:pt x="1367" y="72"/>
                    <a:pt x="1367" y="72"/>
                  </a:cubicBezTo>
                  <a:close/>
                  <a:moveTo>
                    <a:pt x="868" y="45"/>
                  </a:moveTo>
                  <a:cubicBezTo>
                    <a:pt x="868" y="46"/>
                    <a:pt x="868" y="46"/>
                    <a:pt x="868" y="46"/>
                  </a:cubicBezTo>
                  <a:cubicBezTo>
                    <a:pt x="868" y="46"/>
                    <a:pt x="868" y="46"/>
                    <a:pt x="869" y="46"/>
                  </a:cubicBezTo>
                  <a:cubicBezTo>
                    <a:pt x="868" y="45"/>
                    <a:pt x="868" y="45"/>
                    <a:pt x="868" y="45"/>
                  </a:cubicBezTo>
                  <a:close/>
                  <a:moveTo>
                    <a:pt x="1740" y="11"/>
                  </a:moveTo>
                  <a:cubicBezTo>
                    <a:pt x="1741" y="11"/>
                    <a:pt x="1741" y="12"/>
                    <a:pt x="1741" y="12"/>
                  </a:cubicBezTo>
                  <a:cubicBezTo>
                    <a:pt x="1741" y="11"/>
                    <a:pt x="1741" y="11"/>
                    <a:pt x="1740" y="11"/>
                  </a:cubicBezTo>
                  <a:close/>
                  <a:moveTo>
                    <a:pt x="912" y="50"/>
                  </a:moveTo>
                  <a:cubicBezTo>
                    <a:pt x="912" y="50"/>
                    <a:pt x="912" y="51"/>
                    <a:pt x="912" y="51"/>
                  </a:cubicBezTo>
                  <a:cubicBezTo>
                    <a:pt x="912" y="51"/>
                    <a:pt x="912" y="50"/>
                    <a:pt x="912" y="50"/>
                  </a:cubicBezTo>
                  <a:close/>
                  <a:moveTo>
                    <a:pt x="1551" y="72"/>
                  </a:moveTo>
                  <a:cubicBezTo>
                    <a:pt x="1551" y="72"/>
                    <a:pt x="1550" y="73"/>
                    <a:pt x="1550" y="73"/>
                  </a:cubicBezTo>
                  <a:cubicBezTo>
                    <a:pt x="1551" y="73"/>
                    <a:pt x="1551" y="73"/>
                    <a:pt x="1551" y="72"/>
                  </a:cubicBezTo>
                  <a:close/>
                  <a:moveTo>
                    <a:pt x="1389" y="11"/>
                  </a:moveTo>
                  <a:cubicBezTo>
                    <a:pt x="1389" y="12"/>
                    <a:pt x="1389" y="12"/>
                    <a:pt x="1389" y="12"/>
                  </a:cubicBezTo>
                  <a:cubicBezTo>
                    <a:pt x="1389" y="12"/>
                    <a:pt x="1389" y="11"/>
                    <a:pt x="1389" y="11"/>
                  </a:cubicBezTo>
                  <a:close/>
                  <a:moveTo>
                    <a:pt x="1719" y="72"/>
                  </a:moveTo>
                  <a:cubicBezTo>
                    <a:pt x="1719" y="72"/>
                    <a:pt x="1718" y="73"/>
                    <a:pt x="1718" y="73"/>
                  </a:cubicBezTo>
                  <a:cubicBezTo>
                    <a:pt x="1719" y="73"/>
                    <a:pt x="1719" y="73"/>
                    <a:pt x="1719" y="72"/>
                  </a:cubicBezTo>
                  <a:close/>
                  <a:moveTo>
                    <a:pt x="1296" y="36"/>
                  </a:moveTo>
                  <a:cubicBezTo>
                    <a:pt x="1296" y="36"/>
                    <a:pt x="1296" y="36"/>
                    <a:pt x="1297" y="36"/>
                  </a:cubicBezTo>
                  <a:cubicBezTo>
                    <a:pt x="1296" y="36"/>
                    <a:pt x="1296" y="36"/>
                    <a:pt x="1296" y="36"/>
                  </a:cubicBezTo>
                  <a:close/>
                  <a:moveTo>
                    <a:pt x="1469" y="73"/>
                  </a:moveTo>
                  <a:cubicBezTo>
                    <a:pt x="1469" y="73"/>
                    <a:pt x="1469" y="74"/>
                    <a:pt x="1469" y="74"/>
                  </a:cubicBezTo>
                  <a:cubicBezTo>
                    <a:pt x="1469" y="74"/>
                    <a:pt x="1469" y="73"/>
                    <a:pt x="1469" y="73"/>
                  </a:cubicBezTo>
                  <a:close/>
                  <a:moveTo>
                    <a:pt x="963" y="45"/>
                  </a:moveTo>
                  <a:cubicBezTo>
                    <a:pt x="963" y="46"/>
                    <a:pt x="963" y="46"/>
                    <a:pt x="963" y="47"/>
                  </a:cubicBezTo>
                  <a:cubicBezTo>
                    <a:pt x="964" y="46"/>
                    <a:pt x="963" y="46"/>
                    <a:pt x="963" y="45"/>
                  </a:cubicBezTo>
                  <a:close/>
                  <a:moveTo>
                    <a:pt x="687" y="43"/>
                  </a:moveTo>
                  <a:cubicBezTo>
                    <a:pt x="687" y="42"/>
                    <a:pt x="686" y="42"/>
                    <a:pt x="686" y="42"/>
                  </a:cubicBezTo>
                  <a:cubicBezTo>
                    <a:pt x="686" y="43"/>
                    <a:pt x="687" y="43"/>
                    <a:pt x="687" y="43"/>
                  </a:cubicBezTo>
                  <a:close/>
                  <a:moveTo>
                    <a:pt x="545" y="12"/>
                  </a:moveTo>
                  <a:cubicBezTo>
                    <a:pt x="546" y="12"/>
                    <a:pt x="546" y="12"/>
                    <a:pt x="546" y="12"/>
                  </a:cubicBezTo>
                  <a:cubicBezTo>
                    <a:pt x="546" y="12"/>
                    <a:pt x="546" y="12"/>
                    <a:pt x="545" y="12"/>
                  </a:cubicBezTo>
                  <a:close/>
                  <a:moveTo>
                    <a:pt x="1549" y="74"/>
                  </a:moveTo>
                  <a:cubicBezTo>
                    <a:pt x="1549" y="74"/>
                    <a:pt x="1549" y="74"/>
                    <a:pt x="1548" y="74"/>
                  </a:cubicBezTo>
                  <a:cubicBezTo>
                    <a:pt x="1549" y="74"/>
                    <a:pt x="1549" y="74"/>
                    <a:pt x="1549" y="74"/>
                  </a:cubicBezTo>
                  <a:close/>
                  <a:moveTo>
                    <a:pt x="1411" y="75"/>
                  </a:moveTo>
                  <a:cubicBezTo>
                    <a:pt x="1411" y="75"/>
                    <a:pt x="1411" y="74"/>
                    <a:pt x="1411" y="74"/>
                  </a:cubicBezTo>
                  <a:cubicBezTo>
                    <a:pt x="1411" y="74"/>
                    <a:pt x="1411" y="75"/>
                    <a:pt x="1411" y="75"/>
                  </a:cubicBezTo>
                  <a:close/>
                  <a:moveTo>
                    <a:pt x="1364" y="75"/>
                  </a:moveTo>
                  <a:cubicBezTo>
                    <a:pt x="1363" y="75"/>
                    <a:pt x="1363" y="75"/>
                    <a:pt x="1363" y="75"/>
                  </a:cubicBezTo>
                  <a:cubicBezTo>
                    <a:pt x="1363" y="75"/>
                    <a:pt x="1364" y="75"/>
                    <a:pt x="1364" y="75"/>
                  </a:cubicBezTo>
                  <a:close/>
                  <a:moveTo>
                    <a:pt x="835" y="37"/>
                  </a:moveTo>
                  <a:cubicBezTo>
                    <a:pt x="836" y="37"/>
                    <a:pt x="836" y="36"/>
                    <a:pt x="836" y="36"/>
                  </a:cubicBezTo>
                  <a:cubicBezTo>
                    <a:pt x="836" y="36"/>
                    <a:pt x="835" y="36"/>
                    <a:pt x="835" y="37"/>
                  </a:cubicBezTo>
                  <a:close/>
                  <a:moveTo>
                    <a:pt x="1534" y="76"/>
                  </a:moveTo>
                  <a:cubicBezTo>
                    <a:pt x="1534" y="76"/>
                    <a:pt x="1534" y="76"/>
                    <a:pt x="1534" y="75"/>
                  </a:cubicBezTo>
                  <a:cubicBezTo>
                    <a:pt x="1534" y="75"/>
                    <a:pt x="1534" y="76"/>
                    <a:pt x="1534" y="76"/>
                  </a:cubicBezTo>
                  <a:close/>
                  <a:moveTo>
                    <a:pt x="972" y="27"/>
                  </a:moveTo>
                  <a:cubicBezTo>
                    <a:pt x="972" y="27"/>
                    <a:pt x="972" y="28"/>
                    <a:pt x="971" y="28"/>
                  </a:cubicBezTo>
                  <a:cubicBezTo>
                    <a:pt x="972" y="28"/>
                    <a:pt x="972" y="28"/>
                    <a:pt x="972" y="27"/>
                  </a:cubicBezTo>
                  <a:close/>
                  <a:moveTo>
                    <a:pt x="876" y="37"/>
                  </a:moveTo>
                  <a:cubicBezTo>
                    <a:pt x="877" y="37"/>
                    <a:pt x="877" y="36"/>
                    <a:pt x="877" y="36"/>
                  </a:cubicBezTo>
                  <a:cubicBezTo>
                    <a:pt x="877" y="36"/>
                    <a:pt x="876" y="36"/>
                    <a:pt x="876" y="37"/>
                  </a:cubicBezTo>
                  <a:close/>
                  <a:moveTo>
                    <a:pt x="1702" y="76"/>
                  </a:moveTo>
                  <a:cubicBezTo>
                    <a:pt x="1702" y="76"/>
                    <a:pt x="1702" y="76"/>
                    <a:pt x="1703" y="75"/>
                  </a:cubicBezTo>
                  <a:cubicBezTo>
                    <a:pt x="1702" y="75"/>
                    <a:pt x="1702" y="76"/>
                    <a:pt x="1702" y="76"/>
                  </a:cubicBezTo>
                  <a:close/>
                  <a:moveTo>
                    <a:pt x="1411" y="77"/>
                  </a:moveTo>
                  <a:cubicBezTo>
                    <a:pt x="1412" y="77"/>
                    <a:pt x="1412" y="76"/>
                    <a:pt x="1411" y="76"/>
                  </a:cubicBezTo>
                  <a:cubicBezTo>
                    <a:pt x="1411" y="76"/>
                    <a:pt x="1411" y="77"/>
                    <a:pt x="1411" y="77"/>
                  </a:cubicBezTo>
                  <a:close/>
                  <a:moveTo>
                    <a:pt x="1570" y="28"/>
                  </a:moveTo>
                  <a:cubicBezTo>
                    <a:pt x="1570" y="28"/>
                    <a:pt x="1570" y="27"/>
                    <a:pt x="1570" y="27"/>
                  </a:cubicBezTo>
                  <a:cubicBezTo>
                    <a:pt x="1570" y="27"/>
                    <a:pt x="1570" y="28"/>
                    <a:pt x="1570" y="28"/>
                  </a:cubicBezTo>
                  <a:close/>
                  <a:moveTo>
                    <a:pt x="1738" y="28"/>
                  </a:moveTo>
                  <a:cubicBezTo>
                    <a:pt x="1738" y="28"/>
                    <a:pt x="1738" y="27"/>
                    <a:pt x="1738" y="27"/>
                  </a:cubicBezTo>
                  <a:cubicBezTo>
                    <a:pt x="1738" y="27"/>
                    <a:pt x="1738" y="28"/>
                    <a:pt x="1738" y="28"/>
                  </a:cubicBezTo>
                  <a:close/>
                  <a:moveTo>
                    <a:pt x="1041" y="76"/>
                  </a:moveTo>
                  <a:cubicBezTo>
                    <a:pt x="1041" y="77"/>
                    <a:pt x="1041" y="77"/>
                    <a:pt x="1041" y="78"/>
                  </a:cubicBezTo>
                  <a:cubicBezTo>
                    <a:pt x="1041" y="77"/>
                    <a:pt x="1042" y="77"/>
                    <a:pt x="1041" y="76"/>
                  </a:cubicBezTo>
                  <a:close/>
                  <a:moveTo>
                    <a:pt x="1111" y="43"/>
                  </a:moveTo>
                  <a:cubicBezTo>
                    <a:pt x="1112" y="43"/>
                    <a:pt x="1112" y="43"/>
                    <a:pt x="1112" y="42"/>
                  </a:cubicBezTo>
                  <a:cubicBezTo>
                    <a:pt x="1112" y="43"/>
                    <a:pt x="1111" y="43"/>
                    <a:pt x="1111" y="43"/>
                  </a:cubicBezTo>
                  <a:close/>
                  <a:moveTo>
                    <a:pt x="1219" y="77"/>
                  </a:moveTo>
                  <a:cubicBezTo>
                    <a:pt x="1219" y="77"/>
                    <a:pt x="1219" y="78"/>
                    <a:pt x="1219" y="78"/>
                  </a:cubicBezTo>
                  <a:cubicBezTo>
                    <a:pt x="1219" y="78"/>
                    <a:pt x="1219" y="77"/>
                    <a:pt x="1219" y="77"/>
                  </a:cubicBezTo>
                  <a:close/>
                  <a:moveTo>
                    <a:pt x="1412" y="79"/>
                  </a:moveTo>
                  <a:cubicBezTo>
                    <a:pt x="1412" y="78"/>
                    <a:pt x="1412" y="78"/>
                    <a:pt x="1411" y="77"/>
                  </a:cubicBezTo>
                  <a:cubicBezTo>
                    <a:pt x="1412" y="78"/>
                    <a:pt x="1411" y="78"/>
                    <a:pt x="1412" y="79"/>
                  </a:cubicBezTo>
                  <a:close/>
                  <a:moveTo>
                    <a:pt x="686" y="78"/>
                  </a:moveTo>
                  <a:cubicBezTo>
                    <a:pt x="685" y="78"/>
                    <a:pt x="685" y="78"/>
                    <a:pt x="685" y="77"/>
                  </a:cubicBezTo>
                  <a:cubicBezTo>
                    <a:pt x="685" y="78"/>
                    <a:pt x="685" y="78"/>
                    <a:pt x="686" y="78"/>
                  </a:cubicBezTo>
                  <a:close/>
                  <a:moveTo>
                    <a:pt x="1134" y="43"/>
                  </a:moveTo>
                  <a:cubicBezTo>
                    <a:pt x="1133" y="42"/>
                    <a:pt x="1133" y="42"/>
                    <a:pt x="1132" y="42"/>
                  </a:cubicBezTo>
                  <a:cubicBezTo>
                    <a:pt x="1133" y="43"/>
                    <a:pt x="1133" y="43"/>
                    <a:pt x="1134" y="43"/>
                  </a:cubicBezTo>
                  <a:close/>
                  <a:moveTo>
                    <a:pt x="748" y="79"/>
                  </a:moveTo>
                  <a:cubicBezTo>
                    <a:pt x="748" y="78"/>
                    <a:pt x="748" y="78"/>
                    <a:pt x="748" y="77"/>
                  </a:cubicBezTo>
                  <a:cubicBezTo>
                    <a:pt x="748" y="78"/>
                    <a:pt x="747" y="78"/>
                    <a:pt x="748" y="79"/>
                  </a:cubicBezTo>
                  <a:close/>
                  <a:moveTo>
                    <a:pt x="1030" y="80"/>
                  </a:moveTo>
                  <a:cubicBezTo>
                    <a:pt x="1030" y="79"/>
                    <a:pt x="1030" y="79"/>
                    <a:pt x="1030" y="78"/>
                  </a:cubicBezTo>
                  <a:cubicBezTo>
                    <a:pt x="1030" y="79"/>
                    <a:pt x="1030" y="79"/>
                    <a:pt x="1030" y="80"/>
                  </a:cubicBezTo>
                  <a:close/>
                  <a:moveTo>
                    <a:pt x="1215" y="43"/>
                  </a:moveTo>
                  <a:cubicBezTo>
                    <a:pt x="1216" y="43"/>
                    <a:pt x="1216" y="43"/>
                    <a:pt x="1216" y="42"/>
                  </a:cubicBezTo>
                  <a:cubicBezTo>
                    <a:pt x="1215" y="42"/>
                    <a:pt x="1215" y="43"/>
                    <a:pt x="1215" y="43"/>
                  </a:cubicBezTo>
                  <a:close/>
                  <a:moveTo>
                    <a:pt x="1411" y="38"/>
                  </a:moveTo>
                  <a:cubicBezTo>
                    <a:pt x="1411" y="37"/>
                    <a:pt x="1411" y="37"/>
                    <a:pt x="1411" y="36"/>
                  </a:cubicBezTo>
                  <a:cubicBezTo>
                    <a:pt x="1411" y="36"/>
                    <a:pt x="1411" y="37"/>
                    <a:pt x="1411" y="38"/>
                  </a:cubicBezTo>
                  <a:close/>
                  <a:moveTo>
                    <a:pt x="1208" y="80"/>
                  </a:moveTo>
                  <a:cubicBezTo>
                    <a:pt x="1208" y="79"/>
                    <a:pt x="1208" y="79"/>
                    <a:pt x="1208" y="78"/>
                  </a:cubicBezTo>
                  <a:cubicBezTo>
                    <a:pt x="1208" y="79"/>
                    <a:pt x="1208" y="80"/>
                    <a:pt x="1208" y="80"/>
                  </a:cubicBezTo>
                  <a:close/>
                  <a:moveTo>
                    <a:pt x="1543" y="79"/>
                  </a:moveTo>
                  <a:cubicBezTo>
                    <a:pt x="1543" y="79"/>
                    <a:pt x="1542" y="80"/>
                    <a:pt x="1542" y="80"/>
                  </a:cubicBezTo>
                  <a:cubicBezTo>
                    <a:pt x="1543" y="80"/>
                    <a:pt x="1543" y="80"/>
                    <a:pt x="1543" y="79"/>
                  </a:cubicBezTo>
                  <a:close/>
                  <a:moveTo>
                    <a:pt x="1711" y="79"/>
                  </a:moveTo>
                  <a:cubicBezTo>
                    <a:pt x="1711" y="79"/>
                    <a:pt x="1711" y="80"/>
                    <a:pt x="1710" y="80"/>
                  </a:cubicBezTo>
                  <a:cubicBezTo>
                    <a:pt x="1711" y="80"/>
                    <a:pt x="1711" y="80"/>
                    <a:pt x="1711" y="79"/>
                  </a:cubicBezTo>
                  <a:close/>
                  <a:moveTo>
                    <a:pt x="971" y="29"/>
                  </a:moveTo>
                  <a:cubicBezTo>
                    <a:pt x="970" y="29"/>
                    <a:pt x="970" y="29"/>
                    <a:pt x="970" y="30"/>
                  </a:cubicBezTo>
                  <a:cubicBezTo>
                    <a:pt x="971" y="30"/>
                    <a:pt x="971" y="29"/>
                    <a:pt x="971" y="29"/>
                  </a:cubicBezTo>
                  <a:close/>
                  <a:moveTo>
                    <a:pt x="1087" y="55"/>
                  </a:moveTo>
                  <a:cubicBezTo>
                    <a:pt x="1087" y="56"/>
                    <a:pt x="1087" y="56"/>
                    <a:pt x="1087" y="57"/>
                  </a:cubicBezTo>
                  <a:cubicBezTo>
                    <a:pt x="1087" y="56"/>
                    <a:pt x="1088" y="56"/>
                    <a:pt x="1087" y="55"/>
                  </a:cubicBezTo>
                  <a:close/>
                  <a:moveTo>
                    <a:pt x="970" y="81"/>
                  </a:moveTo>
                  <a:cubicBezTo>
                    <a:pt x="971" y="81"/>
                    <a:pt x="971" y="82"/>
                    <a:pt x="971" y="82"/>
                  </a:cubicBezTo>
                  <a:cubicBezTo>
                    <a:pt x="971" y="81"/>
                    <a:pt x="971" y="81"/>
                    <a:pt x="970" y="81"/>
                  </a:cubicBezTo>
                  <a:close/>
                  <a:moveTo>
                    <a:pt x="589" y="83"/>
                  </a:moveTo>
                  <a:cubicBezTo>
                    <a:pt x="589" y="83"/>
                    <a:pt x="589" y="84"/>
                    <a:pt x="589" y="84"/>
                  </a:cubicBezTo>
                  <a:cubicBezTo>
                    <a:pt x="589" y="84"/>
                    <a:pt x="589" y="83"/>
                    <a:pt x="589" y="83"/>
                  </a:cubicBezTo>
                  <a:close/>
                  <a:moveTo>
                    <a:pt x="975" y="85"/>
                  </a:moveTo>
                  <a:cubicBezTo>
                    <a:pt x="975" y="86"/>
                    <a:pt x="975" y="86"/>
                    <a:pt x="976" y="86"/>
                  </a:cubicBezTo>
                  <a:cubicBezTo>
                    <a:pt x="976" y="86"/>
                    <a:pt x="975" y="86"/>
                    <a:pt x="975" y="85"/>
                  </a:cubicBezTo>
                  <a:close/>
                  <a:moveTo>
                    <a:pt x="1675" y="12"/>
                  </a:moveTo>
                  <a:cubicBezTo>
                    <a:pt x="1675" y="13"/>
                    <a:pt x="1675" y="13"/>
                    <a:pt x="1676" y="13"/>
                  </a:cubicBezTo>
                  <a:cubicBezTo>
                    <a:pt x="1676" y="13"/>
                    <a:pt x="1675" y="12"/>
                    <a:pt x="1675" y="12"/>
                  </a:cubicBezTo>
                  <a:close/>
                  <a:moveTo>
                    <a:pt x="1223" y="86"/>
                  </a:moveTo>
                  <a:cubicBezTo>
                    <a:pt x="1223" y="86"/>
                    <a:pt x="1223" y="87"/>
                    <a:pt x="1224" y="87"/>
                  </a:cubicBezTo>
                  <a:cubicBezTo>
                    <a:pt x="1224" y="86"/>
                    <a:pt x="1223" y="86"/>
                    <a:pt x="1223" y="86"/>
                  </a:cubicBezTo>
                  <a:close/>
                  <a:moveTo>
                    <a:pt x="718" y="97"/>
                  </a:moveTo>
                  <a:cubicBezTo>
                    <a:pt x="718" y="97"/>
                    <a:pt x="718" y="97"/>
                    <a:pt x="717" y="96"/>
                  </a:cubicBezTo>
                  <a:cubicBezTo>
                    <a:pt x="717" y="97"/>
                    <a:pt x="718" y="97"/>
                    <a:pt x="718" y="97"/>
                  </a:cubicBezTo>
                  <a:close/>
                  <a:moveTo>
                    <a:pt x="1143" y="55"/>
                  </a:moveTo>
                  <a:cubicBezTo>
                    <a:pt x="1143" y="55"/>
                    <a:pt x="1143" y="54"/>
                    <a:pt x="1143" y="54"/>
                  </a:cubicBezTo>
                  <a:cubicBezTo>
                    <a:pt x="1143" y="54"/>
                    <a:pt x="1143" y="55"/>
                    <a:pt x="1143" y="55"/>
                  </a:cubicBezTo>
                  <a:close/>
                  <a:moveTo>
                    <a:pt x="880" y="44"/>
                  </a:moveTo>
                  <a:cubicBezTo>
                    <a:pt x="879" y="44"/>
                    <a:pt x="879" y="44"/>
                    <a:pt x="879" y="45"/>
                  </a:cubicBezTo>
                  <a:cubicBezTo>
                    <a:pt x="879" y="45"/>
                    <a:pt x="879" y="45"/>
                    <a:pt x="880" y="44"/>
                  </a:cubicBezTo>
                  <a:close/>
                  <a:moveTo>
                    <a:pt x="1348" y="14"/>
                  </a:moveTo>
                  <a:cubicBezTo>
                    <a:pt x="1348" y="13"/>
                    <a:pt x="1349" y="13"/>
                    <a:pt x="1349" y="13"/>
                  </a:cubicBezTo>
                  <a:cubicBezTo>
                    <a:pt x="1348" y="13"/>
                    <a:pt x="1348" y="13"/>
                    <a:pt x="1348" y="14"/>
                  </a:cubicBezTo>
                  <a:close/>
                  <a:moveTo>
                    <a:pt x="1344" y="88"/>
                  </a:moveTo>
                  <a:cubicBezTo>
                    <a:pt x="1344" y="88"/>
                    <a:pt x="1344" y="87"/>
                    <a:pt x="1344" y="87"/>
                  </a:cubicBezTo>
                  <a:cubicBezTo>
                    <a:pt x="1343" y="87"/>
                    <a:pt x="1344" y="87"/>
                    <a:pt x="1344" y="88"/>
                  </a:cubicBezTo>
                  <a:close/>
                  <a:moveTo>
                    <a:pt x="658" y="88"/>
                  </a:moveTo>
                  <a:cubicBezTo>
                    <a:pt x="659" y="88"/>
                    <a:pt x="659" y="88"/>
                    <a:pt x="659" y="88"/>
                  </a:cubicBezTo>
                  <a:cubicBezTo>
                    <a:pt x="659" y="88"/>
                    <a:pt x="659" y="87"/>
                    <a:pt x="658" y="88"/>
                  </a:cubicBezTo>
                  <a:close/>
                  <a:moveTo>
                    <a:pt x="1355" y="87"/>
                  </a:moveTo>
                  <a:cubicBezTo>
                    <a:pt x="1354" y="88"/>
                    <a:pt x="1354" y="88"/>
                    <a:pt x="1354" y="89"/>
                  </a:cubicBezTo>
                  <a:cubicBezTo>
                    <a:pt x="1355" y="88"/>
                    <a:pt x="1355" y="88"/>
                    <a:pt x="1355" y="87"/>
                  </a:cubicBezTo>
                  <a:close/>
                  <a:moveTo>
                    <a:pt x="1557" y="56"/>
                  </a:moveTo>
                  <a:cubicBezTo>
                    <a:pt x="1557" y="56"/>
                    <a:pt x="1558" y="56"/>
                    <a:pt x="1558" y="56"/>
                  </a:cubicBezTo>
                  <a:cubicBezTo>
                    <a:pt x="1558" y="56"/>
                    <a:pt x="1557" y="56"/>
                    <a:pt x="1557" y="56"/>
                  </a:cubicBezTo>
                  <a:close/>
                  <a:moveTo>
                    <a:pt x="660" y="88"/>
                  </a:moveTo>
                  <a:cubicBezTo>
                    <a:pt x="660" y="89"/>
                    <a:pt x="660" y="89"/>
                    <a:pt x="661" y="89"/>
                  </a:cubicBezTo>
                  <a:cubicBezTo>
                    <a:pt x="660" y="89"/>
                    <a:pt x="660" y="88"/>
                    <a:pt x="660" y="88"/>
                  </a:cubicBezTo>
                  <a:close/>
                  <a:moveTo>
                    <a:pt x="962" y="89"/>
                  </a:moveTo>
                  <a:cubicBezTo>
                    <a:pt x="962" y="89"/>
                    <a:pt x="961" y="89"/>
                    <a:pt x="961" y="88"/>
                  </a:cubicBezTo>
                  <a:cubicBezTo>
                    <a:pt x="961" y="89"/>
                    <a:pt x="961" y="89"/>
                    <a:pt x="962" y="89"/>
                  </a:cubicBezTo>
                  <a:close/>
                  <a:moveTo>
                    <a:pt x="1343" y="90"/>
                  </a:moveTo>
                  <a:cubicBezTo>
                    <a:pt x="1344" y="89"/>
                    <a:pt x="1344" y="89"/>
                    <a:pt x="1344" y="88"/>
                  </a:cubicBezTo>
                  <a:cubicBezTo>
                    <a:pt x="1343" y="89"/>
                    <a:pt x="1343" y="89"/>
                    <a:pt x="1343" y="90"/>
                  </a:cubicBezTo>
                  <a:close/>
                  <a:moveTo>
                    <a:pt x="1570" y="38"/>
                  </a:moveTo>
                  <a:cubicBezTo>
                    <a:pt x="1570" y="37"/>
                    <a:pt x="1570" y="37"/>
                    <a:pt x="1570" y="36"/>
                  </a:cubicBezTo>
                  <a:cubicBezTo>
                    <a:pt x="1570" y="37"/>
                    <a:pt x="1570" y="37"/>
                    <a:pt x="1570" y="38"/>
                  </a:cubicBezTo>
                  <a:close/>
                  <a:moveTo>
                    <a:pt x="1265" y="56"/>
                  </a:moveTo>
                  <a:cubicBezTo>
                    <a:pt x="1265" y="56"/>
                    <a:pt x="1265" y="57"/>
                    <a:pt x="1265" y="57"/>
                  </a:cubicBezTo>
                  <a:cubicBezTo>
                    <a:pt x="1265" y="57"/>
                    <a:pt x="1265" y="56"/>
                    <a:pt x="1265" y="56"/>
                  </a:cubicBezTo>
                  <a:close/>
                  <a:moveTo>
                    <a:pt x="1738" y="38"/>
                  </a:moveTo>
                  <a:cubicBezTo>
                    <a:pt x="1738" y="37"/>
                    <a:pt x="1738" y="37"/>
                    <a:pt x="1738" y="36"/>
                  </a:cubicBezTo>
                  <a:cubicBezTo>
                    <a:pt x="1738" y="37"/>
                    <a:pt x="1738" y="37"/>
                    <a:pt x="1738" y="38"/>
                  </a:cubicBezTo>
                  <a:close/>
                  <a:moveTo>
                    <a:pt x="1469" y="31"/>
                  </a:moveTo>
                  <a:cubicBezTo>
                    <a:pt x="1469" y="31"/>
                    <a:pt x="1469" y="32"/>
                    <a:pt x="1469" y="32"/>
                  </a:cubicBezTo>
                  <a:cubicBezTo>
                    <a:pt x="1469" y="32"/>
                    <a:pt x="1469" y="31"/>
                    <a:pt x="1469" y="31"/>
                  </a:cubicBezTo>
                  <a:close/>
                  <a:moveTo>
                    <a:pt x="623" y="89"/>
                  </a:moveTo>
                  <a:cubicBezTo>
                    <a:pt x="623" y="89"/>
                    <a:pt x="623" y="89"/>
                    <a:pt x="624" y="90"/>
                  </a:cubicBezTo>
                  <a:cubicBezTo>
                    <a:pt x="624" y="90"/>
                    <a:pt x="624" y="90"/>
                    <a:pt x="624" y="89"/>
                  </a:cubicBezTo>
                  <a:cubicBezTo>
                    <a:pt x="624" y="89"/>
                    <a:pt x="624" y="89"/>
                    <a:pt x="623" y="89"/>
                  </a:cubicBezTo>
                  <a:close/>
                  <a:moveTo>
                    <a:pt x="554" y="20"/>
                  </a:moveTo>
                  <a:cubicBezTo>
                    <a:pt x="553" y="20"/>
                    <a:pt x="553" y="20"/>
                    <a:pt x="553" y="20"/>
                  </a:cubicBezTo>
                  <a:cubicBezTo>
                    <a:pt x="553" y="20"/>
                    <a:pt x="554" y="20"/>
                    <a:pt x="554" y="20"/>
                  </a:cubicBezTo>
                  <a:close/>
                  <a:moveTo>
                    <a:pt x="1175" y="91"/>
                  </a:moveTo>
                  <a:cubicBezTo>
                    <a:pt x="1175" y="90"/>
                    <a:pt x="1175" y="90"/>
                    <a:pt x="1175" y="89"/>
                  </a:cubicBezTo>
                  <a:cubicBezTo>
                    <a:pt x="1175" y="90"/>
                    <a:pt x="1175" y="90"/>
                    <a:pt x="1175" y="91"/>
                  </a:cubicBezTo>
                  <a:close/>
                  <a:moveTo>
                    <a:pt x="1226" y="89"/>
                  </a:moveTo>
                  <a:cubicBezTo>
                    <a:pt x="1226" y="90"/>
                    <a:pt x="1227" y="90"/>
                    <a:pt x="1227" y="90"/>
                  </a:cubicBezTo>
                  <a:cubicBezTo>
                    <a:pt x="1227" y="90"/>
                    <a:pt x="1226" y="89"/>
                    <a:pt x="1226" y="89"/>
                  </a:cubicBezTo>
                  <a:close/>
                  <a:moveTo>
                    <a:pt x="1479" y="31"/>
                  </a:moveTo>
                  <a:cubicBezTo>
                    <a:pt x="1478" y="31"/>
                    <a:pt x="1478" y="31"/>
                    <a:pt x="1477" y="31"/>
                  </a:cubicBezTo>
                  <a:cubicBezTo>
                    <a:pt x="1478" y="32"/>
                    <a:pt x="1478" y="32"/>
                    <a:pt x="1479" y="31"/>
                  </a:cubicBezTo>
                  <a:close/>
                  <a:moveTo>
                    <a:pt x="555" y="43"/>
                  </a:moveTo>
                  <a:cubicBezTo>
                    <a:pt x="555" y="43"/>
                    <a:pt x="556" y="44"/>
                    <a:pt x="556" y="44"/>
                  </a:cubicBezTo>
                  <a:cubicBezTo>
                    <a:pt x="556" y="43"/>
                    <a:pt x="556" y="43"/>
                    <a:pt x="555" y="43"/>
                  </a:cubicBezTo>
                  <a:close/>
                  <a:moveTo>
                    <a:pt x="766" y="90"/>
                  </a:moveTo>
                  <a:cubicBezTo>
                    <a:pt x="767" y="90"/>
                    <a:pt x="767" y="90"/>
                    <a:pt x="767" y="90"/>
                  </a:cubicBezTo>
                  <a:cubicBezTo>
                    <a:pt x="767" y="90"/>
                    <a:pt x="767" y="90"/>
                    <a:pt x="766" y="90"/>
                  </a:cubicBezTo>
                  <a:close/>
                  <a:moveTo>
                    <a:pt x="1355" y="20"/>
                  </a:moveTo>
                  <a:cubicBezTo>
                    <a:pt x="1354" y="20"/>
                    <a:pt x="1354" y="20"/>
                    <a:pt x="1354" y="20"/>
                  </a:cubicBezTo>
                  <a:cubicBezTo>
                    <a:pt x="1354" y="20"/>
                    <a:pt x="1355" y="20"/>
                    <a:pt x="1355" y="20"/>
                  </a:cubicBezTo>
                  <a:close/>
                  <a:moveTo>
                    <a:pt x="575" y="56"/>
                  </a:moveTo>
                  <a:cubicBezTo>
                    <a:pt x="576" y="56"/>
                    <a:pt x="576" y="56"/>
                    <a:pt x="576" y="56"/>
                  </a:cubicBezTo>
                  <a:cubicBezTo>
                    <a:pt x="576" y="56"/>
                    <a:pt x="576" y="56"/>
                    <a:pt x="575" y="56"/>
                  </a:cubicBezTo>
                  <a:close/>
                  <a:moveTo>
                    <a:pt x="727" y="90"/>
                  </a:moveTo>
                  <a:cubicBezTo>
                    <a:pt x="727" y="90"/>
                    <a:pt x="727" y="91"/>
                    <a:pt x="728" y="91"/>
                  </a:cubicBezTo>
                  <a:cubicBezTo>
                    <a:pt x="728" y="91"/>
                    <a:pt x="728" y="90"/>
                    <a:pt x="727" y="90"/>
                  </a:cubicBezTo>
                  <a:close/>
                  <a:moveTo>
                    <a:pt x="753" y="91"/>
                  </a:moveTo>
                  <a:cubicBezTo>
                    <a:pt x="753" y="91"/>
                    <a:pt x="753" y="90"/>
                    <a:pt x="752" y="90"/>
                  </a:cubicBezTo>
                  <a:cubicBezTo>
                    <a:pt x="752" y="91"/>
                    <a:pt x="752" y="91"/>
                    <a:pt x="753" y="91"/>
                  </a:cubicBezTo>
                  <a:close/>
                  <a:moveTo>
                    <a:pt x="755" y="44"/>
                  </a:moveTo>
                  <a:cubicBezTo>
                    <a:pt x="755" y="44"/>
                    <a:pt x="755" y="44"/>
                    <a:pt x="755" y="43"/>
                  </a:cubicBezTo>
                  <a:cubicBezTo>
                    <a:pt x="755" y="43"/>
                    <a:pt x="755" y="44"/>
                    <a:pt x="755" y="44"/>
                  </a:cubicBezTo>
                  <a:close/>
                  <a:moveTo>
                    <a:pt x="1213" y="91"/>
                  </a:moveTo>
                  <a:cubicBezTo>
                    <a:pt x="1213" y="91"/>
                    <a:pt x="1213" y="91"/>
                    <a:pt x="1212" y="90"/>
                  </a:cubicBezTo>
                  <a:cubicBezTo>
                    <a:pt x="1212" y="91"/>
                    <a:pt x="1213" y="91"/>
                    <a:pt x="1213" y="91"/>
                  </a:cubicBezTo>
                  <a:close/>
                  <a:moveTo>
                    <a:pt x="1412" y="34"/>
                  </a:moveTo>
                  <a:cubicBezTo>
                    <a:pt x="1412" y="34"/>
                    <a:pt x="1412" y="33"/>
                    <a:pt x="1412" y="33"/>
                  </a:cubicBezTo>
                  <a:cubicBezTo>
                    <a:pt x="1411" y="33"/>
                    <a:pt x="1412" y="34"/>
                    <a:pt x="1412" y="34"/>
                  </a:cubicBezTo>
                  <a:close/>
                  <a:moveTo>
                    <a:pt x="1469" y="33"/>
                  </a:moveTo>
                  <a:cubicBezTo>
                    <a:pt x="1469" y="33"/>
                    <a:pt x="1469" y="34"/>
                    <a:pt x="1469" y="34"/>
                  </a:cubicBezTo>
                  <a:cubicBezTo>
                    <a:pt x="1469" y="34"/>
                    <a:pt x="1469" y="33"/>
                    <a:pt x="1469" y="33"/>
                  </a:cubicBezTo>
                  <a:close/>
                  <a:moveTo>
                    <a:pt x="675" y="33"/>
                  </a:moveTo>
                  <a:cubicBezTo>
                    <a:pt x="676" y="33"/>
                    <a:pt x="676" y="33"/>
                    <a:pt x="677" y="33"/>
                  </a:cubicBezTo>
                  <a:cubicBezTo>
                    <a:pt x="676" y="33"/>
                    <a:pt x="676" y="33"/>
                    <a:pt x="675" y="33"/>
                  </a:cubicBezTo>
                  <a:close/>
                  <a:moveTo>
                    <a:pt x="771" y="33"/>
                  </a:moveTo>
                  <a:cubicBezTo>
                    <a:pt x="772" y="33"/>
                    <a:pt x="772" y="33"/>
                    <a:pt x="773" y="33"/>
                  </a:cubicBezTo>
                  <a:cubicBezTo>
                    <a:pt x="772" y="33"/>
                    <a:pt x="772" y="33"/>
                    <a:pt x="771" y="33"/>
                  </a:cubicBezTo>
                  <a:close/>
                  <a:moveTo>
                    <a:pt x="784" y="33"/>
                  </a:moveTo>
                  <a:cubicBezTo>
                    <a:pt x="784" y="33"/>
                    <a:pt x="785" y="33"/>
                    <a:pt x="785" y="33"/>
                  </a:cubicBezTo>
                  <a:cubicBezTo>
                    <a:pt x="785" y="33"/>
                    <a:pt x="784" y="33"/>
                    <a:pt x="784" y="33"/>
                  </a:cubicBezTo>
                  <a:close/>
                  <a:moveTo>
                    <a:pt x="843" y="33"/>
                  </a:moveTo>
                  <a:cubicBezTo>
                    <a:pt x="843" y="33"/>
                    <a:pt x="844" y="33"/>
                    <a:pt x="844" y="33"/>
                  </a:cubicBezTo>
                  <a:cubicBezTo>
                    <a:pt x="844" y="33"/>
                    <a:pt x="843" y="33"/>
                    <a:pt x="843" y="33"/>
                  </a:cubicBezTo>
                  <a:close/>
                  <a:moveTo>
                    <a:pt x="1154" y="49"/>
                  </a:moveTo>
                  <a:cubicBezTo>
                    <a:pt x="1154" y="50"/>
                    <a:pt x="1154" y="50"/>
                    <a:pt x="1154" y="51"/>
                  </a:cubicBezTo>
                  <a:cubicBezTo>
                    <a:pt x="1154" y="50"/>
                    <a:pt x="1154" y="50"/>
                    <a:pt x="1154" y="49"/>
                  </a:cubicBezTo>
                  <a:close/>
                  <a:moveTo>
                    <a:pt x="1082" y="43"/>
                  </a:moveTo>
                  <a:cubicBezTo>
                    <a:pt x="1082" y="43"/>
                    <a:pt x="1082" y="44"/>
                    <a:pt x="1083" y="44"/>
                  </a:cubicBezTo>
                  <a:cubicBezTo>
                    <a:pt x="1083" y="44"/>
                    <a:pt x="1083" y="43"/>
                    <a:pt x="1082" y="43"/>
                  </a:cubicBezTo>
                  <a:close/>
                  <a:moveTo>
                    <a:pt x="904" y="37"/>
                  </a:moveTo>
                  <a:cubicBezTo>
                    <a:pt x="905" y="37"/>
                    <a:pt x="905" y="37"/>
                    <a:pt x="905" y="38"/>
                  </a:cubicBezTo>
                  <a:cubicBezTo>
                    <a:pt x="905" y="37"/>
                    <a:pt x="905" y="37"/>
                    <a:pt x="904" y="37"/>
                  </a:cubicBezTo>
                  <a:close/>
                  <a:moveTo>
                    <a:pt x="884" y="33"/>
                  </a:moveTo>
                  <a:cubicBezTo>
                    <a:pt x="884" y="33"/>
                    <a:pt x="885" y="33"/>
                    <a:pt x="885" y="33"/>
                  </a:cubicBezTo>
                  <a:cubicBezTo>
                    <a:pt x="885" y="33"/>
                    <a:pt x="884" y="33"/>
                    <a:pt x="884" y="33"/>
                  </a:cubicBezTo>
                  <a:close/>
                  <a:moveTo>
                    <a:pt x="896" y="33"/>
                  </a:moveTo>
                  <a:cubicBezTo>
                    <a:pt x="896" y="33"/>
                    <a:pt x="896" y="33"/>
                    <a:pt x="897" y="33"/>
                  </a:cubicBezTo>
                  <a:cubicBezTo>
                    <a:pt x="897" y="33"/>
                    <a:pt x="896" y="33"/>
                    <a:pt x="896" y="33"/>
                  </a:cubicBezTo>
                  <a:close/>
                  <a:moveTo>
                    <a:pt x="1463" y="90"/>
                  </a:moveTo>
                  <a:cubicBezTo>
                    <a:pt x="1462" y="91"/>
                    <a:pt x="1462" y="91"/>
                    <a:pt x="1462" y="91"/>
                  </a:cubicBezTo>
                  <a:cubicBezTo>
                    <a:pt x="1462" y="91"/>
                    <a:pt x="1463" y="91"/>
                    <a:pt x="1463" y="90"/>
                  </a:cubicBezTo>
                  <a:close/>
                  <a:moveTo>
                    <a:pt x="754" y="92"/>
                  </a:moveTo>
                  <a:cubicBezTo>
                    <a:pt x="754" y="92"/>
                    <a:pt x="753" y="91"/>
                    <a:pt x="753" y="91"/>
                  </a:cubicBezTo>
                  <a:cubicBezTo>
                    <a:pt x="753" y="92"/>
                    <a:pt x="753" y="92"/>
                    <a:pt x="754" y="92"/>
                  </a:cubicBezTo>
                  <a:close/>
                  <a:moveTo>
                    <a:pt x="1053" y="33"/>
                  </a:moveTo>
                  <a:cubicBezTo>
                    <a:pt x="1054" y="33"/>
                    <a:pt x="1054" y="33"/>
                    <a:pt x="1055" y="33"/>
                  </a:cubicBezTo>
                  <a:cubicBezTo>
                    <a:pt x="1054" y="33"/>
                    <a:pt x="1054" y="33"/>
                    <a:pt x="1053" y="33"/>
                  </a:cubicBezTo>
                  <a:close/>
                  <a:moveTo>
                    <a:pt x="1066" y="33"/>
                  </a:moveTo>
                  <a:cubicBezTo>
                    <a:pt x="1066" y="33"/>
                    <a:pt x="1067" y="33"/>
                    <a:pt x="1067" y="33"/>
                  </a:cubicBezTo>
                  <a:cubicBezTo>
                    <a:pt x="1067" y="33"/>
                    <a:pt x="1066" y="33"/>
                    <a:pt x="1066" y="33"/>
                  </a:cubicBezTo>
                  <a:close/>
                  <a:moveTo>
                    <a:pt x="1126" y="33"/>
                  </a:moveTo>
                  <a:cubicBezTo>
                    <a:pt x="1126" y="33"/>
                    <a:pt x="1127" y="33"/>
                    <a:pt x="1127" y="33"/>
                  </a:cubicBezTo>
                  <a:cubicBezTo>
                    <a:pt x="1127" y="33"/>
                    <a:pt x="1126" y="33"/>
                    <a:pt x="1126" y="33"/>
                  </a:cubicBezTo>
                  <a:close/>
                  <a:moveTo>
                    <a:pt x="1137" y="33"/>
                  </a:moveTo>
                  <a:cubicBezTo>
                    <a:pt x="1138" y="33"/>
                    <a:pt x="1138" y="33"/>
                    <a:pt x="1139" y="33"/>
                  </a:cubicBezTo>
                  <a:cubicBezTo>
                    <a:pt x="1139" y="33"/>
                    <a:pt x="1138" y="33"/>
                    <a:pt x="1137" y="33"/>
                  </a:cubicBezTo>
                  <a:close/>
                  <a:moveTo>
                    <a:pt x="979" y="21"/>
                  </a:moveTo>
                  <a:cubicBezTo>
                    <a:pt x="978" y="22"/>
                    <a:pt x="978" y="22"/>
                    <a:pt x="978" y="22"/>
                  </a:cubicBezTo>
                  <a:cubicBezTo>
                    <a:pt x="978" y="22"/>
                    <a:pt x="979" y="22"/>
                    <a:pt x="979" y="21"/>
                  </a:cubicBezTo>
                  <a:close/>
                  <a:moveTo>
                    <a:pt x="1461" y="14"/>
                  </a:moveTo>
                  <a:cubicBezTo>
                    <a:pt x="1461" y="15"/>
                    <a:pt x="1461" y="15"/>
                    <a:pt x="1462" y="15"/>
                  </a:cubicBezTo>
                  <a:cubicBezTo>
                    <a:pt x="1462" y="15"/>
                    <a:pt x="1461" y="14"/>
                    <a:pt x="1461" y="14"/>
                  </a:cubicBezTo>
                  <a:close/>
                  <a:moveTo>
                    <a:pt x="1231" y="33"/>
                  </a:moveTo>
                  <a:cubicBezTo>
                    <a:pt x="1232" y="33"/>
                    <a:pt x="1232" y="33"/>
                    <a:pt x="1233" y="33"/>
                  </a:cubicBezTo>
                  <a:cubicBezTo>
                    <a:pt x="1232" y="33"/>
                    <a:pt x="1232" y="33"/>
                    <a:pt x="1231" y="33"/>
                  </a:cubicBezTo>
                  <a:close/>
                  <a:moveTo>
                    <a:pt x="1244" y="33"/>
                  </a:moveTo>
                  <a:cubicBezTo>
                    <a:pt x="1244" y="33"/>
                    <a:pt x="1245" y="33"/>
                    <a:pt x="1245" y="33"/>
                  </a:cubicBezTo>
                  <a:cubicBezTo>
                    <a:pt x="1245" y="33"/>
                    <a:pt x="1244" y="33"/>
                    <a:pt x="1244" y="33"/>
                  </a:cubicBezTo>
                  <a:close/>
                  <a:moveTo>
                    <a:pt x="1675" y="53"/>
                  </a:moveTo>
                  <a:cubicBezTo>
                    <a:pt x="1674" y="54"/>
                    <a:pt x="1674" y="54"/>
                    <a:pt x="1674" y="54"/>
                  </a:cubicBezTo>
                  <a:cubicBezTo>
                    <a:pt x="1674" y="54"/>
                    <a:pt x="1674" y="54"/>
                    <a:pt x="1675" y="53"/>
                  </a:cubicBezTo>
                  <a:close/>
                  <a:moveTo>
                    <a:pt x="963" y="21"/>
                  </a:moveTo>
                  <a:cubicBezTo>
                    <a:pt x="963" y="21"/>
                    <a:pt x="963" y="21"/>
                    <a:pt x="964" y="20"/>
                  </a:cubicBezTo>
                  <a:cubicBezTo>
                    <a:pt x="963" y="21"/>
                    <a:pt x="963" y="21"/>
                    <a:pt x="963" y="21"/>
                  </a:cubicBezTo>
                  <a:close/>
                  <a:moveTo>
                    <a:pt x="1146" y="37"/>
                  </a:moveTo>
                  <a:cubicBezTo>
                    <a:pt x="1146" y="37"/>
                    <a:pt x="1147" y="37"/>
                    <a:pt x="1147" y="38"/>
                  </a:cubicBezTo>
                  <a:cubicBezTo>
                    <a:pt x="1147" y="37"/>
                    <a:pt x="1147" y="37"/>
                    <a:pt x="1146" y="37"/>
                  </a:cubicBezTo>
                  <a:close/>
                  <a:moveTo>
                    <a:pt x="987" y="92"/>
                  </a:moveTo>
                  <a:cubicBezTo>
                    <a:pt x="987" y="92"/>
                    <a:pt x="988" y="92"/>
                    <a:pt x="988" y="92"/>
                  </a:cubicBezTo>
                  <a:cubicBezTo>
                    <a:pt x="988" y="92"/>
                    <a:pt x="987" y="92"/>
                    <a:pt x="987" y="92"/>
                  </a:cubicBezTo>
                  <a:close/>
                  <a:moveTo>
                    <a:pt x="1007" y="92"/>
                  </a:moveTo>
                  <a:cubicBezTo>
                    <a:pt x="1007" y="92"/>
                    <a:pt x="1008" y="92"/>
                    <a:pt x="1008" y="92"/>
                  </a:cubicBezTo>
                  <a:cubicBezTo>
                    <a:pt x="1008" y="92"/>
                    <a:pt x="1007" y="92"/>
                    <a:pt x="1007" y="92"/>
                  </a:cubicBezTo>
                  <a:close/>
                  <a:moveTo>
                    <a:pt x="1087" y="53"/>
                  </a:moveTo>
                  <a:cubicBezTo>
                    <a:pt x="1087" y="54"/>
                    <a:pt x="1087" y="54"/>
                    <a:pt x="1087" y="55"/>
                  </a:cubicBezTo>
                  <a:cubicBezTo>
                    <a:pt x="1087" y="54"/>
                    <a:pt x="1087" y="54"/>
                    <a:pt x="1087" y="53"/>
                  </a:cubicBezTo>
                  <a:close/>
                  <a:moveTo>
                    <a:pt x="988" y="92"/>
                  </a:moveTo>
                  <a:cubicBezTo>
                    <a:pt x="989" y="93"/>
                    <a:pt x="989" y="92"/>
                    <a:pt x="990" y="92"/>
                  </a:cubicBezTo>
                  <a:cubicBezTo>
                    <a:pt x="990" y="92"/>
                    <a:pt x="989" y="92"/>
                    <a:pt x="988" y="92"/>
                  </a:cubicBezTo>
                  <a:close/>
                  <a:moveTo>
                    <a:pt x="755" y="93"/>
                  </a:moveTo>
                  <a:cubicBezTo>
                    <a:pt x="755" y="93"/>
                    <a:pt x="754" y="93"/>
                    <a:pt x="754" y="92"/>
                  </a:cubicBezTo>
                  <a:cubicBezTo>
                    <a:pt x="754" y="93"/>
                    <a:pt x="754" y="93"/>
                    <a:pt x="755" y="93"/>
                  </a:cubicBezTo>
                  <a:close/>
                  <a:moveTo>
                    <a:pt x="1419" y="93"/>
                  </a:moveTo>
                  <a:cubicBezTo>
                    <a:pt x="1419" y="93"/>
                    <a:pt x="1418" y="93"/>
                    <a:pt x="1418" y="92"/>
                  </a:cubicBezTo>
                  <a:cubicBezTo>
                    <a:pt x="1418" y="93"/>
                    <a:pt x="1418" y="93"/>
                    <a:pt x="1419" y="93"/>
                  </a:cubicBezTo>
                  <a:close/>
                  <a:moveTo>
                    <a:pt x="1052" y="34"/>
                  </a:moveTo>
                  <a:cubicBezTo>
                    <a:pt x="1052" y="34"/>
                    <a:pt x="1053" y="34"/>
                    <a:pt x="1053" y="33"/>
                  </a:cubicBezTo>
                  <a:cubicBezTo>
                    <a:pt x="1053" y="33"/>
                    <a:pt x="1052" y="33"/>
                    <a:pt x="1052" y="34"/>
                  </a:cubicBezTo>
                  <a:close/>
                  <a:moveTo>
                    <a:pt x="754" y="45"/>
                  </a:moveTo>
                  <a:cubicBezTo>
                    <a:pt x="754" y="45"/>
                    <a:pt x="754" y="45"/>
                    <a:pt x="754" y="44"/>
                  </a:cubicBezTo>
                  <a:cubicBezTo>
                    <a:pt x="754" y="45"/>
                    <a:pt x="754" y="45"/>
                    <a:pt x="754" y="45"/>
                  </a:cubicBezTo>
                  <a:close/>
                  <a:moveTo>
                    <a:pt x="787" y="93"/>
                  </a:moveTo>
                  <a:cubicBezTo>
                    <a:pt x="787" y="93"/>
                    <a:pt x="788" y="93"/>
                    <a:pt x="788" y="93"/>
                  </a:cubicBezTo>
                  <a:cubicBezTo>
                    <a:pt x="788" y="93"/>
                    <a:pt x="787" y="93"/>
                    <a:pt x="787" y="93"/>
                  </a:cubicBezTo>
                  <a:close/>
                  <a:moveTo>
                    <a:pt x="966" y="94"/>
                  </a:moveTo>
                  <a:cubicBezTo>
                    <a:pt x="966" y="93"/>
                    <a:pt x="966" y="93"/>
                    <a:pt x="965" y="93"/>
                  </a:cubicBezTo>
                  <a:cubicBezTo>
                    <a:pt x="965" y="93"/>
                    <a:pt x="966" y="93"/>
                    <a:pt x="966" y="94"/>
                  </a:cubicBezTo>
                  <a:close/>
                  <a:moveTo>
                    <a:pt x="670" y="93"/>
                  </a:moveTo>
                  <a:cubicBezTo>
                    <a:pt x="671" y="94"/>
                    <a:pt x="671" y="94"/>
                    <a:pt x="672" y="93"/>
                  </a:cubicBezTo>
                  <a:cubicBezTo>
                    <a:pt x="671" y="93"/>
                    <a:pt x="671" y="93"/>
                    <a:pt x="670" y="93"/>
                  </a:cubicBezTo>
                  <a:close/>
                  <a:moveTo>
                    <a:pt x="1419" y="16"/>
                  </a:moveTo>
                  <a:cubicBezTo>
                    <a:pt x="1420" y="16"/>
                    <a:pt x="1420" y="15"/>
                    <a:pt x="1420" y="15"/>
                  </a:cubicBezTo>
                  <a:cubicBezTo>
                    <a:pt x="1420" y="15"/>
                    <a:pt x="1420" y="15"/>
                    <a:pt x="1419" y="16"/>
                  </a:cubicBezTo>
                  <a:close/>
                  <a:moveTo>
                    <a:pt x="834" y="38"/>
                  </a:moveTo>
                  <a:cubicBezTo>
                    <a:pt x="834" y="38"/>
                    <a:pt x="834" y="37"/>
                    <a:pt x="835" y="37"/>
                  </a:cubicBezTo>
                  <a:cubicBezTo>
                    <a:pt x="834" y="37"/>
                    <a:pt x="834" y="37"/>
                    <a:pt x="834" y="38"/>
                  </a:cubicBezTo>
                  <a:close/>
                  <a:moveTo>
                    <a:pt x="1576" y="15"/>
                  </a:moveTo>
                  <a:cubicBezTo>
                    <a:pt x="1577" y="15"/>
                    <a:pt x="1577" y="16"/>
                    <a:pt x="1577" y="16"/>
                  </a:cubicBezTo>
                  <a:cubicBezTo>
                    <a:pt x="1577" y="15"/>
                    <a:pt x="1577" y="15"/>
                    <a:pt x="1576" y="15"/>
                  </a:cubicBezTo>
                  <a:close/>
                  <a:moveTo>
                    <a:pt x="605" y="66"/>
                  </a:moveTo>
                  <a:cubicBezTo>
                    <a:pt x="605" y="66"/>
                    <a:pt x="605" y="66"/>
                    <a:pt x="604" y="65"/>
                  </a:cubicBezTo>
                  <a:cubicBezTo>
                    <a:pt x="604" y="66"/>
                    <a:pt x="604" y="66"/>
                    <a:pt x="605" y="66"/>
                  </a:cubicBezTo>
                  <a:close/>
                  <a:moveTo>
                    <a:pt x="900" y="52"/>
                  </a:moveTo>
                  <a:cubicBezTo>
                    <a:pt x="901" y="52"/>
                    <a:pt x="900" y="51"/>
                    <a:pt x="900" y="51"/>
                  </a:cubicBezTo>
                  <a:cubicBezTo>
                    <a:pt x="900" y="51"/>
                    <a:pt x="900" y="52"/>
                    <a:pt x="900" y="52"/>
                  </a:cubicBezTo>
                  <a:close/>
                  <a:moveTo>
                    <a:pt x="1086" y="51"/>
                  </a:moveTo>
                  <a:cubicBezTo>
                    <a:pt x="1086" y="51"/>
                    <a:pt x="1086" y="52"/>
                    <a:pt x="1086" y="52"/>
                  </a:cubicBezTo>
                  <a:cubicBezTo>
                    <a:pt x="1086" y="52"/>
                    <a:pt x="1086" y="51"/>
                    <a:pt x="1086" y="51"/>
                  </a:cubicBezTo>
                  <a:close/>
                  <a:moveTo>
                    <a:pt x="1433" y="7"/>
                  </a:moveTo>
                  <a:cubicBezTo>
                    <a:pt x="1433" y="7"/>
                    <a:pt x="1434" y="7"/>
                    <a:pt x="1434" y="7"/>
                  </a:cubicBezTo>
                  <a:cubicBezTo>
                    <a:pt x="1433" y="6"/>
                    <a:pt x="1433" y="6"/>
                    <a:pt x="1433" y="7"/>
                  </a:cubicBezTo>
                  <a:close/>
                  <a:moveTo>
                    <a:pt x="1448" y="7"/>
                  </a:moveTo>
                  <a:cubicBezTo>
                    <a:pt x="1449" y="7"/>
                    <a:pt x="1449" y="7"/>
                    <a:pt x="1449" y="7"/>
                  </a:cubicBezTo>
                  <a:cubicBezTo>
                    <a:pt x="1449" y="6"/>
                    <a:pt x="1449" y="6"/>
                    <a:pt x="1448" y="7"/>
                  </a:cubicBezTo>
                  <a:close/>
                  <a:moveTo>
                    <a:pt x="1396" y="22"/>
                  </a:moveTo>
                  <a:cubicBezTo>
                    <a:pt x="1396" y="23"/>
                    <a:pt x="1396" y="23"/>
                    <a:pt x="1396" y="23"/>
                  </a:cubicBezTo>
                  <a:cubicBezTo>
                    <a:pt x="1396" y="23"/>
                    <a:pt x="1397" y="22"/>
                    <a:pt x="1396" y="22"/>
                  </a:cubicBezTo>
                  <a:close/>
                  <a:moveTo>
                    <a:pt x="1545" y="7"/>
                  </a:moveTo>
                  <a:cubicBezTo>
                    <a:pt x="1545" y="7"/>
                    <a:pt x="1546" y="7"/>
                    <a:pt x="1546" y="7"/>
                  </a:cubicBezTo>
                  <a:cubicBezTo>
                    <a:pt x="1546" y="7"/>
                    <a:pt x="1545" y="6"/>
                    <a:pt x="1545" y="7"/>
                  </a:cubicBezTo>
                  <a:close/>
                  <a:moveTo>
                    <a:pt x="1562" y="7"/>
                  </a:moveTo>
                  <a:cubicBezTo>
                    <a:pt x="1563" y="7"/>
                    <a:pt x="1563" y="7"/>
                    <a:pt x="1564" y="7"/>
                  </a:cubicBezTo>
                  <a:cubicBezTo>
                    <a:pt x="1563" y="6"/>
                    <a:pt x="1563" y="7"/>
                    <a:pt x="1562" y="7"/>
                  </a:cubicBezTo>
                  <a:close/>
                  <a:moveTo>
                    <a:pt x="1713" y="7"/>
                  </a:moveTo>
                  <a:cubicBezTo>
                    <a:pt x="1713" y="7"/>
                    <a:pt x="1714" y="7"/>
                    <a:pt x="1714" y="7"/>
                  </a:cubicBezTo>
                  <a:cubicBezTo>
                    <a:pt x="1714" y="7"/>
                    <a:pt x="1713" y="6"/>
                    <a:pt x="1713" y="7"/>
                  </a:cubicBezTo>
                  <a:close/>
                  <a:moveTo>
                    <a:pt x="1731" y="7"/>
                  </a:moveTo>
                  <a:cubicBezTo>
                    <a:pt x="1731" y="7"/>
                    <a:pt x="1731" y="7"/>
                    <a:pt x="1732" y="7"/>
                  </a:cubicBezTo>
                  <a:cubicBezTo>
                    <a:pt x="1731" y="6"/>
                    <a:pt x="1731" y="7"/>
                    <a:pt x="1731" y="7"/>
                  </a:cubicBezTo>
                  <a:close/>
                  <a:moveTo>
                    <a:pt x="556" y="7"/>
                  </a:moveTo>
                  <a:cubicBezTo>
                    <a:pt x="556" y="7"/>
                    <a:pt x="557" y="7"/>
                    <a:pt x="557" y="7"/>
                  </a:cubicBezTo>
                  <a:cubicBezTo>
                    <a:pt x="557" y="7"/>
                    <a:pt x="556" y="7"/>
                    <a:pt x="556" y="7"/>
                  </a:cubicBezTo>
                  <a:close/>
                  <a:moveTo>
                    <a:pt x="986" y="7"/>
                  </a:moveTo>
                  <a:cubicBezTo>
                    <a:pt x="987" y="7"/>
                    <a:pt x="987" y="7"/>
                    <a:pt x="988" y="7"/>
                  </a:cubicBezTo>
                  <a:cubicBezTo>
                    <a:pt x="987" y="7"/>
                    <a:pt x="987" y="7"/>
                    <a:pt x="986" y="7"/>
                  </a:cubicBezTo>
                  <a:close/>
                  <a:moveTo>
                    <a:pt x="1359" y="7"/>
                  </a:moveTo>
                  <a:cubicBezTo>
                    <a:pt x="1360" y="7"/>
                    <a:pt x="1360" y="7"/>
                    <a:pt x="1360" y="7"/>
                  </a:cubicBezTo>
                  <a:cubicBezTo>
                    <a:pt x="1360" y="7"/>
                    <a:pt x="1360" y="7"/>
                    <a:pt x="1359" y="7"/>
                  </a:cubicBezTo>
                  <a:close/>
                  <a:moveTo>
                    <a:pt x="1379" y="7"/>
                  </a:moveTo>
                  <a:cubicBezTo>
                    <a:pt x="1380" y="7"/>
                    <a:pt x="1380" y="7"/>
                    <a:pt x="1381" y="7"/>
                  </a:cubicBezTo>
                  <a:cubicBezTo>
                    <a:pt x="1380" y="7"/>
                    <a:pt x="1380" y="7"/>
                    <a:pt x="1379" y="7"/>
                  </a:cubicBezTo>
                  <a:close/>
                  <a:moveTo>
                    <a:pt x="1466" y="22"/>
                  </a:moveTo>
                  <a:cubicBezTo>
                    <a:pt x="1466" y="23"/>
                    <a:pt x="1466" y="23"/>
                    <a:pt x="1466" y="23"/>
                  </a:cubicBezTo>
                  <a:cubicBezTo>
                    <a:pt x="1466" y="23"/>
                    <a:pt x="1466" y="22"/>
                    <a:pt x="1466" y="22"/>
                  </a:cubicBezTo>
                  <a:close/>
                  <a:moveTo>
                    <a:pt x="1031" y="56"/>
                  </a:moveTo>
                  <a:cubicBezTo>
                    <a:pt x="1031" y="56"/>
                    <a:pt x="1031" y="56"/>
                    <a:pt x="1031" y="55"/>
                  </a:cubicBezTo>
                  <a:cubicBezTo>
                    <a:pt x="1031" y="56"/>
                    <a:pt x="1031" y="56"/>
                    <a:pt x="1031" y="56"/>
                  </a:cubicBezTo>
                  <a:close/>
                  <a:moveTo>
                    <a:pt x="1468" y="29"/>
                  </a:moveTo>
                  <a:cubicBezTo>
                    <a:pt x="1468" y="30"/>
                    <a:pt x="1468" y="30"/>
                    <a:pt x="1469" y="31"/>
                  </a:cubicBezTo>
                  <a:cubicBezTo>
                    <a:pt x="1469" y="30"/>
                    <a:pt x="1469" y="30"/>
                    <a:pt x="1468" y="29"/>
                  </a:cubicBezTo>
                  <a:close/>
                  <a:moveTo>
                    <a:pt x="1543" y="7"/>
                  </a:moveTo>
                  <a:cubicBezTo>
                    <a:pt x="1544" y="7"/>
                    <a:pt x="1544" y="7"/>
                    <a:pt x="1545" y="7"/>
                  </a:cubicBezTo>
                  <a:cubicBezTo>
                    <a:pt x="1544" y="7"/>
                    <a:pt x="1544" y="7"/>
                    <a:pt x="1543" y="7"/>
                  </a:cubicBezTo>
                  <a:close/>
                  <a:moveTo>
                    <a:pt x="1300" y="44"/>
                  </a:moveTo>
                  <a:cubicBezTo>
                    <a:pt x="1300" y="44"/>
                    <a:pt x="1299" y="44"/>
                    <a:pt x="1299" y="44"/>
                  </a:cubicBezTo>
                  <a:cubicBezTo>
                    <a:pt x="1299" y="44"/>
                    <a:pt x="1300" y="44"/>
                    <a:pt x="1300" y="44"/>
                  </a:cubicBezTo>
                  <a:close/>
                  <a:moveTo>
                    <a:pt x="1712" y="7"/>
                  </a:moveTo>
                  <a:cubicBezTo>
                    <a:pt x="1712" y="7"/>
                    <a:pt x="1712" y="7"/>
                    <a:pt x="1713" y="7"/>
                  </a:cubicBezTo>
                  <a:cubicBezTo>
                    <a:pt x="1712" y="7"/>
                    <a:pt x="1712" y="7"/>
                    <a:pt x="1712" y="7"/>
                  </a:cubicBezTo>
                  <a:close/>
                  <a:moveTo>
                    <a:pt x="1264" y="50"/>
                  </a:moveTo>
                  <a:cubicBezTo>
                    <a:pt x="1264" y="50"/>
                    <a:pt x="1264" y="51"/>
                    <a:pt x="1264" y="51"/>
                  </a:cubicBezTo>
                  <a:cubicBezTo>
                    <a:pt x="1264" y="51"/>
                    <a:pt x="1264" y="50"/>
                    <a:pt x="1264" y="50"/>
                  </a:cubicBezTo>
                  <a:close/>
                  <a:moveTo>
                    <a:pt x="555" y="8"/>
                  </a:moveTo>
                  <a:cubicBezTo>
                    <a:pt x="555" y="8"/>
                    <a:pt x="555" y="8"/>
                    <a:pt x="556" y="7"/>
                  </a:cubicBezTo>
                  <a:cubicBezTo>
                    <a:pt x="555" y="7"/>
                    <a:pt x="555" y="7"/>
                    <a:pt x="555" y="8"/>
                  </a:cubicBezTo>
                  <a:close/>
                  <a:moveTo>
                    <a:pt x="581" y="7"/>
                  </a:moveTo>
                  <a:cubicBezTo>
                    <a:pt x="581" y="7"/>
                    <a:pt x="581" y="8"/>
                    <a:pt x="582" y="8"/>
                  </a:cubicBezTo>
                  <a:cubicBezTo>
                    <a:pt x="581" y="7"/>
                    <a:pt x="581" y="7"/>
                    <a:pt x="581" y="7"/>
                  </a:cubicBezTo>
                  <a:close/>
                  <a:moveTo>
                    <a:pt x="985" y="8"/>
                  </a:moveTo>
                  <a:cubicBezTo>
                    <a:pt x="985" y="8"/>
                    <a:pt x="986" y="8"/>
                    <a:pt x="986" y="7"/>
                  </a:cubicBezTo>
                  <a:cubicBezTo>
                    <a:pt x="986" y="7"/>
                    <a:pt x="985" y="7"/>
                    <a:pt x="985" y="8"/>
                  </a:cubicBezTo>
                  <a:close/>
                  <a:moveTo>
                    <a:pt x="1014" y="7"/>
                  </a:moveTo>
                  <a:cubicBezTo>
                    <a:pt x="1014" y="8"/>
                    <a:pt x="1014" y="8"/>
                    <a:pt x="1015" y="7"/>
                  </a:cubicBezTo>
                  <a:cubicBezTo>
                    <a:pt x="1014" y="7"/>
                    <a:pt x="1014" y="7"/>
                    <a:pt x="1014" y="7"/>
                  </a:cubicBezTo>
                  <a:close/>
                  <a:moveTo>
                    <a:pt x="1227" y="35"/>
                  </a:moveTo>
                  <a:cubicBezTo>
                    <a:pt x="1227" y="35"/>
                    <a:pt x="1227" y="35"/>
                    <a:pt x="1228" y="34"/>
                  </a:cubicBezTo>
                  <a:cubicBezTo>
                    <a:pt x="1227" y="34"/>
                    <a:pt x="1227" y="34"/>
                    <a:pt x="1227" y="35"/>
                  </a:cubicBezTo>
                  <a:close/>
                  <a:moveTo>
                    <a:pt x="1749" y="40"/>
                  </a:moveTo>
                  <a:cubicBezTo>
                    <a:pt x="1748" y="41"/>
                    <a:pt x="1748" y="41"/>
                    <a:pt x="1748" y="42"/>
                  </a:cubicBezTo>
                  <a:cubicBezTo>
                    <a:pt x="1749" y="41"/>
                    <a:pt x="1749" y="41"/>
                    <a:pt x="1749" y="40"/>
                  </a:cubicBezTo>
                  <a:close/>
                  <a:moveTo>
                    <a:pt x="1483" y="30"/>
                  </a:moveTo>
                  <a:cubicBezTo>
                    <a:pt x="1482" y="30"/>
                    <a:pt x="1482" y="30"/>
                    <a:pt x="1482" y="30"/>
                  </a:cubicBezTo>
                  <a:cubicBezTo>
                    <a:pt x="1482" y="30"/>
                    <a:pt x="1483" y="30"/>
                    <a:pt x="1483" y="30"/>
                  </a:cubicBezTo>
                  <a:close/>
                  <a:moveTo>
                    <a:pt x="613" y="58"/>
                  </a:moveTo>
                  <a:cubicBezTo>
                    <a:pt x="613" y="58"/>
                    <a:pt x="613" y="58"/>
                    <a:pt x="613" y="59"/>
                  </a:cubicBezTo>
                  <a:cubicBezTo>
                    <a:pt x="613" y="58"/>
                    <a:pt x="613" y="58"/>
                    <a:pt x="613" y="58"/>
                  </a:cubicBezTo>
                  <a:close/>
                  <a:moveTo>
                    <a:pt x="1263" y="49"/>
                  </a:moveTo>
                  <a:cubicBezTo>
                    <a:pt x="1263" y="49"/>
                    <a:pt x="1263" y="50"/>
                    <a:pt x="1264" y="50"/>
                  </a:cubicBezTo>
                  <a:cubicBezTo>
                    <a:pt x="1264" y="50"/>
                    <a:pt x="1264" y="49"/>
                    <a:pt x="1263" y="49"/>
                  </a:cubicBezTo>
                  <a:close/>
                  <a:moveTo>
                    <a:pt x="1264" y="51"/>
                  </a:moveTo>
                  <a:cubicBezTo>
                    <a:pt x="1264" y="51"/>
                    <a:pt x="1264" y="52"/>
                    <a:pt x="1264" y="52"/>
                  </a:cubicBezTo>
                  <a:cubicBezTo>
                    <a:pt x="1264" y="52"/>
                    <a:pt x="1264" y="51"/>
                    <a:pt x="1264" y="51"/>
                  </a:cubicBezTo>
                  <a:close/>
                  <a:moveTo>
                    <a:pt x="691" y="44"/>
                  </a:moveTo>
                  <a:cubicBezTo>
                    <a:pt x="691" y="43"/>
                    <a:pt x="690" y="43"/>
                    <a:pt x="690" y="43"/>
                  </a:cubicBezTo>
                  <a:cubicBezTo>
                    <a:pt x="690" y="44"/>
                    <a:pt x="691" y="44"/>
                    <a:pt x="691" y="44"/>
                  </a:cubicBezTo>
                  <a:close/>
                  <a:moveTo>
                    <a:pt x="1412" y="31"/>
                  </a:moveTo>
                  <a:cubicBezTo>
                    <a:pt x="1413" y="31"/>
                    <a:pt x="1413" y="31"/>
                    <a:pt x="1413" y="30"/>
                  </a:cubicBezTo>
                  <a:cubicBezTo>
                    <a:pt x="1412" y="30"/>
                    <a:pt x="1412" y="31"/>
                    <a:pt x="1412" y="31"/>
                  </a:cubicBezTo>
                  <a:close/>
                  <a:moveTo>
                    <a:pt x="644" y="64"/>
                  </a:moveTo>
                  <a:cubicBezTo>
                    <a:pt x="644" y="65"/>
                    <a:pt x="644" y="65"/>
                    <a:pt x="644" y="65"/>
                  </a:cubicBezTo>
                  <a:cubicBezTo>
                    <a:pt x="644" y="65"/>
                    <a:pt x="644" y="65"/>
                    <a:pt x="644" y="64"/>
                  </a:cubicBezTo>
                  <a:close/>
                  <a:moveTo>
                    <a:pt x="553" y="8"/>
                  </a:moveTo>
                  <a:cubicBezTo>
                    <a:pt x="554" y="8"/>
                    <a:pt x="554" y="8"/>
                    <a:pt x="555" y="8"/>
                  </a:cubicBezTo>
                  <a:cubicBezTo>
                    <a:pt x="554" y="8"/>
                    <a:pt x="554" y="7"/>
                    <a:pt x="553" y="8"/>
                  </a:cubicBezTo>
                  <a:close/>
                  <a:moveTo>
                    <a:pt x="1569" y="42"/>
                  </a:moveTo>
                  <a:cubicBezTo>
                    <a:pt x="1569" y="41"/>
                    <a:pt x="1569" y="41"/>
                    <a:pt x="1569" y="41"/>
                  </a:cubicBezTo>
                  <a:cubicBezTo>
                    <a:pt x="1569" y="41"/>
                    <a:pt x="1569" y="41"/>
                    <a:pt x="1569" y="42"/>
                  </a:cubicBezTo>
                  <a:close/>
                  <a:moveTo>
                    <a:pt x="984" y="8"/>
                  </a:moveTo>
                  <a:cubicBezTo>
                    <a:pt x="984" y="8"/>
                    <a:pt x="985" y="8"/>
                    <a:pt x="985" y="8"/>
                  </a:cubicBezTo>
                  <a:cubicBezTo>
                    <a:pt x="984" y="8"/>
                    <a:pt x="984" y="7"/>
                    <a:pt x="984" y="8"/>
                  </a:cubicBezTo>
                  <a:close/>
                  <a:moveTo>
                    <a:pt x="1015" y="8"/>
                  </a:moveTo>
                  <a:cubicBezTo>
                    <a:pt x="1015" y="8"/>
                    <a:pt x="1016" y="8"/>
                    <a:pt x="1016" y="8"/>
                  </a:cubicBezTo>
                  <a:cubicBezTo>
                    <a:pt x="1016" y="7"/>
                    <a:pt x="1015" y="8"/>
                    <a:pt x="1015" y="8"/>
                  </a:cubicBezTo>
                  <a:close/>
                  <a:moveTo>
                    <a:pt x="1183" y="15"/>
                  </a:moveTo>
                  <a:cubicBezTo>
                    <a:pt x="1184" y="15"/>
                    <a:pt x="1184" y="15"/>
                    <a:pt x="1185" y="15"/>
                  </a:cubicBezTo>
                  <a:cubicBezTo>
                    <a:pt x="1184" y="15"/>
                    <a:pt x="1184" y="14"/>
                    <a:pt x="1183" y="15"/>
                  </a:cubicBezTo>
                  <a:close/>
                  <a:moveTo>
                    <a:pt x="1481" y="19"/>
                  </a:moveTo>
                  <a:cubicBezTo>
                    <a:pt x="1482" y="19"/>
                    <a:pt x="1482" y="19"/>
                    <a:pt x="1482" y="19"/>
                  </a:cubicBezTo>
                  <a:cubicBezTo>
                    <a:pt x="1482" y="19"/>
                    <a:pt x="1482" y="19"/>
                    <a:pt x="1481" y="19"/>
                  </a:cubicBezTo>
                  <a:close/>
                  <a:moveTo>
                    <a:pt x="1430" y="8"/>
                  </a:moveTo>
                  <a:cubicBezTo>
                    <a:pt x="1430" y="8"/>
                    <a:pt x="1430" y="8"/>
                    <a:pt x="1431" y="8"/>
                  </a:cubicBezTo>
                  <a:cubicBezTo>
                    <a:pt x="1430" y="8"/>
                    <a:pt x="1430" y="7"/>
                    <a:pt x="1430" y="8"/>
                  </a:cubicBezTo>
                  <a:close/>
                  <a:moveTo>
                    <a:pt x="1452" y="8"/>
                  </a:moveTo>
                  <a:cubicBezTo>
                    <a:pt x="1452" y="8"/>
                    <a:pt x="1452" y="8"/>
                    <a:pt x="1453" y="8"/>
                  </a:cubicBezTo>
                  <a:cubicBezTo>
                    <a:pt x="1452" y="7"/>
                    <a:pt x="1452" y="8"/>
                    <a:pt x="1452" y="8"/>
                  </a:cubicBezTo>
                  <a:close/>
                  <a:moveTo>
                    <a:pt x="1580" y="44"/>
                  </a:moveTo>
                  <a:cubicBezTo>
                    <a:pt x="1579" y="44"/>
                    <a:pt x="1579" y="44"/>
                    <a:pt x="1579" y="45"/>
                  </a:cubicBezTo>
                  <a:cubicBezTo>
                    <a:pt x="1580" y="45"/>
                    <a:pt x="1580" y="44"/>
                    <a:pt x="1580" y="44"/>
                  </a:cubicBezTo>
                  <a:close/>
                  <a:moveTo>
                    <a:pt x="1570" y="39"/>
                  </a:moveTo>
                  <a:cubicBezTo>
                    <a:pt x="1570" y="39"/>
                    <a:pt x="1570" y="39"/>
                    <a:pt x="1570" y="38"/>
                  </a:cubicBezTo>
                  <a:cubicBezTo>
                    <a:pt x="1569" y="38"/>
                    <a:pt x="1570" y="39"/>
                    <a:pt x="1570" y="39"/>
                  </a:cubicBezTo>
                  <a:close/>
                  <a:moveTo>
                    <a:pt x="1738" y="39"/>
                  </a:moveTo>
                  <a:cubicBezTo>
                    <a:pt x="1738" y="39"/>
                    <a:pt x="1738" y="39"/>
                    <a:pt x="1738" y="38"/>
                  </a:cubicBezTo>
                  <a:cubicBezTo>
                    <a:pt x="1738" y="38"/>
                    <a:pt x="1738" y="39"/>
                    <a:pt x="1738" y="39"/>
                  </a:cubicBezTo>
                  <a:close/>
                  <a:moveTo>
                    <a:pt x="1480" y="31"/>
                  </a:moveTo>
                  <a:cubicBezTo>
                    <a:pt x="1479" y="31"/>
                    <a:pt x="1479" y="31"/>
                    <a:pt x="1479" y="31"/>
                  </a:cubicBezTo>
                  <a:cubicBezTo>
                    <a:pt x="1479" y="31"/>
                    <a:pt x="1479" y="31"/>
                    <a:pt x="1480" y="31"/>
                  </a:cubicBezTo>
                  <a:close/>
                  <a:moveTo>
                    <a:pt x="1289" y="57"/>
                  </a:moveTo>
                  <a:cubicBezTo>
                    <a:pt x="1289" y="57"/>
                    <a:pt x="1289" y="58"/>
                    <a:pt x="1289" y="58"/>
                  </a:cubicBezTo>
                  <a:cubicBezTo>
                    <a:pt x="1289" y="58"/>
                    <a:pt x="1289" y="57"/>
                    <a:pt x="1289" y="57"/>
                  </a:cubicBezTo>
                  <a:close/>
                  <a:moveTo>
                    <a:pt x="605" y="36"/>
                  </a:moveTo>
                  <a:cubicBezTo>
                    <a:pt x="605" y="36"/>
                    <a:pt x="605" y="37"/>
                    <a:pt x="605" y="37"/>
                  </a:cubicBezTo>
                  <a:cubicBezTo>
                    <a:pt x="605" y="36"/>
                    <a:pt x="605" y="36"/>
                    <a:pt x="605" y="36"/>
                  </a:cubicBezTo>
                  <a:close/>
                  <a:moveTo>
                    <a:pt x="1412" y="33"/>
                  </a:moveTo>
                  <a:cubicBezTo>
                    <a:pt x="1412" y="32"/>
                    <a:pt x="1412" y="32"/>
                    <a:pt x="1412" y="32"/>
                  </a:cubicBezTo>
                  <a:cubicBezTo>
                    <a:pt x="1412" y="32"/>
                    <a:pt x="1412" y="32"/>
                    <a:pt x="1412" y="33"/>
                  </a:cubicBezTo>
                  <a:close/>
                  <a:moveTo>
                    <a:pt x="983" y="8"/>
                  </a:moveTo>
                  <a:cubicBezTo>
                    <a:pt x="983" y="8"/>
                    <a:pt x="983" y="8"/>
                    <a:pt x="984" y="8"/>
                  </a:cubicBezTo>
                  <a:cubicBezTo>
                    <a:pt x="983" y="8"/>
                    <a:pt x="983" y="8"/>
                    <a:pt x="983" y="8"/>
                  </a:cubicBezTo>
                  <a:close/>
                  <a:moveTo>
                    <a:pt x="1182" y="15"/>
                  </a:moveTo>
                  <a:cubicBezTo>
                    <a:pt x="1183" y="15"/>
                    <a:pt x="1183" y="15"/>
                    <a:pt x="1184" y="15"/>
                  </a:cubicBezTo>
                  <a:cubicBezTo>
                    <a:pt x="1183" y="15"/>
                    <a:pt x="1183" y="15"/>
                    <a:pt x="1182" y="15"/>
                  </a:cubicBezTo>
                  <a:close/>
                  <a:moveTo>
                    <a:pt x="652" y="44"/>
                  </a:moveTo>
                  <a:cubicBezTo>
                    <a:pt x="652" y="44"/>
                    <a:pt x="652" y="45"/>
                    <a:pt x="652" y="45"/>
                  </a:cubicBezTo>
                  <a:cubicBezTo>
                    <a:pt x="652" y="45"/>
                    <a:pt x="652" y="44"/>
                    <a:pt x="652" y="44"/>
                  </a:cubicBezTo>
                  <a:close/>
                  <a:moveTo>
                    <a:pt x="616" y="67"/>
                  </a:moveTo>
                  <a:cubicBezTo>
                    <a:pt x="616" y="67"/>
                    <a:pt x="616" y="67"/>
                    <a:pt x="616" y="68"/>
                  </a:cubicBezTo>
                  <a:cubicBezTo>
                    <a:pt x="616" y="67"/>
                    <a:pt x="616" y="67"/>
                    <a:pt x="616" y="67"/>
                  </a:cubicBezTo>
                  <a:close/>
                  <a:moveTo>
                    <a:pt x="1143" y="54"/>
                  </a:moveTo>
                  <a:cubicBezTo>
                    <a:pt x="1143" y="53"/>
                    <a:pt x="1143" y="53"/>
                    <a:pt x="1143" y="53"/>
                  </a:cubicBezTo>
                  <a:cubicBezTo>
                    <a:pt x="1143" y="53"/>
                    <a:pt x="1143" y="54"/>
                    <a:pt x="1143" y="54"/>
                  </a:cubicBezTo>
                  <a:close/>
                  <a:moveTo>
                    <a:pt x="1181" y="16"/>
                  </a:moveTo>
                  <a:cubicBezTo>
                    <a:pt x="1182" y="16"/>
                    <a:pt x="1182" y="16"/>
                    <a:pt x="1182" y="15"/>
                  </a:cubicBezTo>
                  <a:cubicBezTo>
                    <a:pt x="1182" y="15"/>
                    <a:pt x="1182" y="15"/>
                    <a:pt x="1181" y="16"/>
                  </a:cubicBezTo>
                  <a:close/>
                  <a:moveTo>
                    <a:pt x="804" y="53"/>
                  </a:moveTo>
                  <a:cubicBezTo>
                    <a:pt x="804" y="53"/>
                    <a:pt x="804" y="54"/>
                    <a:pt x="805" y="54"/>
                  </a:cubicBezTo>
                  <a:cubicBezTo>
                    <a:pt x="805" y="54"/>
                    <a:pt x="805" y="53"/>
                    <a:pt x="804" y="53"/>
                  </a:cubicBezTo>
                  <a:close/>
                  <a:moveTo>
                    <a:pt x="1567" y="8"/>
                  </a:moveTo>
                  <a:cubicBezTo>
                    <a:pt x="1567" y="8"/>
                    <a:pt x="1567" y="8"/>
                    <a:pt x="1568" y="8"/>
                  </a:cubicBezTo>
                  <a:cubicBezTo>
                    <a:pt x="1568" y="8"/>
                    <a:pt x="1567" y="8"/>
                    <a:pt x="1567" y="8"/>
                  </a:cubicBezTo>
                  <a:close/>
                  <a:moveTo>
                    <a:pt x="1669" y="57"/>
                  </a:moveTo>
                  <a:cubicBezTo>
                    <a:pt x="1668" y="57"/>
                    <a:pt x="1668" y="57"/>
                    <a:pt x="1668" y="57"/>
                  </a:cubicBezTo>
                  <a:cubicBezTo>
                    <a:pt x="1668" y="57"/>
                    <a:pt x="1669" y="57"/>
                    <a:pt x="1669" y="57"/>
                  </a:cubicBezTo>
                  <a:close/>
                  <a:moveTo>
                    <a:pt x="1735" y="8"/>
                  </a:moveTo>
                  <a:cubicBezTo>
                    <a:pt x="1735" y="8"/>
                    <a:pt x="1735" y="8"/>
                    <a:pt x="1736" y="8"/>
                  </a:cubicBezTo>
                  <a:cubicBezTo>
                    <a:pt x="1736" y="8"/>
                    <a:pt x="1735" y="8"/>
                    <a:pt x="1735" y="8"/>
                  </a:cubicBezTo>
                  <a:close/>
                  <a:moveTo>
                    <a:pt x="552" y="9"/>
                  </a:moveTo>
                  <a:cubicBezTo>
                    <a:pt x="552" y="9"/>
                    <a:pt x="552" y="9"/>
                    <a:pt x="553" y="8"/>
                  </a:cubicBezTo>
                  <a:cubicBezTo>
                    <a:pt x="552" y="8"/>
                    <a:pt x="552" y="8"/>
                    <a:pt x="552" y="9"/>
                  </a:cubicBezTo>
                  <a:close/>
                  <a:moveTo>
                    <a:pt x="830" y="53"/>
                  </a:moveTo>
                  <a:cubicBezTo>
                    <a:pt x="830" y="53"/>
                    <a:pt x="829" y="53"/>
                    <a:pt x="829" y="54"/>
                  </a:cubicBezTo>
                  <a:cubicBezTo>
                    <a:pt x="830" y="54"/>
                    <a:pt x="830" y="53"/>
                    <a:pt x="830" y="53"/>
                  </a:cubicBezTo>
                  <a:close/>
                  <a:moveTo>
                    <a:pt x="982" y="9"/>
                  </a:moveTo>
                  <a:cubicBezTo>
                    <a:pt x="982" y="9"/>
                    <a:pt x="982" y="9"/>
                    <a:pt x="983" y="8"/>
                  </a:cubicBezTo>
                  <a:cubicBezTo>
                    <a:pt x="982" y="8"/>
                    <a:pt x="982" y="8"/>
                    <a:pt x="982" y="9"/>
                  </a:cubicBezTo>
                  <a:close/>
                  <a:moveTo>
                    <a:pt x="1017" y="8"/>
                  </a:moveTo>
                  <a:cubicBezTo>
                    <a:pt x="1018" y="9"/>
                    <a:pt x="1018" y="9"/>
                    <a:pt x="1018" y="9"/>
                  </a:cubicBezTo>
                  <a:cubicBezTo>
                    <a:pt x="1018" y="8"/>
                    <a:pt x="1018" y="8"/>
                    <a:pt x="1017" y="8"/>
                  </a:cubicBezTo>
                  <a:close/>
                  <a:moveTo>
                    <a:pt x="1016" y="19"/>
                  </a:moveTo>
                  <a:cubicBezTo>
                    <a:pt x="1016" y="19"/>
                    <a:pt x="1016" y="19"/>
                    <a:pt x="1015" y="19"/>
                  </a:cubicBezTo>
                  <a:cubicBezTo>
                    <a:pt x="1016" y="19"/>
                    <a:pt x="1016" y="19"/>
                    <a:pt x="1016" y="19"/>
                  </a:cubicBezTo>
                  <a:close/>
                  <a:moveTo>
                    <a:pt x="1180" y="16"/>
                  </a:moveTo>
                  <a:cubicBezTo>
                    <a:pt x="1181" y="16"/>
                    <a:pt x="1181" y="16"/>
                    <a:pt x="1181" y="16"/>
                  </a:cubicBezTo>
                  <a:cubicBezTo>
                    <a:pt x="1181" y="16"/>
                    <a:pt x="1181" y="15"/>
                    <a:pt x="1180" y="16"/>
                  </a:cubicBezTo>
                  <a:close/>
                  <a:moveTo>
                    <a:pt x="1364" y="16"/>
                  </a:moveTo>
                  <a:cubicBezTo>
                    <a:pt x="1364" y="16"/>
                    <a:pt x="1364" y="16"/>
                    <a:pt x="1363" y="16"/>
                  </a:cubicBezTo>
                  <a:cubicBezTo>
                    <a:pt x="1364" y="16"/>
                    <a:pt x="1364" y="16"/>
                    <a:pt x="1364" y="16"/>
                  </a:cubicBezTo>
                  <a:close/>
                  <a:moveTo>
                    <a:pt x="615" y="66"/>
                  </a:moveTo>
                  <a:cubicBezTo>
                    <a:pt x="615" y="66"/>
                    <a:pt x="615" y="66"/>
                    <a:pt x="616" y="67"/>
                  </a:cubicBezTo>
                  <a:cubicBezTo>
                    <a:pt x="616" y="66"/>
                    <a:pt x="616" y="66"/>
                    <a:pt x="615" y="66"/>
                  </a:cubicBezTo>
                  <a:close/>
                  <a:moveTo>
                    <a:pt x="853" y="33"/>
                  </a:moveTo>
                  <a:cubicBezTo>
                    <a:pt x="854" y="33"/>
                    <a:pt x="854" y="33"/>
                    <a:pt x="855" y="33"/>
                  </a:cubicBezTo>
                  <a:cubicBezTo>
                    <a:pt x="854" y="33"/>
                    <a:pt x="854" y="33"/>
                    <a:pt x="853" y="33"/>
                  </a:cubicBezTo>
                  <a:close/>
                  <a:moveTo>
                    <a:pt x="1480" y="19"/>
                  </a:moveTo>
                  <a:cubicBezTo>
                    <a:pt x="1481" y="19"/>
                    <a:pt x="1481" y="19"/>
                    <a:pt x="1481" y="19"/>
                  </a:cubicBezTo>
                  <a:cubicBezTo>
                    <a:pt x="1481" y="19"/>
                    <a:pt x="1481" y="19"/>
                    <a:pt x="1480" y="19"/>
                  </a:cubicBezTo>
                  <a:close/>
                  <a:moveTo>
                    <a:pt x="1559" y="16"/>
                  </a:moveTo>
                  <a:cubicBezTo>
                    <a:pt x="1559" y="16"/>
                    <a:pt x="1558" y="16"/>
                    <a:pt x="1558" y="16"/>
                  </a:cubicBezTo>
                  <a:cubicBezTo>
                    <a:pt x="1558" y="16"/>
                    <a:pt x="1559" y="16"/>
                    <a:pt x="1559" y="16"/>
                  </a:cubicBezTo>
                  <a:close/>
                  <a:moveTo>
                    <a:pt x="1727" y="16"/>
                  </a:moveTo>
                  <a:cubicBezTo>
                    <a:pt x="1727" y="16"/>
                    <a:pt x="1727" y="16"/>
                    <a:pt x="1726" y="16"/>
                  </a:cubicBezTo>
                  <a:cubicBezTo>
                    <a:pt x="1726" y="16"/>
                    <a:pt x="1727" y="16"/>
                    <a:pt x="1727" y="16"/>
                  </a:cubicBezTo>
                  <a:close/>
                  <a:moveTo>
                    <a:pt x="605" y="37"/>
                  </a:moveTo>
                  <a:cubicBezTo>
                    <a:pt x="605" y="37"/>
                    <a:pt x="605" y="38"/>
                    <a:pt x="606" y="38"/>
                  </a:cubicBezTo>
                  <a:cubicBezTo>
                    <a:pt x="606" y="37"/>
                    <a:pt x="606" y="37"/>
                    <a:pt x="605" y="37"/>
                  </a:cubicBezTo>
                  <a:close/>
                  <a:moveTo>
                    <a:pt x="606" y="38"/>
                  </a:moveTo>
                  <a:cubicBezTo>
                    <a:pt x="606" y="38"/>
                    <a:pt x="606" y="39"/>
                    <a:pt x="606" y="39"/>
                  </a:cubicBezTo>
                  <a:cubicBezTo>
                    <a:pt x="606" y="38"/>
                    <a:pt x="606" y="38"/>
                    <a:pt x="606" y="38"/>
                  </a:cubicBezTo>
                  <a:close/>
                  <a:moveTo>
                    <a:pt x="670" y="53"/>
                  </a:moveTo>
                  <a:cubicBezTo>
                    <a:pt x="670" y="54"/>
                    <a:pt x="670" y="54"/>
                    <a:pt x="670" y="54"/>
                  </a:cubicBezTo>
                  <a:cubicBezTo>
                    <a:pt x="670" y="54"/>
                    <a:pt x="670" y="53"/>
                    <a:pt x="670" y="53"/>
                  </a:cubicBezTo>
                  <a:close/>
                  <a:moveTo>
                    <a:pt x="981" y="9"/>
                  </a:moveTo>
                  <a:cubicBezTo>
                    <a:pt x="981" y="9"/>
                    <a:pt x="981" y="9"/>
                    <a:pt x="982" y="9"/>
                  </a:cubicBezTo>
                  <a:cubicBezTo>
                    <a:pt x="981" y="9"/>
                    <a:pt x="981" y="8"/>
                    <a:pt x="981" y="9"/>
                  </a:cubicBezTo>
                  <a:close/>
                  <a:moveTo>
                    <a:pt x="674" y="34"/>
                  </a:moveTo>
                  <a:cubicBezTo>
                    <a:pt x="674" y="34"/>
                    <a:pt x="675" y="34"/>
                    <a:pt x="675" y="33"/>
                  </a:cubicBezTo>
                  <a:cubicBezTo>
                    <a:pt x="675" y="33"/>
                    <a:pt x="674" y="33"/>
                    <a:pt x="674" y="34"/>
                  </a:cubicBezTo>
                  <a:close/>
                  <a:moveTo>
                    <a:pt x="1363" y="16"/>
                  </a:moveTo>
                  <a:cubicBezTo>
                    <a:pt x="1363" y="16"/>
                    <a:pt x="1362" y="16"/>
                    <a:pt x="1362" y="16"/>
                  </a:cubicBezTo>
                  <a:cubicBezTo>
                    <a:pt x="1362" y="16"/>
                    <a:pt x="1363" y="16"/>
                    <a:pt x="1363" y="16"/>
                  </a:cubicBezTo>
                  <a:close/>
                  <a:moveTo>
                    <a:pt x="1376" y="16"/>
                  </a:moveTo>
                  <a:cubicBezTo>
                    <a:pt x="1376" y="16"/>
                    <a:pt x="1375" y="16"/>
                    <a:pt x="1375" y="16"/>
                  </a:cubicBezTo>
                  <a:cubicBezTo>
                    <a:pt x="1375" y="16"/>
                    <a:pt x="1376" y="16"/>
                    <a:pt x="1376" y="16"/>
                  </a:cubicBezTo>
                  <a:close/>
                  <a:moveTo>
                    <a:pt x="690" y="33"/>
                  </a:moveTo>
                  <a:cubicBezTo>
                    <a:pt x="690" y="34"/>
                    <a:pt x="691" y="34"/>
                    <a:pt x="691" y="34"/>
                  </a:cubicBezTo>
                  <a:cubicBezTo>
                    <a:pt x="691" y="33"/>
                    <a:pt x="690" y="33"/>
                    <a:pt x="690" y="33"/>
                  </a:cubicBezTo>
                  <a:close/>
                  <a:moveTo>
                    <a:pt x="1301" y="43"/>
                  </a:moveTo>
                  <a:cubicBezTo>
                    <a:pt x="1301" y="43"/>
                    <a:pt x="1301" y="43"/>
                    <a:pt x="1300" y="44"/>
                  </a:cubicBezTo>
                  <a:cubicBezTo>
                    <a:pt x="1301" y="44"/>
                    <a:pt x="1301" y="44"/>
                    <a:pt x="1301" y="43"/>
                  </a:cubicBezTo>
                  <a:close/>
                  <a:moveTo>
                    <a:pt x="770" y="34"/>
                  </a:moveTo>
                  <a:cubicBezTo>
                    <a:pt x="770" y="34"/>
                    <a:pt x="771" y="34"/>
                    <a:pt x="771" y="33"/>
                  </a:cubicBezTo>
                  <a:cubicBezTo>
                    <a:pt x="771" y="33"/>
                    <a:pt x="770" y="33"/>
                    <a:pt x="770" y="34"/>
                  </a:cubicBezTo>
                  <a:close/>
                  <a:moveTo>
                    <a:pt x="785" y="33"/>
                  </a:moveTo>
                  <a:cubicBezTo>
                    <a:pt x="786" y="34"/>
                    <a:pt x="786" y="34"/>
                    <a:pt x="787" y="34"/>
                  </a:cubicBezTo>
                  <a:cubicBezTo>
                    <a:pt x="786" y="33"/>
                    <a:pt x="786" y="33"/>
                    <a:pt x="785" y="33"/>
                  </a:cubicBezTo>
                  <a:close/>
                  <a:moveTo>
                    <a:pt x="1548" y="16"/>
                  </a:moveTo>
                  <a:cubicBezTo>
                    <a:pt x="1547" y="16"/>
                    <a:pt x="1547" y="16"/>
                    <a:pt x="1546" y="16"/>
                  </a:cubicBezTo>
                  <a:cubicBezTo>
                    <a:pt x="1547" y="16"/>
                    <a:pt x="1547" y="16"/>
                    <a:pt x="1548" y="16"/>
                  </a:cubicBezTo>
                  <a:close/>
                  <a:moveTo>
                    <a:pt x="1666" y="9"/>
                  </a:moveTo>
                  <a:cubicBezTo>
                    <a:pt x="1667" y="9"/>
                    <a:pt x="1667" y="9"/>
                    <a:pt x="1667" y="9"/>
                  </a:cubicBezTo>
                  <a:cubicBezTo>
                    <a:pt x="1667" y="9"/>
                    <a:pt x="1667" y="9"/>
                    <a:pt x="1666" y="9"/>
                  </a:cubicBezTo>
                  <a:close/>
                  <a:moveTo>
                    <a:pt x="1581" y="23"/>
                  </a:moveTo>
                  <a:cubicBezTo>
                    <a:pt x="1581" y="24"/>
                    <a:pt x="1581" y="24"/>
                    <a:pt x="1581" y="24"/>
                  </a:cubicBezTo>
                  <a:cubicBezTo>
                    <a:pt x="1581" y="24"/>
                    <a:pt x="1581" y="23"/>
                    <a:pt x="1581" y="23"/>
                  </a:cubicBezTo>
                  <a:close/>
                  <a:moveTo>
                    <a:pt x="1716" y="16"/>
                  </a:moveTo>
                  <a:cubicBezTo>
                    <a:pt x="1715" y="16"/>
                    <a:pt x="1715" y="16"/>
                    <a:pt x="1715" y="16"/>
                  </a:cubicBezTo>
                  <a:cubicBezTo>
                    <a:pt x="1715" y="16"/>
                    <a:pt x="1715" y="16"/>
                    <a:pt x="1716" y="16"/>
                  </a:cubicBezTo>
                  <a:close/>
                  <a:moveTo>
                    <a:pt x="841" y="34"/>
                  </a:moveTo>
                  <a:cubicBezTo>
                    <a:pt x="842" y="34"/>
                    <a:pt x="842" y="34"/>
                    <a:pt x="842" y="33"/>
                  </a:cubicBezTo>
                  <a:cubicBezTo>
                    <a:pt x="842" y="33"/>
                    <a:pt x="842" y="33"/>
                    <a:pt x="841" y="34"/>
                  </a:cubicBezTo>
                  <a:close/>
                  <a:moveTo>
                    <a:pt x="1395" y="43"/>
                  </a:moveTo>
                  <a:cubicBezTo>
                    <a:pt x="1395" y="44"/>
                    <a:pt x="1395" y="44"/>
                    <a:pt x="1395" y="44"/>
                  </a:cubicBezTo>
                  <a:cubicBezTo>
                    <a:pt x="1396" y="44"/>
                    <a:pt x="1395" y="44"/>
                    <a:pt x="1395" y="43"/>
                  </a:cubicBezTo>
                  <a:close/>
                  <a:moveTo>
                    <a:pt x="615" y="65"/>
                  </a:moveTo>
                  <a:cubicBezTo>
                    <a:pt x="615" y="65"/>
                    <a:pt x="615" y="65"/>
                    <a:pt x="615" y="66"/>
                  </a:cubicBezTo>
                  <a:cubicBezTo>
                    <a:pt x="615" y="65"/>
                    <a:pt x="615" y="65"/>
                    <a:pt x="615" y="65"/>
                  </a:cubicBezTo>
                  <a:close/>
                  <a:moveTo>
                    <a:pt x="718" y="17"/>
                  </a:moveTo>
                  <a:cubicBezTo>
                    <a:pt x="719" y="17"/>
                    <a:pt x="719" y="17"/>
                    <a:pt x="719" y="16"/>
                  </a:cubicBezTo>
                  <a:cubicBezTo>
                    <a:pt x="719" y="16"/>
                    <a:pt x="718" y="16"/>
                    <a:pt x="718" y="17"/>
                  </a:cubicBezTo>
                  <a:close/>
                  <a:moveTo>
                    <a:pt x="1749" y="23"/>
                  </a:moveTo>
                  <a:cubicBezTo>
                    <a:pt x="1749" y="24"/>
                    <a:pt x="1749" y="24"/>
                    <a:pt x="1749" y="24"/>
                  </a:cubicBezTo>
                  <a:cubicBezTo>
                    <a:pt x="1749" y="24"/>
                    <a:pt x="1749" y="23"/>
                    <a:pt x="1749" y="23"/>
                  </a:cubicBezTo>
                  <a:close/>
                  <a:moveTo>
                    <a:pt x="1479" y="20"/>
                  </a:moveTo>
                  <a:cubicBezTo>
                    <a:pt x="1480" y="20"/>
                    <a:pt x="1480" y="20"/>
                    <a:pt x="1480" y="19"/>
                  </a:cubicBezTo>
                  <a:cubicBezTo>
                    <a:pt x="1480" y="19"/>
                    <a:pt x="1480" y="19"/>
                    <a:pt x="1479" y="20"/>
                  </a:cubicBezTo>
                  <a:close/>
                  <a:moveTo>
                    <a:pt x="1580" y="42"/>
                  </a:moveTo>
                  <a:cubicBezTo>
                    <a:pt x="1580" y="42"/>
                    <a:pt x="1580" y="42"/>
                    <a:pt x="1580" y="43"/>
                  </a:cubicBezTo>
                  <a:cubicBezTo>
                    <a:pt x="1580" y="42"/>
                    <a:pt x="1580" y="42"/>
                    <a:pt x="1580" y="42"/>
                  </a:cubicBezTo>
                  <a:close/>
                  <a:moveTo>
                    <a:pt x="1362" y="16"/>
                  </a:moveTo>
                  <a:cubicBezTo>
                    <a:pt x="1362" y="16"/>
                    <a:pt x="1361" y="16"/>
                    <a:pt x="1361" y="17"/>
                  </a:cubicBezTo>
                  <a:cubicBezTo>
                    <a:pt x="1361" y="17"/>
                    <a:pt x="1362" y="17"/>
                    <a:pt x="1362" y="16"/>
                  </a:cubicBezTo>
                  <a:close/>
                  <a:moveTo>
                    <a:pt x="1377" y="17"/>
                  </a:moveTo>
                  <a:cubicBezTo>
                    <a:pt x="1377" y="16"/>
                    <a:pt x="1376" y="16"/>
                    <a:pt x="1376" y="16"/>
                  </a:cubicBezTo>
                  <a:cubicBezTo>
                    <a:pt x="1376" y="17"/>
                    <a:pt x="1377" y="17"/>
                    <a:pt x="1377" y="17"/>
                  </a:cubicBezTo>
                  <a:close/>
                  <a:moveTo>
                    <a:pt x="883" y="34"/>
                  </a:moveTo>
                  <a:cubicBezTo>
                    <a:pt x="883" y="34"/>
                    <a:pt x="883" y="34"/>
                    <a:pt x="884" y="33"/>
                  </a:cubicBezTo>
                  <a:cubicBezTo>
                    <a:pt x="883" y="33"/>
                    <a:pt x="883" y="33"/>
                    <a:pt x="883" y="34"/>
                  </a:cubicBezTo>
                  <a:close/>
                  <a:moveTo>
                    <a:pt x="897" y="33"/>
                  </a:moveTo>
                  <a:cubicBezTo>
                    <a:pt x="898" y="34"/>
                    <a:pt x="898" y="34"/>
                    <a:pt x="898" y="34"/>
                  </a:cubicBezTo>
                  <a:cubicBezTo>
                    <a:pt x="898" y="33"/>
                    <a:pt x="898" y="33"/>
                    <a:pt x="897" y="33"/>
                  </a:cubicBezTo>
                  <a:close/>
                  <a:moveTo>
                    <a:pt x="1068" y="33"/>
                  </a:moveTo>
                  <a:cubicBezTo>
                    <a:pt x="1068" y="34"/>
                    <a:pt x="1068" y="34"/>
                    <a:pt x="1069" y="34"/>
                  </a:cubicBezTo>
                  <a:cubicBezTo>
                    <a:pt x="1068" y="33"/>
                    <a:pt x="1068" y="33"/>
                    <a:pt x="1068" y="33"/>
                  </a:cubicBezTo>
                  <a:close/>
                  <a:moveTo>
                    <a:pt x="1397" y="24"/>
                  </a:moveTo>
                  <a:cubicBezTo>
                    <a:pt x="1397" y="24"/>
                    <a:pt x="1397" y="24"/>
                    <a:pt x="1397" y="25"/>
                  </a:cubicBezTo>
                  <a:cubicBezTo>
                    <a:pt x="1397" y="24"/>
                    <a:pt x="1397" y="24"/>
                    <a:pt x="1397" y="24"/>
                  </a:cubicBezTo>
                  <a:close/>
                  <a:moveTo>
                    <a:pt x="1124" y="34"/>
                  </a:moveTo>
                  <a:cubicBezTo>
                    <a:pt x="1125" y="34"/>
                    <a:pt x="1125" y="34"/>
                    <a:pt x="1126" y="33"/>
                  </a:cubicBezTo>
                  <a:cubicBezTo>
                    <a:pt x="1125" y="33"/>
                    <a:pt x="1125" y="33"/>
                    <a:pt x="1124" y="34"/>
                  </a:cubicBezTo>
                  <a:close/>
                  <a:moveTo>
                    <a:pt x="1139" y="33"/>
                  </a:moveTo>
                  <a:cubicBezTo>
                    <a:pt x="1139" y="34"/>
                    <a:pt x="1140" y="34"/>
                    <a:pt x="1140" y="34"/>
                  </a:cubicBezTo>
                  <a:cubicBezTo>
                    <a:pt x="1140" y="33"/>
                    <a:pt x="1140" y="33"/>
                    <a:pt x="1139" y="33"/>
                  </a:cubicBezTo>
                  <a:close/>
                  <a:moveTo>
                    <a:pt x="1683" y="24"/>
                  </a:moveTo>
                  <a:cubicBezTo>
                    <a:pt x="1683" y="24"/>
                    <a:pt x="1683" y="24"/>
                    <a:pt x="1683" y="25"/>
                  </a:cubicBezTo>
                  <a:cubicBezTo>
                    <a:pt x="1683" y="24"/>
                    <a:pt x="1683" y="24"/>
                    <a:pt x="1683" y="24"/>
                  </a:cubicBezTo>
                  <a:close/>
                  <a:moveTo>
                    <a:pt x="1230" y="34"/>
                  </a:moveTo>
                  <a:cubicBezTo>
                    <a:pt x="1230" y="34"/>
                    <a:pt x="1231" y="34"/>
                    <a:pt x="1231" y="33"/>
                  </a:cubicBezTo>
                  <a:cubicBezTo>
                    <a:pt x="1231" y="33"/>
                    <a:pt x="1230" y="33"/>
                    <a:pt x="1230" y="34"/>
                  </a:cubicBezTo>
                  <a:close/>
                  <a:moveTo>
                    <a:pt x="537" y="25"/>
                  </a:moveTo>
                  <a:cubicBezTo>
                    <a:pt x="538" y="25"/>
                    <a:pt x="538" y="24"/>
                    <a:pt x="538" y="24"/>
                  </a:cubicBezTo>
                  <a:cubicBezTo>
                    <a:pt x="537" y="24"/>
                    <a:pt x="537" y="25"/>
                    <a:pt x="537" y="25"/>
                  </a:cubicBezTo>
                  <a:close/>
                  <a:moveTo>
                    <a:pt x="560" y="17"/>
                  </a:moveTo>
                  <a:cubicBezTo>
                    <a:pt x="560" y="17"/>
                    <a:pt x="559" y="17"/>
                    <a:pt x="559" y="17"/>
                  </a:cubicBezTo>
                  <a:cubicBezTo>
                    <a:pt x="559" y="17"/>
                    <a:pt x="560" y="17"/>
                    <a:pt x="560" y="17"/>
                  </a:cubicBezTo>
                  <a:close/>
                  <a:moveTo>
                    <a:pt x="717" y="17"/>
                  </a:moveTo>
                  <a:cubicBezTo>
                    <a:pt x="717" y="17"/>
                    <a:pt x="718" y="17"/>
                    <a:pt x="718" y="17"/>
                  </a:cubicBezTo>
                  <a:cubicBezTo>
                    <a:pt x="718" y="17"/>
                    <a:pt x="717" y="16"/>
                    <a:pt x="717" y="17"/>
                  </a:cubicBezTo>
                  <a:close/>
                  <a:moveTo>
                    <a:pt x="610" y="50"/>
                  </a:moveTo>
                  <a:cubicBezTo>
                    <a:pt x="610" y="50"/>
                    <a:pt x="610" y="50"/>
                    <a:pt x="610" y="51"/>
                  </a:cubicBezTo>
                  <a:cubicBezTo>
                    <a:pt x="610" y="50"/>
                    <a:pt x="610" y="50"/>
                    <a:pt x="610" y="50"/>
                  </a:cubicBezTo>
                  <a:close/>
                  <a:moveTo>
                    <a:pt x="1478" y="20"/>
                  </a:moveTo>
                  <a:cubicBezTo>
                    <a:pt x="1479" y="20"/>
                    <a:pt x="1479" y="20"/>
                    <a:pt x="1479" y="20"/>
                  </a:cubicBezTo>
                  <a:cubicBezTo>
                    <a:pt x="1479" y="20"/>
                    <a:pt x="1479" y="20"/>
                    <a:pt x="1478" y="20"/>
                  </a:cubicBezTo>
                  <a:close/>
                  <a:moveTo>
                    <a:pt x="1748" y="42"/>
                  </a:moveTo>
                  <a:cubicBezTo>
                    <a:pt x="1748" y="42"/>
                    <a:pt x="1748" y="42"/>
                    <a:pt x="1748" y="43"/>
                  </a:cubicBezTo>
                  <a:cubicBezTo>
                    <a:pt x="1749" y="42"/>
                    <a:pt x="1748" y="42"/>
                    <a:pt x="1748" y="42"/>
                  </a:cubicBezTo>
                  <a:close/>
                  <a:moveTo>
                    <a:pt x="601" y="57"/>
                  </a:moveTo>
                  <a:cubicBezTo>
                    <a:pt x="601" y="56"/>
                    <a:pt x="601" y="56"/>
                    <a:pt x="600" y="56"/>
                  </a:cubicBezTo>
                  <a:cubicBezTo>
                    <a:pt x="600" y="56"/>
                    <a:pt x="600" y="56"/>
                    <a:pt x="601" y="57"/>
                  </a:cubicBezTo>
                  <a:close/>
                  <a:moveTo>
                    <a:pt x="1245" y="33"/>
                  </a:moveTo>
                  <a:cubicBezTo>
                    <a:pt x="1246" y="34"/>
                    <a:pt x="1246" y="34"/>
                    <a:pt x="1246" y="34"/>
                  </a:cubicBezTo>
                  <a:cubicBezTo>
                    <a:pt x="1246" y="33"/>
                    <a:pt x="1246" y="33"/>
                    <a:pt x="1245" y="33"/>
                  </a:cubicBezTo>
                  <a:close/>
                  <a:moveTo>
                    <a:pt x="608" y="44"/>
                  </a:moveTo>
                  <a:cubicBezTo>
                    <a:pt x="608" y="44"/>
                    <a:pt x="608" y="45"/>
                    <a:pt x="608" y="45"/>
                  </a:cubicBezTo>
                  <a:cubicBezTo>
                    <a:pt x="608" y="44"/>
                    <a:pt x="608" y="44"/>
                    <a:pt x="608" y="44"/>
                  </a:cubicBezTo>
                  <a:close/>
                  <a:moveTo>
                    <a:pt x="641" y="43"/>
                  </a:moveTo>
                  <a:cubicBezTo>
                    <a:pt x="641" y="43"/>
                    <a:pt x="642" y="42"/>
                    <a:pt x="642" y="42"/>
                  </a:cubicBezTo>
                  <a:cubicBezTo>
                    <a:pt x="641" y="42"/>
                    <a:pt x="641" y="43"/>
                    <a:pt x="641" y="43"/>
                  </a:cubicBezTo>
                  <a:close/>
                  <a:moveTo>
                    <a:pt x="1466" y="24"/>
                  </a:moveTo>
                  <a:cubicBezTo>
                    <a:pt x="1466" y="24"/>
                    <a:pt x="1466" y="25"/>
                    <a:pt x="1467" y="25"/>
                  </a:cubicBezTo>
                  <a:cubicBezTo>
                    <a:pt x="1467" y="25"/>
                    <a:pt x="1467" y="24"/>
                    <a:pt x="1466" y="24"/>
                  </a:cubicBezTo>
                  <a:close/>
                  <a:moveTo>
                    <a:pt x="1301" y="34"/>
                  </a:moveTo>
                  <a:cubicBezTo>
                    <a:pt x="1302" y="34"/>
                    <a:pt x="1302" y="34"/>
                    <a:pt x="1302" y="33"/>
                  </a:cubicBezTo>
                  <a:cubicBezTo>
                    <a:pt x="1302" y="33"/>
                    <a:pt x="1301" y="33"/>
                    <a:pt x="1301" y="34"/>
                  </a:cubicBezTo>
                  <a:close/>
                  <a:moveTo>
                    <a:pt x="1310" y="33"/>
                  </a:moveTo>
                  <a:cubicBezTo>
                    <a:pt x="1310" y="34"/>
                    <a:pt x="1311" y="34"/>
                    <a:pt x="1311" y="34"/>
                  </a:cubicBezTo>
                  <a:cubicBezTo>
                    <a:pt x="1311" y="33"/>
                    <a:pt x="1310" y="33"/>
                    <a:pt x="1310" y="33"/>
                  </a:cubicBezTo>
                  <a:close/>
                  <a:moveTo>
                    <a:pt x="672" y="34"/>
                  </a:moveTo>
                  <a:cubicBezTo>
                    <a:pt x="673" y="34"/>
                    <a:pt x="673" y="34"/>
                    <a:pt x="674" y="34"/>
                  </a:cubicBezTo>
                  <a:cubicBezTo>
                    <a:pt x="673" y="34"/>
                    <a:pt x="673" y="34"/>
                    <a:pt x="672" y="34"/>
                  </a:cubicBezTo>
                  <a:close/>
                  <a:moveTo>
                    <a:pt x="691" y="34"/>
                  </a:moveTo>
                  <a:cubicBezTo>
                    <a:pt x="691" y="34"/>
                    <a:pt x="692" y="34"/>
                    <a:pt x="692" y="34"/>
                  </a:cubicBezTo>
                  <a:cubicBezTo>
                    <a:pt x="692" y="34"/>
                    <a:pt x="692" y="34"/>
                    <a:pt x="691" y="34"/>
                  </a:cubicBezTo>
                  <a:close/>
                  <a:moveTo>
                    <a:pt x="640" y="47"/>
                  </a:moveTo>
                  <a:cubicBezTo>
                    <a:pt x="640" y="47"/>
                    <a:pt x="640" y="46"/>
                    <a:pt x="640" y="46"/>
                  </a:cubicBezTo>
                  <a:cubicBezTo>
                    <a:pt x="640" y="46"/>
                    <a:pt x="640" y="46"/>
                    <a:pt x="640" y="47"/>
                  </a:cubicBezTo>
                  <a:close/>
                  <a:moveTo>
                    <a:pt x="632" y="67"/>
                  </a:moveTo>
                  <a:cubicBezTo>
                    <a:pt x="633" y="66"/>
                    <a:pt x="633" y="66"/>
                    <a:pt x="633" y="66"/>
                  </a:cubicBezTo>
                  <a:cubicBezTo>
                    <a:pt x="632" y="66"/>
                    <a:pt x="632" y="66"/>
                    <a:pt x="632" y="67"/>
                  </a:cubicBezTo>
                  <a:close/>
                  <a:moveTo>
                    <a:pt x="840" y="34"/>
                  </a:moveTo>
                  <a:cubicBezTo>
                    <a:pt x="841" y="34"/>
                    <a:pt x="841" y="34"/>
                    <a:pt x="841" y="34"/>
                  </a:cubicBezTo>
                  <a:cubicBezTo>
                    <a:pt x="841" y="34"/>
                    <a:pt x="841" y="34"/>
                    <a:pt x="840" y="34"/>
                  </a:cubicBezTo>
                  <a:close/>
                  <a:moveTo>
                    <a:pt x="1264" y="52"/>
                  </a:moveTo>
                  <a:cubicBezTo>
                    <a:pt x="1264" y="53"/>
                    <a:pt x="1264" y="53"/>
                    <a:pt x="1265" y="54"/>
                  </a:cubicBezTo>
                  <a:cubicBezTo>
                    <a:pt x="1265" y="53"/>
                    <a:pt x="1265" y="53"/>
                    <a:pt x="1264" y="52"/>
                  </a:cubicBezTo>
                  <a:close/>
                  <a:moveTo>
                    <a:pt x="632" y="68"/>
                  </a:moveTo>
                  <a:cubicBezTo>
                    <a:pt x="632" y="67"/>
                    <a:pt x="632" y="67"/>
                    <a:pt x="632" y="67"/>
                  </a:cubicBezTo>
                  <a:cubicBezTo>
                    <a:pt x="632" y="67"/>
                    <a:pt x="632" y="67"/>
                    <a:pt x="632" y="68"/>
                  </a:cubicBezTo>
                  <a:close/>
                  <a:moveTo>
                    <a:pt x="559" y="17"/>
                  </a:moveTo>
                  <a:cubicBezTo>
                    <a:pt x="559" y="17"/>
                    <a:pt x="558" y="17"/>
                    <a:pt x="558" y="17"/>
                  </a:cubicBezTo>
                  <a:cubicBezTo>
                    <a:pt x="558" y="17"/>
                    <a:pt x="559" y="17"/>
                    <a:pt x="559" y="17"/>
                  </a:cubicBezTo>
                  <a:close/>
                  <a:moveTo>
                    <a:pt x="576" y="17"/>
                  </a:moveTo>
                  <a:cubicBezTo>
                    <a:pt x="576" y="17"/>
                    <a:pt x="576" y="17"/>
                    <a:pt x="575" y="17"/>
                  </a:cubicBezTo>
                  <a:cubicBezTo>
                    <a:pt x="576" y="17"/>
                    <a:pt x="576" y="17"/>
                    <a:pt x="576" y="17"/>
                  </a:cubicBezTo>
                  <a:close/>
                  <a:moveTo>
                    <a:pt x="716" y="17"/>
                  </a:moveTo>
                  <a:cubicBezTo>
                    <a:pt x="716" y="17"/>
                    <a:pt x="717" y="17"/>
                    <a:pt x="717" y="17"/>
                  </a:cubicBezTo>
                  <a:cubicBezTo>
                    <a:pt x="717" y="17"/>
                    <a:pt x="716" y="17"/>
                    <a:pt x="716" y="17"/>
                  </a:cubicBezTo>
                  <a:close/>
                  <a:moveTo>
                    <a:pt x="989" y="17"/>
                  </a:moveTo>
                  <a:cubicBezTo>
                    <a:pt x="989" y="17"/>
                    <a:pt x="988" y="17"/>
                    <a:pt x="988" y="17"/>
                  </a:cubicBezTo>
                  <a:cubicBezTo>
                    <a:pt x="989" y="17"/>
                    <a:pt x="989" y="17"/>
                    <a:pt x="989" y="17"/>
                  </a:cubicBezTo>
                  <a:close/>
                  <a:moveTo>
                    <a:pt x="1010" y="17"/>
                  </a:moveTo>
                  <a:cubicBezTo>
                    <a:pt x="1010" y="17"/>
                    <a:pt x="1009" y="17"/>
                    <a:pt x="1009" y="17"/>
                  </a:cubicBezTo>
                  <a:cubicBezTo>
                    <a:pt x="1009" y="17"/>
                    <a:pt x="1010" y="17"/>
                    <a:pt x="1010" y="17"/>
                  </a:cubicBezTo>
                  <a:close/>
                  <a:moveTo>
                    <a:pt x="1477" y="21"/>
                  </a:moveTo>
                  <a:cubicBezTo>
                    <a:pt x="1478" y="20"/>
                    <a:pt x="1478" y="20"/>
                    <a:pt x="1478" y="20"/>
                  </a:cubicBezTo>
                  <a:cubicBezTo>
                    <a:pt x="1478" y="20"/>
                    <a:pt x="1477" y="20"/>
                    <a:pt x="1477" y="21"/>
                  </a:cubicBezTo>
                  <a:close/>
                  <a:moveTo>
                    <a:pt x="1030" y="58"/>
                  </a:moveTo>
                  <a:cubicBezTo>
                    <a:pt x="1031" y="57"/>
                    <a:pt x="1031" y="57"/>
                    <a:pt x="1031" y="57"/>
                  </a:cubicBezTo>
                  <a:cubicBezTo>
                    <a:pt x="1030" y="57"/>
                    <a:pt x="1030" y="57"/>
                    <a:pt x="1030" y="58"/>
                  </a:cubicBezTo>
                  <a:close/>
                  <a:moveTo>
                    <a:pt x="898" y="34"/>
                  </a:moveTo>
                  <a:cubicBezTo>
                    <a:pt x="899" y="34"/>
                    <a:pt x="899" y="34"/>
                    <a:pt x="899" y="34"/>
                  </a:cubicBezTo>
                  <a:cubicBezTo>
                    <a:pt x="899" y="34"/>
                    <a:pt x="899" y="34"/>
                    <a:pt x="898" y="34"/>
                  </a:cubicBezTo>
                  <a:close/>
                  <a:moveTo>
                    <a:pt x="911" y="47"/>
                  </a:moveTo>
                  <a:cubicBezTo>
                    <a:pt x="911" y="47"/>
                    <a:pt x="911" y="48"/>
                    <a:pt x="911" y="48"/>
                  </a:cubicBezTo>
                  <a:cubicBezTo>
                    <a:pt x="911" y="48"/>
                    <a:pt x="911" y="47"/>
                    <a:pt x="911" y="47"/>
                  </a:cubicBezTo>
                  <a:close/>
                  <a:moveTo>
                    <a:pt x="651" y="46"/>
                  </a:moveTo>
                  <a:cubicBezTo>
                    <a:pt x="651" y="46"/>
                    <a:pt x="651" y="46"/>
                    <a:pt x="651" y="47"/>
                  </a:cubicBezTo>
                  <a:cubicBezTo>
                    <a:pt x="651" y="47"/>
                    <a:pt x="651" y="46"/>
                    <a:pt x="651" y="46"/>
                  </a:cubicBezTo>
                  <a:close/>
                  <a:moveTo>
                    <a:pt x="1051" y="34"/>
                  </a:moveTo>
                  <a:cubicBezTo>
                    <a:pt x="1051" y="34"/>
                    <a:pt x="1052" y="34"/>
                    <a:pt x="1052" y="34"/>
                  </a:cubicBezTo>
                  <a:cubicBezTo>
                    <a:pt x="1052" y="34"/>
                    <a:pt x="1051" y="34"/>
                    <a:pt x="1051" y="34"/>
                  </a:cubicBezTo>
                  <a:close/>
                  <a:moveTo>
                    <a:pt x="804" y="50"/>
                  </a:moveTo>
                  <a:cubicBezTo>
                    <a:pt x="804" y="51"/>
                    <a:pt x="804" y="51"/>
                    <a:pt x="804" y="51"/>
                  </a:cubicBezTo>
                  <a:cubicBezTo>
                    <a:pt x="804" y="51"/>
                    <a:pt x="804" y="51"/>
                    <a:pt x="804" y="50"/>
                  </a:cubicBezTo>
                  <a:close/>
                  <a:moveTo>
                    <a:pt x="1683" y="25"/>
                  </a:moveTo>
                  <a:cubicBezTo>
                    <a:pt x="1683" y="25"/>
                    <a:pt x="1683" y="25"/>
                    <a:pt x="1684" y="26"/>
                  </a:cubicBezTo>
                  <a:cubicBezTo>
                    <a:pt x="1684" y="25"/>
                    <a:pt x="1684" y="25"/>
                    <a:pt x="1683" y="25"/>
                  </a:cubicBezTo>
                  <a:close/>
                  <a:moveTo>
                    <a:pt x="1069" y="34"/>
                  </a:moveTo>
                  <a:cubicBezTo>
                    <a:pt x="1069" y="34"/>
                    <a:pt x="1070" y="34"/>
                    <a:pt x="1070" y="34"/>
                  </a:cubicBezTo>
                  <a:cubicBezTo>
                    <a:pt x="1070" y="34"/>
                    <a:pt x="1069" y="34"/>
                    <a:pt x="1069" y="34"/>
                  </a:cubicBezTo>
                  <a:close/>
                  <a:moveTo>
                    <a:pt x="638" y="51"/>
                  </a:moveTo>
                  <a:cubicBezTo>
                    <a:pt x="639" y="50"/>
                    <a:pt x="639" y="50"/>
                    <a:pt x="639" y="50"/>
                  </a:cubicBezTo>
                  <a:cubicBezTo>
                    <a:pt x="638" y="50"/>
                    <a:pt x="638" y="50"/>
                    <a:pt x="638" y="51"/>
                  </a:cubicBezTo>
                  <a:close/>
                  <a:moveTo>
                    <a:pt x="1123" y="34"/>
                  </a:moveTo>
                  <a:cubicBezTo>
                    <a:pt x="1124" y="34"/>
                    <a:pt x="1124" y="34"/>
                    <a:pt x="1124" y="34"/>
                  </a:cubicBezTo>
                  <a:cubicBezTo>
                    <a:pt x="1124" y="34"/>
                    <a:pt x="1124" y="34"/>
                    <a:pt x="1123" y="34"/>
                  </a:cubicBezTo>
                  <a:close/>
                  <a:moveTo>
                    <a:pt x="1140" y="34"/>
                  </a:moveTo>
                  <a:cubicBezTo>
                    <a:pt x="1141" y="34"/>
                    <a:pt x="1141" y="34"/>
                    <a:pt x="1141" y="34"/>
                  </a:cubicBezTo>
                  <a:cubicBezTo>
                    <a:pt x="1141" y="34"/>
                    <a:pt x="1141" y="34"/>
                    <a:pt x="1140" y="34"/>
                  </a:cubicBezTo>
                  <a:close/>
                  <a:moveTo>
                    <a:pt x="1385" y="26"/>
                  </a:moveTo>
                  <a:cubicBezTo>
                    <a:pt x="1385" y="26"/>
                    <a:pt x="1385" y="25"/>
                    <a:pt x="1385" y="25"/>
                  </a:cubicBezTo>
                  <a:cubicBezTo>
                    <a:pt x="1385" y="25"/>
                    <a:pt x="1385" y="26"/>
                    <a:pt x="1385" y="26"/>
                  </a:cubicBezTo>
                  <a:close/>
                  <a:moveTo>
                    <a:pt x="1414" y="26"/>
                  </a:moveTo>
                  <a:cubicBezTo>
                    <a:pt x="1414" y="26"/>
                    <a:pt x="1414" y="25"/>
                    <a:pt x="1414" y="25"/>
                  </a:cubicBezTo>
                  <a:cubicBezTo>
                    <a:pt x="1414" y="25"/>
                    <a:pt x="1414" y="26"/>
                    <a:pt x="1414" y="26"/>
                  </a:cubicBezTo>
                  <a:close/>
                  <a:moveTo>
                    <a:pt x="952" y="43"/>
                  </a:moveTo>
                  <a:cubicBezTo>
                    <a:pt x="952" y="43"/>
                    <a:pt x="952" y="42"/>
                    <a:pt x="952" y="42"/>
                  </a:cubicBezTo>
                  <a:cubicBezTo>
                    <a:pt x="952" y="42"/>
                    <a:pt x="952" y="43"/>
                    <a:pt x="952" y="43"/>
                  </a:cubicBezTo>
                  <a:close/>
                  <a:moveTo>
                    <a:pt x="1467" y="25"/>
                  </a:moveTo>
                  <a:cubicBezTo>
                    <a:pt x="1467" y="25"/>
                    <a:pt x="1467" y="26"/>
                    <a:pt x="1467" y="26"/>
                  </a:cubicBezTo>
                  <a:cubicBezTo>
                    <a:pt x="1467" y="26"/>
                    <a:pt x="1467" y="25"/>
                    <a:pt x="1467" y="25"/>
                  </a:cubicBezTo>
                  <a:close/>
                  <a:moveTo>
                    <a:pt x="1229" y="34"/>
                  </a:moveTo>
                  <a:cubicBezTo>
                    <a:pt x="1229" y="34"/>
                    <a:pt x="1230" y="34"/>
                    <a:pt x="1230" y="34"/>
                  </a:cubicBezTo>
                  <a:cubicBezTo>
                    <a:pt x="1229" y="34"/>
                    <a:pt x="1229" y="34"/>
                    <a:pt x="1229" y="34"/>
                  </a:cubicBezTo>
                  <a:close/>
                  <a:moveTo>
                    <a:pt x="715" y="18"/>
                  </a:moveTo>
                  <a:cubicBezTo>
                    <a:pt x="715" y="18"/>
                    <a:pt x="716" y="18"/>
                    <a:pt x="716" y="17"/>
                  </a:cubicBezTo>
                  <a:cubicBezTo>
                    <a:pt x="716" y="17"/>
                    <a:pt x="715" y="17"/>
                    <a:pt x="715" y="18"/>
                  </a:cubicBezTo>
                  <a:close/>
                  <a:moveTo>
                    <a:pt x="988" y="17"/>
                  </a:moveTo>
                  <a:cubicBezTo>
                    <a:pt x="988" y="17"/>
                    <a:pt x="987" y="17"/>
                    <a:pt x="987" y="18"/>
                  </a:cubicBezTo>
                  <a:cubicBezTo>
                    <a:pt x="987" y="18"/>
                    <a:pt x="988" y="18"/>
                    <a:pt x="988" y="17"/>
                  </a:cubicBezTo>
                  <a:close/>
                  <a:moveTo>
                    <a:pt x="1011" y="18"/>
                  </a:moveTo>
                  <a:cubicBezTo>
                    <a:pt x="1011" y="17"/>
                    <a:pt x="1011" y="17"/>
                    <a:pt x="1010" y="17"/>
                  </a:cubicBezTo>
                  <a:cubicBezTo>
                    <a:pt x="1010" y="18"/>
                    <a:pt x="1011" y="18"/>
                    <a:pt x="1011" y="18"/>
                  </a:cubicBezTo>
                  <a:close/>
                  <a:moveTo>
                    <a:pt x="1247" y="34"/>
                  </a:moveTo>
                  <a:cubicBezTo>
                    <a:pt x="1247" y="34"/>
                    <a:pt x="1247" y="34"/>
                    <a:pt x="1248" y="34"/>
                  </a:cubicBezTo>
                  <a:cubicBezTo>
                    <a:pt x="1248" y="34"/>
                    <a:pt x="1247" y="34"/>
                    <a:pt x="1247" y="34"/>
                  </a:cubicBezTo>
                  <a:close/>
                  <a:moveTo>
                    <a:pt x="1209" y="56"/>
                  </a:moveTo>
                  <a:cubicBezTo>
                    <a:pt x="1209" y="56"/>
                    <a:pt x="1209" y="56"/>
                    <a:pt x="1209" y="55"/>
                  </a:cubicBezTo>
                  <a:cubicBezTo>
                    <a:pt x="1208" y="55"/>
                    <a:pt x="1209" y="56"/>
                    <a:pt x="1209" y="56"/>
                  </a:cubicBezTo>
                  <a:close/>
                  <a:moveTo>
                    <a:pt x="901" y="53"/>
                  </a:moveTo>
                  <a:cubicBezTo>
                    <a:pt x="901" y="53"/>
                    <a:pt x="901" y="53"/>
                    <a:pt x="901" y="52"/>
                  </a:cubicBezTo>
                  <a:cubicBezTo>
                    <a:pt x="901" y="53"/>
                    <a:pt x="900" y="53"/>
                    <a:pt x="901" y="53"/>
                  </a:cubicBezTo>
                  <a:close/>
                  <a:moveTo>
                    <a:pt x="549" y="34"/>
                  </a:moveTo>
                  <a:cubicBezTo>
                    <a:pt x="549" y="34"/>
                    <a:pt x="549" y="35"/>
                    <a:pt x="549" y="35"/>
                  </a:cubicBezTo>
                  <a:cubicBezTo>
                    <a:pt x="549" y="35"/>
                    <a:pt x="549" y="34"/>
                    <a:pt x="549" y="34"/>
                  </a:cubicBezTo>
                  <a:close/>
                  <a:moveTo>
                    <a:pt x="671" y="34"/>
                  </a:moveTo>
                  <a:cubicBezTo>
                    <a:pt x="672" y="34"/>
                    <a:pt x="672" y="34"/>
                    <a:pt x="673" y="34"/>
                  </a:cubicBezTo>
                  <a:cubicBezTo>
                    <a:pt x="672" y="34"/>
                    <a:pt x="672" y="34"/>
                    <a:pt x="671" y="34"/>
                  </a:cubicBezTo>
                  <a:close/>
                  <a:moveTo>
                    <a:pt x="692" y="34"/>
                  </a:moveTo>
                  <a:cubicBezTo>
                    <a:pt x="693" y="34"/>
                    <a:pt x="693" y="34"/>
                    <a:pt x="693" y="34"/>
                  </a:cubicBezTo>
                  <a:cubicBezTo>
                    <a:pt x="693" y="34"/>
                    <a:pt x="693" y="34"/>
                    <a:pt x="692" y="34"/>
                  </a:cubicBezTo>
                  <a:close/>
                  <a:moveTo>
                    <a:pt x="1581" y="40"/>
                  </a:moveTo>
                  <a:cubicBezTo>
                    <a:pt x="1580" y="41"/>
                    <a:pt x="1580" y="41"/>
                    <a:pt x="1580" y="42"/>
                  </a:cubicBezTo>
                  <a:cubicBezTo>
                    <a:pt x="1581" y="41"/>
                    <a:pt x="1581" y="41"/>
                    <a:pt x="1581" y="40"/>
                  </a:cubicBezTo>
                  <a:close/>
                  <a:moveTo>
                    <a:pt x="653" y="42"/>
                  </a:moveTo>
                  <a:cubicBezTo>
                    <a:pt x="652" y="43"/>
                    <a:pt x="652" y="43"/>
                    <a:pt x="652" y="43"/>
                  </a:cubicBezTo>
                  <a:cubicBezTo>
                    <a:pt x="653" y="43"/>
                    <a:pt x="653" y="43"/>
                    <a:pt x="653" y="42"/>
                  </a:cubicBezTo>
                  <a:close/>
                  <a:moveTo>
                    <a:pt x="678" y="42"/>
                  </a:moveTo>
                  <a:cubicBezTo>
                    <a:pt x="677" y="42"/>
                    <a:pt x="677" y="42"/>
                    <a:pt x="677" y="43"/>
                  </a:cubicBezTo>
                  <a:cubicBezTo>
                    <a:pt x="677" y="43"/>
                    <a:pt x="677" y="43"/>
                    <a:pt x="678" y="42"/>
                  </a:cubicBezTo>
                  <a:close/>
                  <a:moveTo>
                    <a:pt x="604" y="65"/>
                  </a:moveTo>
                  <a:cubicBezTo>
                    <a:pt x="604" y="64"/>
                    <a:pt x="604" y="64"/>
                    <a:pt x="604" y="64"/>
                  </a:cubicBezTo>
                  <a:cubicBezTo>
                    <a:pt x="604" y="64"/>
                    <a:pt x="603" y="64"/>
                    <a:pt x="604" y="65"/>
                  </a:cubicBezTo>
                  <a:close/>
                  <a:moveTo>
                    <a:pt x="610" y="51"/>
                  </a:moveTo>
                  <a:cubicBezTo>
                    <a:pt x="610" y="51"/>
                    <a:pt x="610" y="51"/>
                    <a:pt x="611" y="52"/>
                  </a:cubicBezTo>
                  <a:cubicBezTo>
                    <a:pt x="611" y="51"/>
                    <a:pt x="611" y="51"/>
                    <a:pt x="610" y="51"/>
                  </a:cubicBezTo>
                  <a:close/>
                  <a:moveTo>
                    <a:pt x="1153" y="47"/>
                  </a:moveTo>
                  <a:cubicBezTo>
                    <a:pt x="1153" y="47"/>
                    <a:pt x="1153" y="48"/>
                    <a:pt x="1154" y="48"/>
                  </a:cubicBezTo>
                  <a:cubicBezTo>
                    <a:pt x="1154" y="48"/>
                    <a:pt x="1154" y="47"/>
                    <a:pt x="1153" y="47"/>
                  </a:cubicBezTo>
                  <a:close/>
                  <a:moveTo>
                    <a:pt x="598" y="50"/>
                  </a:moveTo>
                  <a:cubicBezTo>
                    <a:pt x="598" y="50"/>
                    <a:pt x="598" y="50"/>
                    <a:pt x="598" y="49"/>
                  </a:cubicBezTo>
                  <a:cubicBezTo>
                    <a:pt x="598" y="50"/>
                    <a:pt x="598" y="50"/>
                    <a:pt x="598" y="50"/>
                  </a:cubicBezTo>
                  <a:close/>
                  <a:moveTo>
                    <a:pt x="829" y="55"/>
                  </a:moveTo>
                  <a:cubicBezTo>
                    <a:pt x="829" y="55"/>
                    <a:pt x="829" y="56"/>
                    <a:pt x="829" y="56"/>
                  </a:cubicBezTo>
                  <a:cubicBezTo>
                    <a:pt x="829" y="56"/>
                    <a:pt x="829" y="55"/>
                    <a:pt x="829" y="55"/>
                  </a:cubicBezTo>
                  <a:close/>
                  <a:moveTo>
                    <a:pt x="841" y="42"/>
                  </a:moveTo>
                  <a:cubicBezTo>
                    <a:pt x="841" y="42"/>
                    <a:pt x="840" y="42"/>
                    <a:pt x="840" y="43"/>
                  </a:cubicBezTo>
                  <a:cubicBezTo>
                    <a:pt x="840" y="43"/>
                    <a:pt x="841" y="43"/>
                    <a:pt x="841" y="42"/>
                  </a:cubicBezTo>
                  <a:close/>
                  <a:moveTo>
                    <a:pt x="849" y="43"/>
                  </a:moveTo>
                  <a:cubicBezTo>
                    <a:pt x="849" y="42"/>
                    <a:pt x="848" y="42"/>
                    <a:pt x="848" y="42"/>
                  </a:cubicBezTo>
                  <a:cubicBezTo>
                    <a:pt x="848" y="43"/>
                    <a:pt x="849" y="43"/>
                    <a:pt x="849" y="43"/>
                  </a:cubicBezTo>
                  <a:close/>
                  <a:moveTo>
                    <a:pt x="1385" y="39"/>
                  </a:moveTo>
                  <a:cubicBezTo>
                    <a:pt x="1386" y="39"/>
                    <a:pt x="1386" y="38"/>
                    <a:pt x="1386" y="38"/>
                  </a:cubicBezTo>
                  <a:cubicBezTo>
                    <a:pt x="1385" y="38"/>
                    <a:pt x="1385" y="39"/>
                    <a:pt x="1385" y="39"/>
                  </a:cubicBezTo>
                  <a:close/>
                  <a:moveTo>
                    <a:pt x="1570" y="27"/>
                  </a:moveTo>
                  <a:cubicBezTo>
                    <a:pt x="1570" y="26"/>
                    <a:pt x="1570" y="26"/>
                    <a:pt x="1570" y="26"/>
                  </a:cubicBezTo>
                  <a:cubicBezTo>
                    <a:pt x="1570" y="26"/>
                    <a:pt x="1569" y="26"/>
                    <a:pt x="1570" y="27"/>
                  </a:cubicBezTo>
                  <a:close/>
                  <a:moveTo>
                    <a:pt x="803" y="49"/>
                  </a:moveTo>
                  <a:cubicBezTo>
                    <a:pt x="803" y="50"/>
                    <a:pt x="803" y="50"/>
                    <a:pt x="804" y="50"/>
                  </a:cubicBezTo>
                  <a:cubicBezTo>
                    <a:pt x="804" y="50"/>
                    <a:pt x="804" y="50"/>
                    <a:pt x="803" y="49"/>
                  </a:cubicBezTo>
                  <a:close/>
                  <a:moveTo>
                    <a:pt x="1738" y="27"/>
                  </a:moveTo>
                  <a:cubicBezTo>
                    <a:pt x="1738" y="26"/>
                    <a:pt x="1738" y="26"/>
                    <a:pt x="1738" y="26"/>
                  </a:cubicBezTo>
                  <a:cubicBezTo>
                    <a:pt x="1738" y="26"/>
                    <a:pt x="1738" y="26"/>
                    <a:pt x="1738" y="27"/>
                  </a:cubicBezTo>
                  <a:close/>
                  <a:moveTo>
                    <a:pt x="892" y="43"/>
                  </a:moveTo>
                  <a:cubicBezTo>
                    <a:pt x="892" y="42"/>
                    <a:pt x="891" y="42"/>
                    <a:pt x="891" y="42"/>
                  </a:cubicBezTo>
                  <a:cubicBezTo>
                    <a:pt x="891" y="43"/>
                    <a:pt x="892" y="43"/>
                    <a:pt x="892" y="43"/>
                  </a:cubicBezTo>
                  <a:close/>
                  <a:moveTo>
                    <a:pt x="964" y="42"/>
                  </a:moveTo>
                  <a:cubicBezTo>
                    <a:pt x="964" y="43"/>
                    <a:pt x="964" y="43"/>
                    <a:pt x="964" y="43"/>
                  </a:cubicBezTo>
                  <a:cubicBezTo>
                    <a:pt x="964" y="43"/>
                    <a:pt x="964" y="43"/>
                    <a:pt x="964" y="42"/>
                  </a:cubicBezTo>
                  <a:close/>
                  <a:moveTo>
                    <a:pt x="1125" y="42"/>
                  </a:moveTo>
                  <a:cubicBezTo>
                    <a:pt x="1125" y="42"/>
                    <a:pt x="1124" y="42"/>
                    <a:pt x="1124" y="43"/>
                  </a:cubicBezTo>
                  <a:cubicBezTo>
                    <a:pt x="1124" y="43"/>
                    <a:pt x="1125" y="43"/>
                    <a:pt x="1125" y="42"/>
                  </a:cubicBezTo>
                  <a:close/>
                  <a:moveTo>
                    <a:pt x="549" y="26"/>
                  </a:moveTo>
                  <a:cubicBezTo>
                    <a:pt x="549" y="26"/>
                    <a:pt x="549" y="27"/>
                    <a:pt x="549" y="27"/>
                  </a:cubicBezTo>
                  <a:cubicBezTo>
                    <a:pt x="549" y="27"/>
                    <a:pt x="549" y="26"/>
                    <a:pt x="549" y="26"/>
                  </a:cubicBezTo>
                  <a:close/>
                  <a:moveTo>
                    <a:pt x="1737" y="42"/>
                  </a:moveTo>
                  <a:cubicBezTo>
                    <a:pt x="1737" y="41"/>
                    <a:pt x="1737" y="41"/>
                    <a:pt x="1737" y="41"/>
                  </a:cubicBezTo>
                  <a:cubicBezTo>
                    <a:pt x="1737" y="41"/>
                    <a:pt x="1737" y="41"/>
                    <a:pt x="1737" y="42"/>
                  </a:cubicBezTo>
                  <a:close/>
                  <a:moveTo>
                    <a:pt x="1396" y="21"/>
                  </a:moveTo>
                  <a:cubicBezTo>
                    <a:pt x="1396" y="22"/>
                    <a:pt x="1396" y="22"/>
                    <a:pt x="1396" y="22"/>
                  </a:cubicBezTo>
                  <a:cubicBezTo>
                    <a:pt x="1396" y="22"/>
                    <a:pt x="1396" y="21"/>
                    <a:pt x="1396" y="21"/>
                  </a:cubicBezTo>
                  <a:close/>
                  <a:moveTo>
                    <a:pt x="1013" y="18"/>
                  </a:moveTo>
                  <a:cubicBezTo>
                    <a:pt x="1012" y="18"/>
                    <a:pt x="1012" y="18"/>
                    <a:pt x="1012" y="18"/>
                  </a:cubicBezTo>
                  <a:cubicBezTo>
                    <a:pt x="1012" y="18"/>
                    <a:pt x="1012" y="18"/>
                    <a:pt x="1013" y="18"/>
                  </a:cubicBezTo>
                  <a:close/>
                  <a:moveTo>
                    <a:pt x="1386" y="27"/>
                  </a:moveTo>
                  <a:cubicBezTo>
                    <a:pt x="1386" y="27"/>
                    <a:pt x="1386" y="26"/>
                    <a:pt x="1385" y="26"/>
                  </a:cubicBezTo>
                  <a:cubicBezTo>
                    <a:pt x="1385" y="26"/>
                    <a:pt x="1385" y="27"/>
                    <a:pt x="1386" y="27"/>
                  </a:cubicBezTo>
                  <a:close/>
                  <a:moveTo>
                    <a:pt x="1050" y="34"/>
                  </a:moveTo>
                  <a:cubicBezTo>
                    <a:pt x="1050" y="34"/>
                    <a:pt x="1051" y="34"/>
                    <a:pt x="1051" y="34"/>
                  </a:cubicBezTo>
                  <a:cubicBezTo>
                    <a:pt x="1050" y="34"/>
                    <a:pt x="1050" y="34"/>
                    <a:pt x="1050" y="34"/>
                  </a:cubicBezTo>
                  <a:close/>
                  <a:moveTo>
                    <a:pt x="1467" y="26"/>
                  </a:moveTo>
                  <a:cubicBezTo>
                    <a:pt x="1467" y="26"/>
                    <a:pt x="1467" y="27"/>
                    <a:pt x="1468" y="27"/>
                  </a:cubicBezTo>
                  <a:cubicBezTo>
                    <a:pt x="1468" y="27"/>
                    <a:pt x="1468" y="26"/>
                    <a:pt x="1467" y="26"/>
                  </a:cubicBezTo>
                  <a:close/>
                  <a:moveTo>
                    <a:pt x="607" y="43"/>
                  </a:moveTo>
                  <a:cubicBezTo>
                    <a:pt x="607" y="43"/>
                    <a:pt x="607" y="43"/>
                    <a:pt x="608" y="44"/>
                  </a:cubicBezTo>
                  <a:cubicBezTo>
                    <a:pt x="608" y="43"/>
                    <a:pt x="608" y="43"/>
                    <a:pt x="607" y="43"/>
                  </a:cubicBezTo>
                  <a:close/>
                  <a:moveTo>
                    <a:pt x="1070" y="34"/>
                  </a:moveTo>
                  <a:cubicBezTo>
                    <a:pt x="1070" y="34"/>
                    <a:pt x="1071" y="34"/>
                    <a:pt x="1071" y="34"/>
                  </a:cubicBezTo>
                  <a:cubicBezTo>
                    <a:pt x="1071" y="34"/>
                    <a:pt x="1070" y="34"/>
                    <a:pt x="1070" y="34"/>
                  </a:cubicBezTo>
                  <a:close/>
                  <a:moveTo>
                    <a:pt x="643" y="68"/>
                  </a:moveTo>
                  <a:cubicBezTo>
                    <a:pt x="642" y="68"/>
                    <a:pt x="642" y="68"/>
                    <a:pt x="642" y="69"/>
                  </a:cubicBezTo>
                  <a:cubicBezTo>
                    <a:pt x="643" y="69"/>
                    <a:pt x="643" y="68"/>
                    <a:pt x="643" y="68"/>
                  </a:cubicBezTo>
                  <a:close/>
                  <a:moveTo>
                    <a:pt x="1031" y="54"/>
                  </a:moveTo>
                  <a:cubicBezTo>
                    <a:pt x="1032" y="54"/>
                    <a:pt x="1032" y="54"/>
                    <a:pt x="1032" y="53"/>
                  </a:cubicBezTo>
                  <a:cubicBezTo>
                    <a:pt x="1031" y="53"/>
                    <a:pt x="1031" y="54"/>
                    <a:pt x="1031" y="54"/>
                  </a:cubicBezTo>
                  <a:close/>
                  <a:moveTo>
                    <a:pt x="689" y="43"/>
                  </a:moveTo>
                  <a:cubicBezTo>
                    <a:pt x="688" y="43"/>
                    <a:pt x="688" y="43"/>
                    <a:pt x="687" y="43"/>
                  </a:cubicBezTo>
                  <a:cubicBezTo>
                    <a:pt x="688" y="43"/>
                    <a:pt x="688" y="43"/>
                    <a:pt x="689" y="43"/>
                  </a:cubicBezTo>
                  <a:close/>
                  <a:moveTo>
                    <a:pt x="748" y="58"/>
                  </a:moveTo>
                  <a:cubicBezTo>
                    <a:pt x="748" y="58"/>
                    <a:pt x="748" y="58"/>
                    <a:pt x="748" y="57"/>
                  </a:cubicBezTo>
                  <a:cubicBezTo>
                    <a:pt x="748" y="58"/>
                    <a:pt x="748" y="58"/>
                    <a:pt x="748" y="58"/>
                  </a:cubicBezTo>
                  <a:close/>
                  <a:moveTo>
                    <a:pt x="659" y="47"/>
                  </a:moveTo>
                  <a:cubicBezTo>
                    <a:pt x="659" y="47"/>
                    <a:pt x="659" y="47"/>
                    <a:pt x="659" y="46"/>
                  </a:cubicBezTo>
                  <a:cubicBezTo>
                    <a:pt x="659" y="46"/>
                    <a:pt x="659" y="47"/>
                    <a:pt x="659" y="47"/>
                  </a:cubicBezTo>
                  <a:close/>
                  <a:moveTo>
                    <a:pt x="1248" y="34"/>
                  </a:moveTo>
                  <a:cubicBezTo>
                    <a:pt x="1248" y="34"/>
                    <a:pt x="1249" y="34"/>
                    <a:pt x="1249" y="34"/>
                  </a:cubicBezTo>
                  <a:cubicBezTo>
                    <a:pt x="1249" y="34"/>
                    <a:pt x="1248" y="34"/>
                    <a:pt x="1248" y="34"/>
                  </a:cubicBezTo>
                  <a:close/>
                  <a:moveTo>
                    <a:pt x="602" y="58"/>
                  </a:moveTo>
                  <a:cubicBezTo>
                    <a:pt x="602" y="58"/>
                    <a:pt x="601" y="58"/>
                    <a:pt x="601" y="57"/>
                  </a:cubicBezTo>
                  <a:cubicBezTo>
                    <a:pt x="601" y="58"/>
                    <a:pt x="601" y="58"/>
                    <a:pt x="602" y="58"/>
                  </a:cubicBezTo>
                  <a:close/>
                  <a:moveTo>
                    <a:pt x="580" y="18"/>
                  </a:moveTo>
                  <a:cubicBezTo>
                    <a:pt x="579" y="18"/>
                    <a:pt x="579" y="18"/>
                    <a:pt x="579" y="18"/>
                  </a:cubicBezTo>
                  <a:cubicBezTo>
                    <a:pt x="579" y="18"/>
                    <a:pt x="579" y="18"/>
                    <a:pt x="580" y="18"/>
                  </a:cubicBezTo>
                  <a:close/>
                  <a:moveTo>
                    <a:pt x="850" y="43"/>
                  </a:moveTo>
                  <a:cubicBezTo>
                    <a:pt x="850" y="43"/>
                    <a:pt x="850" y="43"/>
                    <a:pt x="849" y="43"/>
                  </a:cubicBezTo>
                  <a:cubicBezTo>
                    <a:pt x="850" y="43"/>
                    <a:pt x="850" y="43"/>
                    <a:pt x="850" y="43"/>
                  </a:cubicBezTo>
                  <a:close/>
                  <a:moveTo>
                    <a:pt x="1468" y="27"/>
                  </a:moveTo>
                  <a:cubicBezTo>
                    <a:pt x="1467" y="27"/>
                    <a:pt x="1468" y="28"/>
                    <a:pt x="1468" y="28"/>
                  </a:cubicBezTo>
                  <a:cubicBezTo>
                    <a:pt x="1468" y="28"/>
                    <a:pt x="1468" y="27"/>
                    <a:pt x="1468" y="27"/>
                  </a:cubicBezTo>
                  <a:close/>
                  <a:moveTo>
                    <a:pt x="1014" y="18"/>
                  </a:moveTo>
                  <a:cubicBezTo>
                    <a:pt x="1013" y="18"/>
                    <a:pt x="1013" y="18"/>
                    <a:pt x="1013" y="18"/>
                  </a:cubicBezTo>
                  <a:cubicBezTo>
                    <a:pt x="1013" y="18"/>
                    <a:pt x="1013" y="18"/>
                    <a:pt x="1014" y="18"/>
                  </a:cubicBezTo>
                  <a:close/>
                  <a:moveTo>
                    <a:pt x="893" y="43"/>
                  </a:moveTo>
                  <a:cubicBezTo>
                    <a:pt x="893" y="43"/>
                    <a:pt x="893" y="43"/>
                    <a:pt x="892" y="43"/>
                  </a:cubicBezTo>
                  <a:cubicBezTo>
                    <a:pt x="892" y="43"/>
                    <a:pt x="893" y="43"/>
                    <a:pt x="893" y="43"/>
                  </a:cubicBezTo>
                  <a:close/>
                  <a:moveTo>
                    <a:pt x="954" y="37"/>
                  </a:moveTo>
                  <a:cubicBezTo>
                    <a:pt x="954" y="37"/>
                    <a:pt x="954" y="36"/>
                    <a:pt x="954" y="36"/>
                  </a:cubicBezTo>
                  <a:cubicBezTo>
                    <a:pt x="954" y="36"/>
                    <a:pt x="954" y="37"/>
                    <a:pt x="954" y="37"/>
                  </a:cubicBezTo>
                  <a:close/>
                  <a:moveTo>
                    <a:pt x="911" y="46"/>
                  </a:moveTo>
                  <a:cubicBezTo>
                    <a:pt x="911" y="46"/>
                    <a:pt x="911" y="47"/>
                    <a:pt x="911" y="47"/>
                  </a:cubicBezTo>
                  <a:cubicBezTo>
                    <a:pt x="911" y="47"/>
                    <a:pt x="911" y="46"/>
                    <a:pt x="911" y="46"/>
                  </a:cubicBezTo>
                  <a:close/>
                  <a:moveTo>
                    <a:pt x="1124" y="43"/>
                  </a:moveTo>
                  <a:cubicBezTo>
                    <a:pt x="1123" y="43"/>
                    <a:pt x="1123" y="43"/>
                    <a:pt x="1123" y="43"/>
                  </a:cubicBezTo>
                  <a:cubicBezTo>
                    <a:pt x="1123" y="43"/>
                    <a:pt x="1123" y="43"/>
                    <a:pt x="1124" y="43"/>
                  </a:cubicBezTo>
                  <a:close/>
                  <a:moveTo>
                    <a:pt x="1135" y="43"/>
                  </a:moveTo>
                  <a:cubicBezTo>
                    <a:pt x="1134" y="43"/>
                    <a:pt x="1134" y="43"/>
                    <a:pt x="1134" y="43"/>
                  </a:cubicBezTo>
                  <a:cubicBezTo>
                    <a:pt x="1134" y="43"/>
                    <a:pt x="1134" y="43"/>
                    <a:pt x="1135" y="43"/>
                  </a:cubicBezTo>
                  <a:close/>
                  <a:moveTo>
                    <a:pt x="608" y="45"/>
                  </a:moveTo>
                  <a:cubicBezTo>
                    <a:pt x="608" y="45"/>
                    <a:pt x="608" y="46"/>
                    <a:pt x="608" y="46"/>
                  </a:cubicBezTo>
                  <a:cubicBezTo>
                    <a:pt x="608" y="45"/>
                    <a:pt x="609" y="45"/>
                    <a:pt x="608" y="45"/>
                  </a:cubicBezTo>
                  <a:close/>
                  <a:moveTo>
                    <a:pt x="964" y="41"/>
                  </a:moveTo>
                  <a:cubicBezTo>
                    <a:pt x="964" y="41"/>
                    <a:pt x="964" y="42"/>
                    <a:pt x="964" y="42"/>
                  </a:cubicBezTo>
                  <a:cubicBezTo>
                    <a:pt x="965" y="42"/>
                    <a:pt x="965" y="42"/>
                    <a:pt x="964" y="41"/>
                  </a:cubicBezTo>
                  <a:close/>
                  <a:moveTo>
                    <a:pt x="804" y="51"/>
                  </a:moveTo>
                  <a:cubicBezTo>
                    <a:pt x="804" y="52"/>
                    <a:pt x="804" y="52"/>
                    <a:pt x="804" y="53"/>
                  </a:cubicBezTo>
                  <a:cubicBezTo>
                    <a:pt x="804" y="52"/>
                    <a:pt x="805" y="52"/>
                    <a:pt x="804" y="51"/>
                  </a:cubicBezTo>
                  <a:close/>
                  <a:moveTo>
                    <a:pt x="644" y="36"/>
                  </a:moveTo>
                  <a:cubicBezTo>
                    <a:pt x="644" y="36"/>
                    <a:pt x="644" y="36"/>
                    <a:pt x="644" y="35"/>
                  </a:cubicBezTo>
                  <a:cubicBezTo>
                    <a:pt x="644" y="36"/>
                    <a:pt x="644" y="36"/>
                    <a:pt x="644" y="36"/>
                  </a:cubicBezTo>
                  <a:close/>
                  <a:moveTo>
                    <a:pt x="643" y="66"/>
                  </a:moveTo>
                  <a:cubicBezTo>
                    <a:pt x="643" y="66"/>
                    <a:pt x="643" y="67"/>
                    <a:pt x="643" y="67"/>
                  </a:cubicBezTo>
                  <a:cubicBezTo>
                    <a:pt x="643" y="67"/>
                    <a:pt x="643" y="66"/>
                    <a:pt x="643" y="66"/>
                  </a:cubicBezTo>
                  <a:close/>
                  <a:moveTo>
                    <a:pt x="900" y="51"/>
                  </a:moveTo>
                  <a:cubicBezTo>
                    <a:pt x="900" y="51"/>
                    <a:pt x="900" y="50"/>
                    <a:pt x="900" y="50"/>
                  </a:cubicBezTo>
                  <a:cubicBezTo>
                    <a:pt x="900" y="50"/>
                    <a:pt x="900" y="51"/>
                    <a:pt x="900" y="51"/>
                  </a:cubicBezTo>
                  <a:close/>
                  <a:moveTo>
                    <a:pt x="1748" y="43"/>
                  </a:moveTo>
                  <a:cubicBezTo>
                    <a:pt x="1748" y="43"/>
                    <a:pt x="1748" y="43"/>
                    <a:pt x="1748" y="44"/>
                  </a:cubicBezTo>
                  <a:cubicBezTo>
                    <a:pt x="1748" y="43"/>
                    <a:pt x="1748" y="43"/>
                    <a:pt x="1748" y="43"/>
                  </a:cubicBezTo>
                  <a:close/>
                  <a:moveTo>
                    <a:pt x="964" y="67"/>
                  </a:moveTo>
                  <a:cubicBezTo>
                    <a:pt x="964" y="68"/>
                    <a:pt x="964" y="68"/>
                    <a:pt x="964" y="69"/>
                  </a:cubicBezTo>
                  <a:cubicBezTo>
                    <a:pt x="964" y="68"/>
                    <a:pt x="964" y="68"/>
                    <a:pt x="964" y="67"/>
                  </a:cubicBezTo>
                  <a:close/>
                  <a:moveTo>
                    <a:pt x="953" y="38"/>
                  </a:moveTo>
                  <a:cubicBezTo>
                    <a:pt x="954" y="38"/>
                    <a:pt x="954" y="38"/>
                    <a:pt x="954" y="37"/>
                  </a:cubicBezTo>
                  <a:cubicBezTo>
                    <a:pt x="953" y="37"/>
                    <a:pt x="953" y="38"/>
                    <a:pt x="953" y="38"/>
                  </a:cubicBezTo>
                  <a:close/>
                  <a:moveTo>
                    <a:pt x="1580" y="22"/>
                  </a:moveTo>
                  <a:cubicBezTo>
                    <a:pt x="1580" y="22"/>
                    <a:pt x="1580" y="23"/>
                    <a:pt x="1581" y="23"/>
                  </a:cubicBezTo>
                  <a:cubicBezTo>
                    <a:pt x="1581" y="23"/>
                    <a:pt x="1581" y="22"/>
                    <a:pt x="1580" y="22"/>
                  </a:cubicBezTo>
                  <a:close/>
                  <a:moveTo>
                    <a:pt x="1468" y="28"/>
                  </a:moveTo>
                  <a:cubicBezTo>
                    <a:pt x="1468" y="29"/>
                    <a:pt x="1468" y="29"/>
                    <a:pt x="1468" y="29"/>
                  </a:cubicBezTo>
                  <a:cubicBezTo>
                    <a:pt x="1468" y="29"/>
                    <a:pt x="1468" y="29"/>
                    <a:pt x="1468" y="28"/>
                  </a:cubicBezTo>
                  <a:close/>
                  <a:moveTo>
                    <a:pt x="690" y="43"/>
                  </a:moveTo>
                  <a:cubicBezTo>
                    <a:pt x="690" y="43"/>
                    <a:pt x="689" y="43"/>
                    <a:pt x="689" y="43"/>
                  </a:cubicBezTo>
                  <a:cubicBezTo>
                    <a:pt x="689" y="43"/>
                    <a:pt x="690" y="43"/>
                    <a:pt x="690" y="43"/>
                  </a:cubicBezTo>
                  <a:close/>
                  <a:moveTo>
                    <a:pt x="953" y="39"/>
                  </a:moveTo>
                  <a:cubicBezTo>
                    <a:pt x="953" y="39"/>
                    <a:pt x="953" y="39"/>
                    <a:pt x="953" y="38"/>
                  </a:cubicBezTo>
                  <a:cubicBezTo>
                    <a:pt x="953" y="38"/>
                    <a:pt x="953" y="39"/>
                    <a:pt x="953" y="39"/>
                  </a:cubicBezTo>
                  <a:close/>
                  <a:moveTo>
                    <a:pt x="985" y="18"/>
                  </a:moveTo>
                  <a:cubicBezTo>
                    <a:pt x="985" y="18"/>
                    <a:pt x="984" y="18"/>
                    <a:pt x="984" y="19"/>
                  </a:cubicBezTo>
                  <a:cubicBezTo>
                    <a:pt x="984" y="19"/>
                    <a:pt x="985" y="19"/>
                    <a:pt x="985" y="18"/>
                  </a:cubicBezTo>
                  <a:close/>
                  <a:moveTo>
                    <a:pt x="1748" y="22"/>
                  </a:moveTo>
                  <a:cubicBezTo>
                    <a:pt x="1748" y="22"/>
                    <a:pt x="1748" y="23"/>
                    <a:pt x="1749" y="23"/>
                  </a:cubicBezTo>
                  <a:cubicBezTo>
                    <a:pt x="1749" y="23"/>
                    <a:pt x="1749" y="22"/>
                    <a:pt x="1748" y="22"/>
                  </a:cubicBezTo>
                  <a:close/>
                  <a:moveTo>
                    <a:pt x="964" y="66"/>
                  </a:moveTo>
                  <a:cubicBezTo>
                    <a:pt x="963" y="66"/>
                    <a:pt x="963" y="67"/>
                    <a:pt x="964" y="67"/>
                  </a:cubicBezTo>
                  <a:cubicBezTo>
                    <a:pt x="964" y="67"/>
                    <a:pt x="964" y="66"/>
                    <a:pt x="964" y="66"/>
                  </a:cubicBezTo>
                  <a:close/>
                  <a:moveTo>
                    <a:pt x="659" y="59"/>
                  </a:moveTo>
                  <a:cubicBezTo>
                    <a:pt x="659" y="58"/>
                    <a:pt x="659" y="58"/>
                    <a:pt x="659" y="58"/>
                  </a:cubicBezTo>
                  <a:cubicBezTo>
                    <a:pt x="659" y="58"/>
                    <a:pt x="659" y="58"/>
                    <a:pt x="659" y="59"/>
                  </a:cubicBezTo>
                  <a:close/>
                  <a:moveTo>
                    <a:pt x="588" y="70"/>
                  </a:moveTo>
                  <a:cubicBezTo>
                    <a:pt x="588" y="70"/>
                    <a:pt x="588" y="70"/>
                    <a:pt x="588" y="71"/>
                  </a:cubicBezTo>
                  <a:cubicBezTo>
                    <a:pt x="588" y="70"/>
                    <a:pt x="588" y="70"/>
                    <a:pt x="588" y="70"/>
                  </a:cubicBezTo>
                  <a:close/>
                  <a:moveTo>
                    <a:pt x="631" y="71"/>
                  </a:moveTo>
                  <a:cubicBezTo>
                    <a:pt x="631" y="70"/>
                    <a:pt x="631" y="70"/>
                    <a:pt x="631" y="70"/>
                  </a:cubicBezTo>
                  <a:cubicBezTo>
                    <a:pt x="631" y="70"/>
                    <a:pt x="631" y="70"/>
                    <a:pt x="631" y="71"/>
                  </a:cubicBezTo>
                  <a:close/>
                  <a:moveTo>
                    <a:pt x="952" y="71"/>
                  </a:moveTo>
                  <a:cubicBezTo>
                    <a:pt x="952" y="70"/>
                    <a:pt x="952" y="70"/>
                    <a:pt x="952" y="69"/>
                  </a:cubicBezTo>
                  <a:cubicBezTo>
                    <a:pt x="952" y="70"/>
                    <a:pt x="952" y="70"/>
                    <a:pt x="952" y="71"/>
                  </a:cubicBezTo>
                  <a:close/>
                  <a:moveTo>
                    <a:pt x="588" y="71"/>
                  </a:moveTo>
                  <a:cubicBezTo>
                    <a:pt x="588" y="71"/>
                    <a:pt x="588" y="71"/>
                    <a:pt x="589" y="72"/>
                  </a:cubicBezTo>
                  <a:cubicBezTo>
                    <a:pt x="589" y="71"/>
                    <a:pt x="589" y="71"/>
                    <a:pt x="588" y="71"/>
                  </a:cubicBezTo>
                  <a:close/>
                  <a:moveTo>
                    <a:pt x="953" y="72"/>
                  </a:moveTo>
                  <a:cubicBezTo>
                    <a:pt x="953" y="71"/>
                    <a:pt x="953" y="71"/>
                    <a:pt x="952" y="71"/>
                  </a:cubicBezTo>
                  <a:cubicBezTo>
                    <a:pt x="952" y="71"/>
                    <a:pt x="952" y="72"/>
                    <a:pt x="953" y="72"/>
                  </a:cubicBezTo>
                  <a:close/>
                  <a:moveTo>
                    <a:pt x="952" y="42"/>
                  </a:moveTo>
                  <a:cubicBezTo>
                    <a:pt x="953" y="41"/>
                    <a:pt x="953" y="41"/>
                    <a:pt x="953" y="41"/>
                  </a:cubicBezTo>
                  <a:cubicBezTo>
                    <a:pt x="952" y="41"/>
                    <a:pt x="952" y="41"/>
                    <a:pt x="952" y="42"/>
                  </a:cubicBezTo>
                  <a:close/>
                  <a:moveTo>
                    <a:pt x="607" y="73"/>
                  </a:moveTo>
                  <a:cubicBezTo>
                    <a:pt x="607" y="72"/>
                    <a:pt x="607" y="72"/>
                    <a:pt x="607" y="72"/>
                  </a:cubicBezTo>
                  <a:cubicBezTo>
                    <a:pt x="607" y="72"/>
                    <a:pt x="607" y="72"/>
                    <a:pt x="607" y="73"/>
                  </a:cubicBezTo>
                  <a:close/>
                  <a:moveTo>
                    <a:pt x="617" y="72"/>
                  </a:moveTo>
                  <a:cubicBezTo>
                    <a:pt x="617" y="72"/>
                    <a:pt x="617" y="72"/>
                    <a:pt x="618" y="73"/>
                  </a:cubicBezTo>
                  <a:cubicBezTo>
                    <a:pt x="618" y="72"/>
                    <a:pt x="618" y="72"/>
                    <a:pt x="617" y="72"/>
                  </a:cubicBezTo>
                  <a:close/>
                  <a:moveTo>
                    <a:pt x="589" y="72"/>
                  </a:moveTo>
                  <a:cubicBezTo>
                    <a:pt x="589" y="72"/>
                    <a:pt x="589" y="73"/>
                    <a:pt x="589" y="73"/>
                  </a:cubicBezTo>
                  <a:cubicBezTo>
                    <a:pt x="589" y="73"/>
                    <a:pt x="589" y="72"/>
                    <a:pt x="589" y="72"/>
                  </a:cubicBezTo>
                  <a:close/>
                  <a:moveTo>
                    <a:pt x="953" y="73"/>
                  </a:moveTo>
                  <a:cubicBezTo>
                    <a:pt x="953" y="73"/>
                    <a:pt x="953" y="72"/>
                    <a:pt x="953" y="72"/>
                  </a:cubicBezTo>
                  <a:cubicBezTo>
                    <a:pt x="953" y="72"/>
                    <a:pt x="953" y="73"/>
                    <a:pt x="953" y="73"/>
                  </a:cubicBezTo>
                  <a:close/>
                  <a:moveTo>
                    <a:pt x="618" y="73"/>
                  </a:moveTo>
                  <a:cubicBezTo>
                    <a:pt x="618" y="73"/>
                    <a:pt x="618" y="73"/>
                    <a:pt x="618" y="74"/>
                  </a:cubicBezTo>
                  <a:cubicBezTo>
                    <a:pt x="618" y="73"/>
                    <a:pt x="618" y="73"/>
                    <a:pt x="618" y="73"/>
                  </a:cubicBezTo>
                  <a:close/>
                  <a:moveTo>
                    <a:pt x="637" y="53"/>
                  </a:moveTo>
                  <a:cubicBezTo>
                    <a:pt x="638" y="53"/>
                    <a:pt x="638" y="53"/>
                    <a:pt x="638" y="52"/>
                  </a:cubicBezTo>
                  <a:cubicBezTo>
                    <a:pt x="637" y="53"/>
                    <a:pt x="637" y="53"/>
                    <a:pt x="637" y="53"/>
                  </a:cubicBezTo>
                  <a:close/>
                  <a:moveTo>
                    <a:pt x="608" y="74"/>
                  </a:moveTo>
                  <a:cubicBezTo>
                    <a:pt x="608" y="74"/>
                    <a:pt x="608" y="74"/>
                    <a:pt x="607" y="73"/>
                  </a:cubicBezTo>
                  <a:cubicBezTo>
                    <a:pt x="607" y="74"/>
                    <a:pt x="607" y="74"/>
                    <a:pt x="608" y="74"/>
                  </a:cubicBezTo>
                  <a:close/>
                  <a:moveTo>
                    <a:pt x="630" y="74"/>
                  </a:moveTo>
                  <a:cubicBezTo>
                    <a:pt x="630" y="74"/>
                    <a:pt x="630" y="74"/>
                    <a:pt x="630" y="73"/>
                  </a:cubicBezTo>
                  <a:cubicBezTo>
                    <a:pt x="630" y="74"/>
                    <a:pt x="630" y="74"/>
                    <a:pt x="630" y="74"/>
                  </a:cubicBezTo>
                  <a:close/>
                  <a:moveTo>
                    <a:pt x="618" y="74"/>
                  </a:moveTo>
                  <a:cubicBezTo>
                    <a:pt x="618" y="74"/>
                    <a:pt x="618" y="74"/>
                    <a:pt x="619" y="75"/>
                  </a:cubicBezTo>
                  <a:cubicBezTo>
                    <a:pt x="619" y="74"/>
                    <a:pt x="619" y="74"/>
                    <a:pt x="618" y="74"/>
                  </a:cubicBezTo>
                  <a:close/>
                  <a:moveTo>
                    <a:pt x="653" y="41"/>
                  </a:moveTo>
                  <a:cubicBezTo>
                    <a:pt x="653" y="41"/>
                    <a:pt x="653" y="41"/>
                    <a:pt x="653" y="42"/>
                  </a:cubicBezTo>
                  <a:cubicBezTo>
                    <a:pt x="653" y="41"/>
                    <a:pt x="653" y="41"/>
                    <a:pt x="653" y="41"/>
                  </a:cubicBezTo>
                  <a:close/>
                  <a:moveTo>
                    <a:pt x="1030" y="59"/>
                  </a:moveTo>
                  <a:cubicBezTo>
                    <a:pt x="1030" y="59"/>
                    <a:pt x="1030" y="58"/>
                    <a:pt x="1030" y="58"/>
                  </a:cubicBezTo>
                  <a:cubicBezTo>
                    <a:pt x="1030" y="58"/>
                    <a:pt x="1030" y="59"/>
                    <a:pt x="1030" y="59"/>
                  </a:cubicBezTo>
                  <a:close/>
                  <a:moveTo>
                    <a:pt x="911" y="48"/>
                  </a:moveTo>
                  <a:cubicBezTo>
                    <a:pt x="911" y="49"/>
                    <a:pt x="911" y="49"/>
                    <a:pt x="912" y="49"/>
                  </a:cubicBezTo>
                  <a:cubicBezTo>
                    <a:pt x="912" y="49"/>
                    <a:pt x="912" y="49"/>
                    <a:pt x="911" y="48"/>
                  </a:cubicBezTo>
                  <a:close/>
                  <a:moveTo>
                    <a:pt x="1469" y="75"/>
                  </a:moveTo>
                  <a:cubicBezTo>
                    <a:pt x="1469" y="75"/>
                    <a:pt x="1469" y="75"/>
                    <a:pt x="1469" y="76"/>
                  </a:cubicBezTo>
                  <a:cubicBezTo>
                    <a:pt x="1469" y="75"/>
                    <a:pt x="1469" y="75"/>
                    <a:pt x="1469" y="75"/>
                  </a:cubicBezTo>
                  <a:close/>
                  <a:moveTo>
                    <a:pt x="1385" y="41"/>
                  </a:moveTo>
                  <a:cubicBezTo>
                    <a:pt x="1385" y="41"/>
                    <a:pt x="1385" y="41"/>
                    <a:pt x="1385" y="40"/>
                  </a:cubicBezTo>
                  <a:cubicBezTo>
                    <a:pt x="1385" y="41"/>
                    <a:pt x="1385" y="41"/>
                    <a:pt x="1385" y="41"/>
                  </a:cubicBezTo>
                  <a:close/>
                  <a:moveTo>
                    <a:pt x="1666" y="58"/>
                  </a:moveTo>
                  <a:cubicBezTo>
                    <a:pt x="1665" y="58"/>
                    <a:pt x="1665" y="58"/>
                    <a:pt x="1665" y="58"/>
                  </a:cubicBezTo>
                  <a:cubicBezTo>
                    <a:pt x="1665" y="58"/>
                    <a:pt x="1665" y="58"/>
                    <a:pt x="1666" y="58"/>
                  </a:cubicBezTo>
                  <a:close/>
                  <a:moveTo>
                    <a:pt x="629" y="77"/>
                  </a:moveTo>
                  <a:cubicBezTo>
                    <a:pt x="629" y="77"/>
                    <a:pt x="629" y="77"/>
                    <a:pt x="629" y="76"/>
                  </a:cubicBezTo>
                  <a:cubicBezTo>
                    <a:pt x="629" y="76"/>
                    <a:pt x="629" y="77"/>
                    <a:pt x="629" y="77"/>
                  </a:cubicBezTo>
                  <a:close/>
                  <a:moveTo>
                    <a:pt x="954" y="77"/>
                  </a:moveTo>
                  <a:cubicBezTo>
                    <a:pt x="954" y="77"/>
                    <a:pt x="954" y="76"/>
                    <a:pt x="954" y="76"/>
                  </a:cubicBezTo>
                  <a:cubicBezTo>
                    <a:pt x="954" y="76"/>
                    <a:pt x="954" y="77"/>
                    <a:pt x="954" y="77"/>
                  </a:cubicBezTo>
                  <a:close/>
                  <a:moveTo>
                    <a:pt x="1469" y="76"/>
                  </a:moveTo>
                  <a:cubicBezTo>
                    <a:pt x="1468" y="76"/>
                    <a:pt x="1468" y="77"/>
                    <a:pt x="1468" y="77"/>
                  </a:cubicBezTo>
                  <a:cubicBezTo>
                    <a:pt x="1469" y="77"/>
                    <a:pt x="1469" y="76"/>
                    <a:pt x="1469" y="76"/>
                  </a:cubicBezTo>
                  <a:close/>
                  <a:moveTo>
                    <a:pt x="699" y="77"/>
                  </a:moveTo>
                  <a:cubicBezTo>
                    <a:pt x="699" y="77"/>
                    <a:pt x="699" y="78"/>
                    <a:pt x="699" y="78"/>
                  </a:cubicBezTo>
                  <a:cubicBezTo>
                    <a:pt x="699" y="77"/>
                    <a:pt x="699" y="77"/>
                    <a:pt x="699" y="77"/>
                  </a:cubicBezTo>
                  <a:close/>
                  <a:moveTo>
                    <a:pt x="759" y="77"/>
                  </a:moveTo>
                  <a:cubicBezTo>
                    <a:pt x="759" y="78"/>
                    <a:pt x="759" y="78"/>
                    <a:pt x="759" y="79"/>
                  </a:cubicBezTo>
                  <a:cubicBezTo>
                    <a:pt x="759" y="78"/>
                    <a:pt x="760" y="78"/>
                    <a:pt x="759" y="77"/>
                  </a:cubicBezTo>
                  <a:close/>
                  <a:moveTo>
                    <a:pt x="1468" y="77"/>
                  </a:moveTo>
                  <a:cubicBezTo>
                    <a:pt x="1468" y="78"/>
                    <a:pt x="1468" y="78"/>
                    <a:pt x="1468" y="79"/>
                  </a:cubicBezTo>
                  <a:cubicBezTo>
                    <a:pt x="1468" y="78"/>
                    <a:pt x="1468" y="78"/>
                    <a:pt x="1468" y="77"/>
                  </a:cubicBezTo>
                  <a:close/>
                  <a:moveTo>
                    <a:pt x="699" y="78"/>
                  </a:moveTo>
                  <a:cubicBezTo>
                    <a:pt x="699" y="78"/>
                    <a:pt x="699" y="79"/>
                    <a:pt x="699" y="79"/>
                  </a:cubicBezTo>
                  <a:cubicBezTo>
                    <a:pt x="699" y="79"/>
                    <a:pt x="699" y="78"/>
                    <a:pt x="699" y="78"/>
                  </a:cubicBezTo>
                  <a:close/>
                  <a:moveTo>
                    <a:pt x="1041" y="78"/>
                  </a:moveTo>
                  <a:cubicBezTo>
                    <a:pt x="1041" y="79"/>
                    <a:pt x="1041" y="79"/>
                    <a:pt x="1042" y="79"/>
                  </a:cubicBezTo>
                  <a:cubicBezTo>
                    <a:pt x="1042" y="79"/>
                    <a:pt x="1042" y="78"/>
                    <a:pt x="1041" y="78"/>
                  </a:cubicBezTo>
                  <a:close/>
                  <a:moveTo>
                    <a:pt x="1219" y="78"/>
                  </a:moveTo>
                  <a:cubicBezTo>
                    <a:pt x="1219" y="79"/>
                    <a:pt x="1219" y="79"/>
                    <a:pt x="1220" y="79"/>
                  </a:cubicBezTo>
                  <a:cubicBezTo>
                    <a:pt x="1220" y="79"/>
                    <a:pt x="1220" y="78"/>
                    <a:pt x="1219" y="78"/>
                  </a:cubicBezTo>
                  <a:close/>
                  <a:moveTo>
                    <a:pt x="620" y="79"/>
                  </a:moveTo>
                  <a:cubicBezTo>
                    <a:pt x="620" y="79"/>
                    <a:pt x="620" y="79"/>
                    <a:pt x="620" y="80"/>
                  </a:cubicBezTo>
                  <a:cubicBezTo>
                    <a:pt x="620" y="79"/>
                    <a:pt x="620" y="79"/>
                    <a:pt x="620" y="79"/>
                  </a:cubicBezTo>
                  <a:close/>
                  <a:moveTo>
                    <a:pt x="1412" y="80"/>
                  </a:moveTo>
                  <a:cubicBezTo>
                    <a:pt x="1412" y="79"/>
                    <a:pt x="1412" y="79"/>
                    <a:pt x="1412" y="79"/>
                  </a:cubicBezTo>
                  <a:cubicBezTo>
                    <a:pt x="1412" y="79"/>
                    <a:pt x="1412" y="79"/>
                    <a:pt x="1412" y="80"/>
                  </a:cubicBezTo>
                  <a:close/>
                  <a:moveTo>
                    <a:pt x="1468" y="79"/>
                  </a:moveTo>
                  <a:cubicBezTo>
                    <a:pt x="1468" y="79"/>
                    <a:pt x="1468" y="79"/>
                    <a:pt x="1468" y="80"/>
                  </a:cubicBezTo>
                  <a:cubicBezTo>
                    <a:pt x="1468" y="79"/>
                    <a:pt x="1468" y="79"/>
                    <a:pt x="1468" y="79"/>
                  </a:cubicBezTo>
                  <a:close/>
                  <a:moveTo>
                    <a:pt x="760" y="79"/>
                  </a:moveTo>
                  <a:cubicBezTo>
                    <a:pt x="759" y="79"/>
                    <a:pt x="760" y="80"/>
                    <a:pt x="760" y="80"/>
                  </a:cubicBezTo>
                  <a:cubicBezTo>
                    <a:pt x="760" y="80"/>
                    <a:pt x="760" y="79"/>
                    <a:pt x="760" y="79"/>
                  </a:cubicBezTo>
                  <a:close/>
                  <a:moveTo>
                    <a:pt x="748" y="80"/>
                  </a:moveTo>
                  <a:cubicBezTo>
                    <a:pt x="748" y="80"/>
                    <a:pt x="748" y="79"/>
                    <a:pt x="748" y="79"/>
                  </a:cubicBezTo>
                  <a:cubicBezTo>
                    <a:pt x="748" y="80"/>
                    <a:pt x="748" y="80"/>
                    <a:pt x="748" y="80"/>
                  </a:cubicBezTo>
                  <a:close/>
                  <a:moveTo>
                    <a:pt x="1042" y="79"/>
                  </a:moveTo>
                  <a:cubicBezTo>
                    <a:pt x="1042" y="80"/>
                    <a:pt x="1042" y="80"/>
                    <a:pt x="1042" y="80"/>
                  </a:cubicBezTo>
                  <a:cubicBezTo>
                    <a:pt x="1042" y="80"/>
                    <a:pt x="1042" y="80"/>
                    <a:pt x="1042" y="79"/>
                  </a:cubicBezTo>
                  <a:close/>
                  <a:moveTo>
                    <a:pt x="613" y="59"/>
                  </a:moveTo>
                  <a:cubicBezTo>
                    <a:pt x="613" y="59"/>
                    <a:pt x="613" y="59"/>
                    <a:pt x="613" y="60"/>
                  </a:cubicBezTo>
                  <a:cubicBezTo>
                    <a:pt x="613" y="59"/>
                    <a:pt x="613" y="59"/>
                    <a:pt x="613" y="59"/>
                  </a:cubicBezTo>
                  <a:close/>
                  <a:moveTo>
                    <a:pt x="610" y="81"/>
                  </a:moveTo>
                  <a:cubicBezTo>
                    <a:pt x="610" y="80"/>
                    <a:pt x="610" y="80"/>
                    <a:pt x="610" y="80"/>
                  </a:cubicBezTo>
                  <a:cubicBezTo>
                    <a:pt x="610" y="80"/>
                    <a:pt x="610" y="80"/>
                    <a:pt x="610" y="81"/>
                  </a:cubicBezTo>
                  <a:close/>
                  <a:moveTo>
                    <a:pt x="620" y="80"/>
                  </a:moveTo>
                  <a:cubicBezTo>
                    <a:pt x="620" y="80"/>
                    <a:pt x="620" y="80"/>
                    <a:pt x="621" y="81"/>
                  </a:cubicBezTo>
                  <a:cubicBezTo>
                    <a:pt x="621" y="80"/>
                    <a:pt x="621" y="80"/>
                    <a:pt x="620" y="80"/>
                  </a:cubicBezTo>
                  <a:close/>
                  <a:moveTo>
                    <a:pt x="627" y="81"/>
                  </a:moveTo>
                  <a:cubicBezTo>
                    <a:pt x="628" y="81"/>
                    <a:pt x="628" y="80"/>
                    <a:pt x="628" y="80"/>
                  </a:cubicBezTo>
                  <a:cubicBezTo>
                    <a:pt x="627" y="80"/>
                    <a:pt x="627" y="81"/>
                    <a:pt x="627" y="81"/>
                  </a:cubicBezTo>
                  <a:close/>
                  <a:moveTo>
                    <a:pt x="760" y="80"/>
                  </a:moveTo>
                  <a:cubicBezTo>
                    <a:pt x="760" y="80"/>
                    <a:pt x="760" y="81"/>
                    <a:pt x="760" y="81"/>
                  </a:cubicBezTo>
                  <a:cubicBezTo>
                    <a:pt x="760" y="81"/>
                    <a:pt x="760" y="80"/>
                    <a:pt x="760" y="80"/>
                  </a:cubicBezTo>
                  <a:close/>
                  <a:moveTo>
                    <a:pt x="1031" y="81"/>
                  </a:moveTo>
                  <a:cubicBezTo>
                    <a:pt x="1031" y="81"/>
                    <a:pt x="1031" y="80"/>
                    <a:pt x="1030" y="80"/>
                  </a:cubicBezTo>
                  <a:cubicBezTo>
                    <a:pt x="1030" y="80"/>
                    <a:pt x="1030" y="81"/>
                    <a:pt x="1031" y="81"/>
                  </a:cubicBezTo>
                  <a:close/>
                  <a:moveTo>
                    <a:pt x="1413" y="81"/>
                  </a:moveTo>
                  <a:cubicBezTo>
                    <a:pt x="1413" y="81"/>
                    <a:pt x="1413" y="80"/>
                    <a:pt x="1412" y="80"/>
                  </a:cubicBezTo>
                  <a:cubicBezTo>
                    <a:pt x="1412" y="80"/>
                    <a:pt x="1412" y="81"/>
                    <a:pt x="1413" y="81"/>
                  </a:cubicBezTo>
                  <a:close/>
                  <a:moveTo>
                    <a:pt x="1086" y="52"/>
                  </a:moveTo>
                  <a:cubicBezTo>
                    <a:pt x="1086" y="53"/>
                    <a:pt x="1086" y="53"/>
                    <a:pt x="1087" y="53"/>
                  </a:cubicBezTo>
                  <a:cubicBezTo>
                    <a:pt x="1087" y="53"/>
                    <a:pt x="1087" y="52"/>
                    <a:pt x="1086" y="52"/>
                  </a:cubicBezTo>
                  <a:close/>
                  <a:moveTo>
                    <a:pt x="1209" y="81"/>
                  </a:moveTo>
                  <a:cubicBezTo>
                    <a:pt x="1209" y="81"/>
                    <a:pt x="1209" y="80"/>
                    <a:pt x="1208" y="80"/>
                  </a:cubicBezTo>
                  <a:cubicBezTo>
                    <a:pt x="1208" y="81"/>
                    <a:pt x="1208" y="81"/>
                    <a:pt x="1209" y="81"/>
                  </a:cubicBezTo>
                  <a:close/>
                  <a:moveTo>
                    <a:pt x="621" y="81"/>
                  </a:moveTo>
                  <a:cubicBezTo>
                    <a:pt x="621" y="81"/>
                    <a:pt x="621" y="81"/>
                    <a:pt x="621" y="82"/>
                  </a:cubicBezTo>
                  <a:cubicBezTo>
                    <a:pt x="621" y="81"/>
                    <a:pt x="621" y="81"/>
                    <a:pt x="621" y="81"/>
                  </a:cubicBezTo>
                  <a:close/>
                  <a:moveTo>
                    <a:pt x="749" y="82"/>
                  </a:moveTo>
                  <a:cubicBezTo>
                    <a:pt x="749" y="81"/>
                    <a:pt x="749" y="81"/>
                    <a:pt x="748" y="81"/>
                  </a:cubicBezTo>
                  <a:cubicBezTo>
                    <a:pt x="748" y="81"/>
                    <a:pt x="748" y="81"/>
                    <a:pt x="749" y="82"/>
                  </a:cubicBezTo>
                  <a:close/>
                  <a:moveTo>
                    <a:pt x="637" y="81"/>
                  </a:moveTo>
                  <a:cubicBezTo>
                    <a:pt x="637" y="81"/>
                    <a:pt x="637" y="82"/>
                    <a:pt x="637" y="82"/>
                  </a:cubicBezTo>
                  <a:cubicBezTo>
                    <a:pt x="637" y="82"/>
                    <a:pt x="637" y="81"/>
                    <a:pt x="637" y="81"/>
                  </a:cubicBezTo>
                  <a:close/>
                  <a:moveTo>
                    <a:pt x="1413" y="82"/>
                  </a:moveTo>
                  <a:cubicBezTo>
                    <a:pt x="1413" y="82"/>
                    <a:pt x="1413" y="81"/>
                    <a:pt x="1413" y="81"/>
                  </a:cubicBezTo>
                  <a:cubicBezTo>
                    <a:pt x="1413" y="81"/>
                    <a:pt x="1412" y="82"/>
                    <a:pt x="1413" y="82"/>
                  </a:cubicBezTo>
                  <a:close/>
                  <a:moveTo>
                    <a:pt x="611" y="82"/>
                  </a:moveTo>
                  <a:cubicBezTo>
                    <a:pt x="611" y="82"/>
                    <a:pt x="611" y="82"/>
                    <a:pt x="611" y="81"/>
                  </a:cubicBezTo>
                  <a:cubicBezTo>
                    <a:pt x="611" y="82"/>
                    <a:pt x="610" y="82"/>
                    <a:pt x="611" y="82"/>
                  </a:cubicBezTo>
                  <a:close/>
                  <a:moveTo>
                    <a:pt x="1031" y="82"/>
                  </a:moveTo>
                  <a:cubicBezTo>
                    <a:pt x="1031" y="82"/>
                    <a:pt x="1031" y="82"/>
                    <a:pt x="1031" y="81"/>
                  </a:cubicBezTo>
                  <a:cubicBezTo>
                    <a:pt x="1031" y="82"/>
                    <a:pt x="1031" y="82"/>
                    <a:pt x="1031" y="82"/>
                  </a:cubicBezTo>
                  <a:close/>
                  <a:moveTo>
                    <a:pt x="1467" y="82"/>
                  </a:moveTo>
                  <a:cubicBezTo>
                    <a:pt x="1467" y="82"/>
                    <a:pt x="1466" y="82"/>
                    <a:pt x="1466" y="83"/>
                  </a:cubicBezTo>
                  <a:cubicBezTo>
                    <a:pt x="1467" y="82"/>
                    <a:pt x="1467" y="82"/>
                    <a:pt x="1467" y="82"/>
                  </a:cubicBezTo>
                  <a:close/>
                  <a:moveTo>
                    <a:pt x="858" y="53"/>
                  </a:moveTo>
                  <a:cubicBezTo>
                    <a:pt x="858" y="53"/>
                    <a:pt x="858" y="52"/>
                    <a:pt x="858" y="52"/>
                  </a:cubicBezTo>
                  <a:cubicBezTo>
                    <a:pt x="858" y="52"/>
                    <a:pt x="858" y="53"/>
                    <a:pt x="858" y="53"/>
                  </a:cubicBezTo>
                  <a:close/>
                  <a:moveTo>
                    <a:pt x="749" y="83"/>
                  </a:moveTo>
                  <a:cubicBezTo>
                    <a:pt x="749" y="83"/>
                    <a:pt x="749" y="82"/>
                    <a:pt x="749" y="82"/>
                  </a:cubicBezTo>
                  <a:cubicBezTo>
                    <a:pt x="749" y="82"/>
                    <a:pt x="749" y="83"/>
                    <a:pt x="749" y="83"/>
                  </a:cubicBezTo>
                  <a:close/>
                  <a:moveTo>
                    <a:pt x="1413" y="83"/>
                  </a:moveTo>
                  <a:cubicBezTo>
                    <a:pt x="1413" y="83"/>
                    <a:pt x="1413" y="82"/>
                    <a:pt x="1413" y="82"/>
                  </a:cubicBezTo>
                  <a:cubicBezTo>
                    <a:pt x="1413" y="82"/>
                    <a:pt x="1413" y="83"/>
                    <a:pt x="1413" y="83"/>
                  </a:cubicBezTo>
                  <a:close/>
                  <a:moveTo>
                    <a:pt x="637" y="83"/>
                  </a:moveTo>
                  <a:cubicBezTo>
                    <a:pt x="636" y="83"/>
                    <a:pt x="636" y="83"/>
                    <a:pt x="636" y="84"/>
                  </a:cubicBezTo>
                  <a:cubicBezTo>
                    <a:pt x="637" y="84"/>
                    <a:pt x="637" y="83"/>
                    <a:pt x="637" y="83"/>
                  </a:cubicBezTo>
                  <a:close/>
                  <a:moveTo>
                    <a:pt x="1209" y="84"/>
                  </a:moveTo>
                  <a:cubicBezTo>
                    <a:pt x="1209" y="83"/>
                    <a:pt x="1209" y="83"/>
                    <a:pt x="1209" y="83"/>
                  </a:cubicBezTo>
                  <a:cubicBezTo>
                    <a:pt x="1209" y="83"/>
                    <a:pt x="1209" y="83"/>
                    <a:pt x="1209" y="84"/>
                  </a:cubicBezTo>
                  <a:close/>
                  <a:moveTo>
                    <a:pt x="1396" y="41"/>
                  </a:moveTo>
                  <a:cubicBezTo>
                    <a:pt x="1396" y="42"/>
                    <a:pt x="1396" y="42"/>
                    <a:pt x="1396" y="42"/>
                  </a:cubicBezTo>
                  <a:cubicBezTo>
                    <a:pt x="1396" y="42"/>
                    <a:pt x="1396" y="42"/>
                    <a:pt x="1396" y="41"/>
                  </a:cubicBezTo>
                  <a:close/>
                  <a:moveTo>
                    <a:pt x="749" y="84"/>
                  </a:moveTo>
                  <a:cubicBezTo>
                    <a:pt x="749" y="84"/>
                    <a:pt x="749" y="83"/>
                    <a:pt x="749" y="83"/>
                  </a:cubicBezTo>
                  <a:cubicBezTo>
                    <a:pt x="749" y="83"/>
                    <a:pt x="749" y="84"/>
                    <a:pt x="749" y="84"/>
                  </a:cubicBezTo>
                  <a:close/>
                  <a:moveTo>
                    <a:pt x="1667" y="84"/>
                  </a:moveTo>
                  <a:cubicBezTo>
                    <a:pt x="1667" y="84"/>
                    <a:pt x="1667" y="83"/>
                    <a:pt x="1667" y="83"/>
                  </a:cubicBezTo>
                  <a:cubicBezTo>
                    <a:pt x="1667" y="83"/>
                    <a:pt x="1667" y="84"/>
                    <a:pt x="1667" y="84"/>
                  </a:cubicBezTo>
                  <a:close/>
                  <a:moveTo>
                    <a:pt x="626" y="85"/>
                  </a:moveTo>
                  <a:cubicBezTo>
                    <a:pt x="626" y="85"/>
                    <a:pt x="626" y="84"/>
                    <a:pt x="626" y="84"/>
                  </a:cubicBezTo>
                  <a:cubicBezTo>
                    <a:pt x="626" y="84"/>
                    <a:pt x="626" y="84"/>
                    <a:pt x="626" y="85"/>
                  </a:cubicBezTo>
                  <a:close/>
                  <a:moveTo>
                    <a:pt x="589" y="84"/>
                  </a:moveTo>
                  <a:cubicBezTo>
                    <a:pt x="588" y="85"/>
                    <a:pt x="588" y="85"/>
                    <a:pt x="588" y="85"/>
                  </a:cubicBezTo>
                  <a:cubicBezTo>
                    <a:pt x="589" y="85"/>
                    <a:pt x="589" y="85"/>
                    <a:pt x="589" y="84"/>
                  </a:cubicBezTo>
                  <a:close/>
                  <a:moveTo>
                    <a:pt x="636" y="84"/>
                  </a:moveTo>
                  <a:cubicBezTo>
                    <a:pt x="636" y="85"/>
                    <a:pt x="636" y="85"/>
                    <a:pt x="636" y="85"/>
                  </a:cubicBezTo>
                  <a:cubicBezTo>
                    <a:pt x="636" y="85"/>
                    <a:pt x="636" y="85"/>
                    <a:pt x="636" y="84"/>
                  </a:cubicBezTo>
                  <a:close/>
                  <a:moveTo>
                    <a:pt x="1032" y="85"/>
                  </a:moveTo>
                  <a:cubicBezTo>
                    <a:pt x="1032" y="85"/>
                    <a:pt x="1032" y="85"/>
                    <a:pt x="1032" y="84"/>
                  </a:cubicBezTo>
                  <a:cubicBezTo>
                    <a:pt x="1032" y="85"/>
                    <a:pt x="1032" y="85"/>
                    <a:pt x="1032" y="85"/>
                  </a:cubicBezTo>
                  <a:close/>
                  <a:moveTo>
                    <a:pt x="595" y="42"/>
                  </a:moveTo>
                  <a:cubicBezTo>
                    <a:pt x="595" y="42"/>
                    <a:pt x="595" y="42"/>
                    <a:pt x="595" y="41"/>
                  </a:cubicBezTo>
                  <a:cubicBezTo>
                    <a:pt x="595" y="42"/>
                    <a:pt x="595" y="42"/>
                    <a:pt x="595" y="42"/>
                  </a:cubicBezTo>
                  <a:close/>
                  <a:moveTo>
                    <a:pt x="1344" y="87"/>
                  </a:moveTo>
                  <a:cubicBezTo>
                    <a:pt x="1344" y="86"/>
                    <a:pt x="1344" y="86"/>
                    <a:pt x="1344" y="86"/>
                  </a:cubicBezTo>
                  <a:cubicBezTo>
                    <a:pt x="1344" y="86"/>
                    <a:pt x="1344" y="86"/>
                    <a:pt x="1344" y="87"/>
                  </a:cubicBezTo>
                  <a:close/>
                  <a:moveTo>
                    <a:pt x="635" y="60"/>
                  </a:moveTo>
                  <a:cubicBezTo>
                    <a:pt x="635" y="60"/>
                    <a:pt x="635" y="59"/>
                    <a:pt x="635" y="59"/>
                  </a:cubicBezTo>
                  <a:cubicBezTo>
                    <a:pt x="635" y="59"/>
                    <a:pt x="635" y="60"/>
                    <a:pt x="635" y="60"/>
                  </a:cubicBezTo>
                  <a:close/>
                  <a:moveTo>
                    <a:pt x="1355" y="86"/>
                  </a:moveTo>
                  <a:cubicBezTo>
                    <a:pt x="1355" y="86"/>
                    <a:pt x="1355" y="86"/>
                    <a:pt x="1355" y="87"/>
                  </a:cubicBezTo>
                  <a:cubicBezTo>
                    <a:pt x="1355" y="87"/>
                    <a:pt x="1355" y="86"/>
                    <a:pt x="1355" y="86"/>
                  </a:cubicBezTo>
                  <a:close/>
                  <a:moveTo>
                    <a:pt x="1528" y="87"/>
                  </a:moveTo>
                  <a:cubicBezTo>
                    <a:pt x="1528" y="87"/>
                    <a:pt x="1528" y="86"/>
                    <a:pt x="1528" y="86"/>
                  </a:cubicBezTo>
                  <a:cubicBezTo>
                    <a:pt x="1528" y="86"/>
                    <a:pt x="1528" y="87"/>
                    <a:pt x="1528" y="87"/>
                  </a:cubicBezTo>
                  <a:close/>
                  <a:moveTo>
                    <a:pt x="1696" y="87"/>
                  </a:moveTo>
                  <a:cubicBezTo>
                    <a:pt x="1697" y="87"/>
                    <a:pt x="1697" y="86"/>
                    <a:pt x="1697" y="86"/>
                  </a:cubicBezTo>
                  <a:cubicBezTo>
                    <a:pt x="1696" y="86"/>
                    <a:pt x="1696" y="87"/>
                    <a:pt x="1696" y="87"/>
                  </a:cubicBezTo>
                  <a:close/>
                  <a:moveTo>
                    <a:pt x="635" y="86"/>
                  </a:moveTo>
                  <a:cubicBezTo>
                    <a:pt x="635" y="86"/>
                    <a:pt x="635" y="87"/>
                    <a:pt x="635" y="87"/>
                  </a:cubicBezTo>
                  <a:cubicBezTo>
                    <a:pt x="635" y="87"/>
                    <a:pt x="635" y="87"/>
                    <a:pt x="635" y="86"/>
                  </a:cubicBezTo>
                  <a:close/>
                  <a:moveTo>
                    <a:pt x="726" y="86"/>
                  </a:moveTo>
                  <a:cubicBezTo>
                    <a:pt x="726" y="87"/>
                    <a:pt x="726" y="87"/>
                    <a:pt x="726" y="87"/>
                  </a:cubicBezTo>
                  <a:cubicBezTo>
                    <a:pt x="726" y="87"/>
                    <a:pt x="726" y="87"/>
                    <a:pt x="726" y="86"/>
                  </a:cubicBezTo>
                  <a:close/>
                  <a:moveTo>
                    <a:pt x="1539" y="86"/>
                  </a:moveTo>
                  <a:cubicBezTo>
                    <a:pt x="1539" y="86"/>
                    <a:pt x="1539" y="87"/>
                    <a:pt x="1539" y="87"/>
                  </a:cubicBezTo>
                  <a:cubicBezTo>
                    <a:pt x="1539" y="87"/>
                    <a:pt x="1539" y="87"/>
                    <a:pt x="1539" y="86"/>
                  </a:cubicBezTo>
                  <a:close/>
                  <a:moveTo>
                    <a:pt x="1707" y="86"/>
                  </a:moveTo>
                  <a:cubicBezTo>
                    <a:pt x="1707" y="86"/>
                    <a:pt x="1707" y="87"/>
                    <a:pt x="1707" y="87"/>
                  </a:cubicBezTo>
                  <a:cubicBezTo>
                    <a:pt x="1707" y="87"/>
                    <a:pt x="1707" y="87"/>
                    <a:pt x="1707" y="86"/>
                  </a:cubicBezTo>
                  <a:close/>
                  <a:moveTo>
                    <a:pt x="623" y="87"/>
                  </a:moveTo>
                  <a:cubicBezTo>
                    <a:pt x="623" y="87"/>
                    <a:pt x="623" y="87"/>
                    <a:pt x="623" y="88"/>
                  </a:cubicBezTo>
                  <a:cubicBezTo>
                    <a:pt x="623" y="87"/>
                    <a:pt x="623" y="87"/>
                    <a:pt x="623" y="87"/>
                  </a:cubicBezTo>
                  <a:close/>
                  <a:moveTo>
                    <a:pt x="625" y="88"/>
                  </a:moveTo>
                  <a:cubicBezTo>
                    <a:pt x="625" y="87"/>
                    <a:pt x="625" y="87"/>
                    <a:pt x="625" y="87"/>
                  </a:cubicBezTo>
                  <a:cubicBezTo>
                    <a:pt x="625" y="87"/>
                    <a:pt x="625" y="87"/>
                    <a:pt x="625" y="88"/>
                  </a:cubicBezTo>
                  <a:close/>
                  <a:moveTo>
                    <a:pt x="1265" y="54"/>
                  </a:moveTo>
                  <a:cubicBezTo>
                    <a:pt x="1265" y="54"/>
                    <a:pt x="1265" y="55"/>
                    <a:pt x="1265" y="55"/>
                  </a:cubicBezTo>
                  <a:cubicBezTo>
                    <a:pt x="1265" y="55"/>
                    <a:pt x="1265" y="54"/>
                    <a:pt x="1265" y="54"/>
                  </a:cubicBezTo>
                  <a:close/>
                  <a:moveTo>
                    <a:pt x="829" y="54"/>
                  </a:moveTo>
                  <a:cubicBezTo>
                    <a:pt x="829" y="54"/>
                    <a:pt x="829" y="54"/>
                    <a:pt x="829" y="55"/>
                  </a:cubicBezTo>
                  <a:cubicBezTo>
                    <a:pt x="830" y="55"/>
                    <a:pt x="829" y="54"/>
                    <a:pt x="829" y="54"/>
                  </a:cubicBezTo>
                  <a:close/>
                  <a:moveTo>
                    <a:pt x="1528" y="88"/>
                  </a:moveTo>
                  <a:cubicBezTo>
                    <a:pt x="1528" y="88"/>
                    <a:pt x="1528" y="88"/>
                    <a:pt x="1528" y="87"/>
                  </a:cubicBezTo>
                  <a:cubicBezTo>
                    <a:pt x="1528" y="88"/>
                    <a:pt x="1528" y="88"/>
                    <a:pt x="1528" y="88"/>
                  </a:cubicBezTo>
                  <a:close/>
                  <a:moveTo>
                    <a:pt x="1696" y="88"/>
                  </a:moveTo>
                  <a:cubicBezTo>
                    <a:pt x="1696" y="88"/>
                    <a:pt x="1696" y="88"/>
                    <a:pt x="1696" y="87"/>
                  </a:cubicBezTo>
                  <a:cubicBezTo>
                    <a:pt x="1696" y="88"/>
                    <a:pt x="1696" y="88"/>
                    <a:pt x="1696" y="88"/>
                  </a:cubicBezTo>
                  <a:close/>
                  <a:moveTo>
                    <a:pt x="588" y="88"/>
                  </a:moveTo>
                  <a:cubicBezTo>
                    <a:pt x="587" y="88"/>
                    <a:pt x="587" y="88"/>
                    <a:pt x="587" y="89"/>
                  </a:cubicBezTo>
                  <a:cubicBezTo>
                    <a:pt x="588" y="88"/>
                    <a:pt x="588" y="88"/>
                    <a:pt x="588" y="88"/>
                  </a:cubicBezTo>
                  <a:close/>
                  <a:moveTo>
                    <a:pt x="613" y="89"/>
                  </a:moveTo>
                  <a:cubicBezTo>
                    <a:pt x="613" y="88"/>
                    <a:pt x="613" y="88"/>
                    <a:pt x="613" y="88"/>
                  </a:cubicBezTo>
                  <a:cubicBezTo>
                    <a:pt x="613" y="88"/>
                    <a:pt x="613" y="88"/>
                    <a:pt x="613" y="89"/>
                  </a:cubicBezTo>
                  <a:close/>
                  <a:moveTo>
                    <a:pt x="623" y="88"/>
                  </a:moveTo>
                  <a:cubicBezTo>
                    <a:pt x="623" y="88"/>
                    <a:pt x="623" y="88"/>
                    <a:pt x="623" y="89"/>
                  </a:cubicBezTo>
                  <a:cubicBezTo>
                    <a:pt x="623" y="88"/>
                    <a:pt x="623" y="88"/>
                    <a:pt x="623" y="88"/>
                  </a:cubicBezTo>
                  <a:close/>
                  <a:moveTo>
                    <a:pt x="726" y="88"/>
                  </a:moveTo>
                  <a:cubicBezTo>
                    <a:pt x="726" y="88"/>
                    <a:pt x="726" y="88"/>
                    <a:pt x="726" y="89"/>
                  </a:cubicBezTo>
                  <a:cubicBezTo>
                    <a:pt x="726" y="88"/>
                    <a:pt x="727" y="88"/>
                    <a:pt x="726" y="88"/>
                  </a:cubicBezTo>
                  <a:close/>
                  <a:moveTo>
                    <a:pt x="699" y="88"/>
                  </a:moveTo>
                  <a:cubicBezTo>
                    <a:pt x="699" y="88"/>
                    <a:pt x="699" y="89"/>
                    <a:pt x="699" y="89"/>
                  </a:cubicBezTo>
                  <a:cubicBezTo>
                    <a:pt x="699" y="89"/>
                    <a:pt x="699" y="88"/>
                    <a:pt x="699" y="88"/>
                  </a:cubicBezTo>
                  <a:close/>
                  <a:moveTo>
                    <a:pt x="1384" y="42"/>
                  </a:moveTo>
                  <a:cubicBezTo>
                    <a:pt x="1385" y="42"/>
                    <a:pt x="1385" y="42"/>
                    <a:pt x="1385" y="41"/>
                  </a:cubicBezTo>
                  <a:cubicBezTo>
                    <a:pt x="1384" y="42"/>
                    <a:pt x="1384" y="42"/>
                    <a:pt x="1384" y="42"/>
                  </a:cubicBezTo>
                  <a:close/>
                  <a:moveTo>
                    <a:pt x="614" y="90"/>
                  </a:moveTo>
                  <a:cubicBezTo>
                    <a:pt x="614" y="90"/>
                    <a:pt x="614" y="90"/>
                    <a:pt x="614" y="89"/>
                  </a:cubicBezTo>
                  <a:cubicBezTo>
                    <a:pt x="614" y="90"/>
                    <a:pt x="614" y="90"/>
                    <a:pt x="614" y="90"/>
                  </a:cubicBezTo>
                  <a:close/>
                  <a:moveTo>
                    <a:pt x="748" y="57"/>
                  </a:moveTo>
                  <a:cubicBezTo>
                    <a:pt x="749" y="57"/>
                    <a:pt x="749" y="56"/>
                    <a:pt x="749" y="56"/>
                  </a:cubicBezTo>
                  <a:cubicBezTo>
                    <a:pt x="748" y="56"/>
                    <a:pt x="748" y="57"/>
                    <a:pt x="748" y="57"/>
                  </a:cubicBezTo>
                  <a:close/>
                  <a:moveTo>
                    <a:pt x="1014" y="90"/>
                  </a:moveTo>
                  <a:cubicBezTo>
                    <a:pt x="1014" y="90"/>
                    <a:pt x="1015" y="90"/>
                    <a:pt x="1015" y="90"/>
                  </a:cubicBezTo>
                  <a:cubicBezTo>
                    <a:pt x="1015" y="90"/>
                    <a:pt x="1014" y="90"/>
                    <a:pt x="1014" y="90"/>
                  </a:cubicBezTo>
                  <a:close/>
                  <a:moveTo>
                    <a:pt x="715" y="91"/>
                  </a:moveTo>
                  <a:cubicBezTo>
                    <a:pt x="715" y="91"/>
                    <a:pt x="715" y="90"/>
                    <a:pt x="715" y="90"/>
                  </a:cubicBezTo>
                  <a:cubicBezTo>
                    <a:pt x="715" y="90"/>
                    <a:pt x="715" y="91"/>
                    <a:pt x="715" y="91"/>
                  </a:cubicBezTo>
                  <a:close/>
                  <a:moveTo>
                    <a:pt x="613" y="60"/>
                  </a:moveTo>
                  <a:cubicBezTo>
                    <a:pt x="613" y="60"/>
                    <a:pt x="613" y="61"/>
                    <a:pt x="614" y="61"/>
                  </a:cubicBezTo>
                  <a:cubicBezTo>
                    <a:pt x="614" y="60"/>
                    <a:pt x="614" y="60"/>
                    <a:pt x="613" y="60"/>
                  </a:cubicBezTo>
                  <a:close/>
                  <a:moveTo>
                    <a:pt x="1011" y="91"/>
                  </a:moveTo>
                  <a:cubicBezTo>
                    <a:pt x="1011" y="91"/>
                    <a:pt x="1012" y="91"/>
                    <a:pt x="1012" y="91"/>
                  </a:cubicBezTo>
                  <a:cubicBezTo>
                    <a:pt x="1012" y="91"/>
                    <a:pt x="1011" y="91"/>
                    <a:pt x="1011" y="91"/>
                  </a:cubicBezTo>
                  <a:close/>
                  <a:moveTo>
                    <a:pt x="1010" y="91"/>
                  </a:moveTo>
                  <a:cubicBezTo>
                    <a:pt x="1010" y="91"/>
                    <a:pt x="1011" y="91"/>
                    <a:pt x="1011" y="91"/>
                  </a:cubicBezTo>
                  <a:cubicBezTo>
                    <a:pt x="1010" y="91"/>
                    <a:pt x="1010" y="91"/>
                    <a:pt x="1010" y="91"/>
                  </a:cubicBezTo>
                  <a:close/>
                  <a:moveTo>
                    <a:pt x="1176" y="92"/>
                  </a:moveTo>
                  <a:cubicBezTo>
                    <a:pt x="1176" y="92"/>
                    <a:pt x="1175" y="91"/>
                    <a:pt x="1175" y="91"/>
                  </a:cubicBezTo>
                  <a:cubicBezTo>
                    <a:pt x="1175" y="91"/>
                    <a:pt x="1175" y="92"/>
                    <a:pt x="1176" y="92"/>
                  </a:cubicBezTo>
                  <a:close/>
                  <a:moveTo>
                    <a:pt x="1737" y="41"/>
                  </a:moveTo>
                  <a:cubicBezTo>
                    <a:pt x="1738" y="40"/>
                    <a:pt x="1738" y="40"/>
                    <a:pt x="1738" y="40"/>
                  </a:cubicBezTo>
                  <a:cubicBezTo>
                    <a:pt x="1737" y="40"/>
                    <a:pt x="1737" y="40"/>
                    <a:pt x="1737" y="41"/>
                  </a:cubicBezTo>
                  <a:close/>
                  <a:moveTo>
                    <a:pt x="716" y="92"/>
                  </a:moveTo>
                  <a:cubicBezTo>
                    <a:pt x="716" y="92"/>
                    <a:pt x="716" y="92"/>
                    <a:pt x="715" y="91"/>
                  </a:cubicBezTo>
                  <a:cubicBezTo>
                    <a:pt x="715" y="92"/>
                    <a:pt x="715" y="92"/>
                    <a:pt x="716" y="92"/>
                  </a:cubicBezTo>
                  <a:close/>
                  <a:moveTo>
                    <a:pt x="986" y="91"/>
                  </a:moveTo>
                  <a:cubicBezTo>
                    <a:pt x="986" y="92"/>
                    <a:pt x="986" y="92"/>
                    <a:pt x="987" y="92"/>
                  </a:cubicBezTo>
                  <a:cubicBezTo>
                    <a:pt x="987" y="91"/>
                    <a:pt x="986" y="91"/>
                    <a:pt x="986" y="91"/>
                  </a:cubicBezTo>
                  <a:close/>
                  <a:moveTo>
                    <a:pt x="1008" y="92"/>
                  </a:moveTo>
                  <a:cubicBezTo>
                    <a:pt x="1009" y="92"/>
                    <a:pt x="1009" y="92"/>
                    <a:pt x="1010" y="91"/>
                  </a:cubicBezTo>
                  <a:cubicBezTo>
                    <a:pt x="1009" y="91"/>
                    <a:pt x="1009" y="91"/>
                    <a:pt x="1008" y="92"/>
                  </a:cubicBezTo>
                  <a:close/>
                  <a:moveTo>
                    <a:pt x="1251" y="92"/>
                  </a:moveTo>
                  <a:cubicBezTo>
                    <a:pt x="1252" y="92"/>
                    <a:pt x="1252" y="92"/>
                    <a:pt x="1252" y="91"/>
                  </a:cubicBezTo>
                  <a:cubicBezTo>
                    <a:pt x="1252" y="91"/>
                    <a:pt x="1252" y="91"/>
                    <a:pt x="1251" y="92"/>
                  </a:cubicBezTo>
                  <a:close/>
                  <a:moveTo>
                    <a:pt x="791" y="92"/>
                  </a:moveTo>
                  <a:cubicBezTo>
                    <a:pt x="791" y="92"/>
                    <a:pt x="791" y="92"/>
                    <a:pt x="792" y="92"/>
                  </a:cubicBezTo>
                  <a:cubicBezTo>
                    <a:pt x="791" y="92"/>
                    <a:pt x="791" y="92"/>
                    <a:pt x="791" y="92"/>
                  </a:cubicBezTo>
                  <a:close/>
                  <a:moveTo>
                    <a:pt x="667" y="92"/>
                  </a:moveTo>
                  <a:cubicBezTo>
                    <a:pt x="667" y="92"/>
                    <a:pt x="667" y="93"/>
                    <a:pt x="668" y="92"/>
                  </a:cubicBezTo>
                  <a:cubicBezTo>
                    <a:pt x="667" y="92"/>
                    <a:pt x="667" y="92"/>
                    <a:pt x="667" y="92"/>
                  </a:cubicBezTo>
                  <a:close/>
                  <a:moveTo>
                    <a:pt x="789" y="92"/>
                  </a:moveTo>
                  <a:cubicBezTo>
                    <a:pt x="790" y="92"/>
                    <a:pt x="790" y="92"/>
                    <a:pt x="791" y="92"/>
                  </a:cubicBezTo>
                  <a:cubicBezTo>
                    <a:pt x="790" y="92"/>
                    <a:pt x="790" y="92"/>
                    <a:pt x="789" y="92"/>
                  </a:cubicBezTo>
                  <a:close/>
                  <a:moveTo>
                    <a:pt x="1569" y="41"/>
                  </a:moveTo>
                  <a:cubicBezTo>
                    <a:pt x="1570" y="40"/>
                    <a:pt x="1570" y="40"/>
                    <a:pt x="1570" y="40"/>
                  </a:cubicBezTo>
                  <a:cubicBezTo>
                    <a:pt x="1569" y="40"/>
                    <a:pt x="1569" y="40"/>
                    <a:pt x="1569" y="41"/>
                  </a:cubicBezTo>
                  <a:close/>
                  <a:moveTo>
                    <a:pt x="1176" y="93"/>
                  </a:moveTo>
                  <a:cubicBezTo>
                    <a:pt x="1176" y="93"/>
                    <a:pt x="1176" y="92"/>
                    <a:pt x="1175" y="92"/>
                  </a:cubicBezTo>
                  <a:cubicBezTo>
                    <a:pt x="1175" y="92"/>
                    <a:pt x="1175" y="93"/>
                    <a:pt x="1176" y="93"/>
                  </a:cubicBezTo>
                  <a:close/>
                  <a:moveTo>
                    <a:pt x="668" y="92"/>
                  </a:moveTo>
                  <a:cubicBezTo>
                    <a:pt x="668" y="93"/>
                    <a:pt x="668" y="93"/>
                    <a:pt x="669" y="93"/>
                  </a:cubicBezTo>
                  <a:cubicBezTo>
                    <a:pt x="668" y="92"/>
                    <a:pt x="668" y="92"/>
                    <a:pt x="668" y="92"/>
                  </a:cubicBezTo>
                  <a:close/>
                  <a:moveTo>
                    <a:pt x="716" y="93"/>
                  </a:moveTo>
                  <a:cubicBezTo>
                    <a:pt x="716" y="93"/>
                    <a:pt x="716" y="93"/>
                    <a:pt x="716" y="92"/>
                  </a:cubicBezTo>
                  <a:cubicBezTo>
                    <a:pt x="716" y="93"/>
                    <a:pt x="716" y="93"/>
                    <a:pt x="716" y="93"/>
                  </a:cubicBezTo>
                  <a:close/>
                  <a:moveTo>
                    <a:pt x="772" y="92"/>
                  </a:moveTo>
                  <a:cubicBezTo>
                    <a:pt x="772" y="93"/>
                    <a:pt x="772" y="93"/>
                    <a:pt x="773" y="93"/>
                  </a:cubicBezTo>
                  <a:cubicBezTo>
                    <a:pt x="772" y="92"/>
                    <a:pt x="772" y="92"/>
                    <a:pt x="772" y="92"/>
                  </a:cubicBezTo>
                  <a:close/>
                  <a:moveTo>
                    <a:pt x="788" y="93"/>
                  </a:moveTo>
                  <a:cubicBezTo>
                    <a:pt x="789" y="93"/>
                    <a:pt x="789" y="93"/>
                    <a:pt x="789" y="92"/>
                  </a:cubicBezTo>
                  <a:cubicBezTo>
                    <a:pt x="789" y="92"/>
                    <a:pt x="789" y="92"/>
                    <a:pt x="788" y="93"/>
                  </a:cubicBezTo>
                  <a:close/>
                  <a:moveTo>
                    <a:pt x="1070" y="93"/>
                  </a:moveTo>
                  <a:cubicBezTo>
                    <a:pt x="1071" y="93"/>
                    <a:pt x="1071" y="93"/>
                    <a:pt x="1071" y="92"/>
                  </a:cubicBezTo>
                  <a:cubicBezTo>
                    <a:pt x="1071" y="92"/>
                    <a:pt x="1071" y="92"/>
                    <a:pt x="1070" y="93"/>
                  </a:cubicBezTo>
                  <a:close/>
                  <a:moveTo>
                    <a:pt x="1248" y="93"/>
                  </a:moveTo>
                  <a:cubicBezTo>
                    <a:pt x="1249" y="93"/>
                    <a:pt x="1249" y="93"/>
                    <a:pt x="1249" y="92"/>
                  </a:cubicBezTo>
                  <a:cubicBezTo>
                    <a:pt x="1249" y="92"/>
                    <a:pt x="1249" y="92"/>
                    <a:pt x="1248" y="93"/>
                  </a:cubicBezTo>
                  <a:close/>
                  <a:moveTo>
                    <a:pt x="669" y="93"/>
                  </a:moveTo>
                  <a:cubicBezTo>
                    <a:pt x="669" y="93"/>
                    <a:pt x="670" y="93"/>
                    <a:pt x="670" y="93"/>
                  </a:cubicBezTo>
                  <a:cubicBezTo>
                    <a:pt x="670" y="93"/>
                    <a:pt x="669" y="93"/>
                    <a:pt x="669" y="93"/>
                  </a:cubicBezTo>
                  <a:close/>
                  <a:moveTo>
                    <a:pt x="682" y="93"/>
                  </a:moveTo>
                  <a:cubicBezTo>
                    <a:pt x="682" y="93"/>
                    <a:pt x="682" y="93"/>
                    <a:pt x="683" y="93"/>
                  </a:cubicBezTo>
                  <a:cubicBezTo>
                    <a:pt x="682" y="93"/>
                    <a:pt x="682" y="93"/>
                    <a:pt x="682" y="93"/>
                  </a:cubicBezTo>
                  <a:close/>
                  <a:moveTo>
                    <a:pt x="773" y="93"/>
                  </a:moveTo>
                  <a:cubicBezTo>
                    <a:pt x="773" y="93"/>
                    <a:pt x="774" y="93"/>
                    <a:pt x="774" y="93"/>
                  </a:cubicBezTo>
                  <a:cubicBezTo>
                    <a:pt x="774" y="93"/>
                    <a:pt x="773" y="93"/>
                    <a:pt x="773" y="93"/>
                  </a:cubicBezTo>
                  <a:close/>
                  <a:moveTo>
                    <a:pt x="1055" y="93"/>
                  </a:moveTo>
                  <a:cubicBezTo>
                    <a:pt x="1055" y="93"/>
                    <a:pt x="1056" y="93"/>
                    <a:pt x="1056" y="93"/>
                  </a:cubicBezTo>
                  <a:cubicBezTo>
                    <a:pt x="1056" y="93"/>
                    <a:pt x="1055" y="93"/>
                    <a:pt x="1055" y="93"/>
                  </a:cubicBezTo>
                  <a:close/>
                  <a:moveTo>
                    <a:pt x="1069" y="93"/>
                  </a:moveTo>
                  <a:cubicBezTo>
                    <a:pt x="1069" y="93"/>
                    <a:pt x="1070" y="93"/>
                    <a:pt x="1070" y="93"/>
                  </a:cubicBezTo>
                  <a:cubicBezTo>
                    <a:pt x="1070" y="93"/>
                    <a:pt x="1069" y="93"/>
                    <a:pt x="1069" y="93"/>
                  </a:cubicBezTo>
                  <a:close/>
                  <a:moveTo>
                    <a:pt x="1233" y="93"/>
                  </a:moveTo>
                  <a:cubicBezTo>
                    <a:pt x="1233" y="93"/>
                    <a:pt x="1234" y="93"/>
                    <a:pt x="1234" y="93"/>
                  </a:cubicBezTo>
                  <a:cubicBezTo>
                    <a:pt x="1234" y="93"/>
                    <a:pt x="1233" y="93"/>
                    <a:pt x="1233" y="93"/>
                  </a:cubicBezTo>
                  <a:close/>
                  <a:moveTo>
                    <a:pt x="1247" y="93"/>
                  </a:moveTo>
                  <a:cubicBezTo>
                    <a:pt x="1247" y="93"/>
                    <a:pt x="1248" y="93"/>
                    <a:pt x="1248" y="93"/>
                  </a:cubicBezTo>
                  <a:cubicBezTo>
                    <a:pt x="1248" y="93"/>
                    <a:pt x="1247" y="93"/>
                    <a:pt x="1247" y="93"/>
                  </a:cubicBezTo>
                  <a:close/>
                  <a:moveTo>
                    <a:pt x="636" y="57"/>
                  </a:moveTo>
                  <a:cubicBezTo>
                    <a:pt x="636" y="57"/>
                    <a:pt x="636" y="57"/>
                    <a:pt x="636" y="56"/>
                  </a:cubicBezTo>
                  <a:cubicBezTo>
                    <a:pt x="636" y="57"/>
                    <a:pt x="636" y="57"/>
                    <a:pt x="636" y="57"/>
                  </a:cubicBezTo>
                  <a:close/>
                  <a:moveTo>
                    <a:pt x="731" y="93"/>
                  </a:moveTo>
                  <a:cubicBezTo>
                    <a:pt x="732" y="94"/>
                    <a:pt x="732" y="94"/>
                    <a:pt x="733" y="93"/>
                  </a:cubicBezTo>
                  <a:cubicBezTo>
                    <a:pt x="732" y="93"/>
                    <a:pt x="732" y="93"/>
                    <a:pt x="731" y="93"/>
                  </a:cubicBezTo>
                  <a:close/>
                  <a:moveTo>
                    <a:pt x="645" y="61"/>
                  </a:moveTo>
                  <a:cubicBezTo>
                    <a:pt x="645" y="61"/>
                    <a:pt x="645" y="61"/>
                    <a:pt x="645" y="62"/>
                  </a:cubicBezTo>
                  <a:cubicBezTo>
                    <a:pt x="645" y="62"/>
                    <a:pt x="645" y="61"/>
                    <a:pt x="645" y="61"/>
                  </a:cubicBezTo>
                  <a:close/>
                  <a:moveTo>
                    <a:pt x="639" y="50"/>
                  </a:moveTo>
                  <a:cubicBezTo>
                    <a:pt x="639" y="49"/>
                    <a:pt x="639" y="49"/>
                    <a:pt x="639" y="49"/>
                  </a:cubicBezTo>
                  <a:cubicBezTo>
                    <a:pt x="639" y="49"/>
                    <a:pt x="639" y="49"/>
                    <a:pt x="639" y="50"/>
                  </a:cubicBezTo>
                  <a:close/>
                  <a:moveTo>
                    <a:pt x="1197" y="93"/>
                  </a:moveTo>
                  <a:cubicBezTo>
                    <a:pt x="1198" y="94"/>
                    <a:pt x="1198" y="94"/>
                    <a:pt x="1199" y="93"/>
                  </a:cubicBezTo>
                  <a:cubicBezTo>
                    <a:pt x="1198" y="93"/>
                    <a:pt x="1198" y="93"/>
                    <a:pt x="1197" y="93"/>
                  </a:cubicBezTo>
                  <a:close/>
                  <a:moveTo>
                    <a:pt x="595" y="41"/>
                  </a:moveTo>
                  <a:cubicBezTo>
                    <a:pt x="595" y="40"/>
                    <a:pt x="594" y="40"/>
                    <a:pt x="594" y="40"/>
                  </a:cubicBezTo>
                  <a:cubicBezTo>
                    <a:pt x="594" y="40"/>
                    <a:pt x="594" y="40"/>
                    <a:pt x="595" y="41"/>
                  </a:cubicBezTo>
                  <a:close/>
                  <a:moveTo>
                    <a:pt x="670" y="55"/>
                  </a:moveTo>
                  <a:cubicBezTo>
                    <a:pt x="670" y="55"/>
                    <a:pt x="670" y="55"/>
                    <a:pt x="670" y="56"/>
                  </a:cubicBezTo>
                  <a:cubicBezTo>
                    <a:pt x="670" y="55"/>
                    <a:pt x="670" y="55"/>
                    <a:pt x="670" y="55"/>
                  </a:cubicBezTo>
                  <a:close/>
                  <a:moveTo>
                    <a:pt x="871" y="56"/>
                  </a:moveTo>
                  <a:cubicBezTo>
                    <a:pt x="871" y="56"/>
                    <a:pt x="871" y="57"/>
                    <a:pt x="871" y="57"/>
                  </a:cubicBezTo>
                  <a:cubicBezTo>
                    <a:pt x="871" y="57"/>
                    <a:pt x="871" y="57"/>
                    <a:pt x="871" y="56"/>
                  </a:cubicBezTo>
                  <a:close/>
                  <a:moveTo>
                    <a:pt x="1111" y="56"/>
                  </a:moveTo>
                  <a:cubicBezTo>
                    <a:pt x="1111" y="56"/>
                    <a:pt x="1111" y="57"/>
                    <a:pt x="1111" y="57"/>
                  </a:cubicBezTo>
                  <a:cubicBezTo>
                    <a:pt x="1111" y="57"/>
                    <a:pt x="1111" y="57"/>
                    <a:pt x="1111" y="56"/>
                  </a:cubicBezTo>
                  <a:close/>
                  <a:moveTo>
                    <a:pt x="617" y="97"/>
                  </a:moveTo>
                  <a:cubicBezTo>
                    <a:pt x="616" y="96"/>
                    <a:pt x="616" y="96"/>
                    <a:pt x="616" y="96"/>
                  </a:cubicBezTo>
                  <a:cubicBezTo>
                    <a:pt x="616" y="96"/>
                    <a:pt x="616" y="96"/>
                    <a:pt x="617" y="97"/>
                  </a:cubicBezTo>
                  <a:close/>
                  <a:moveTo>
                    <a:pt x="1208" y="57"/>
                  </a:moveTo>
                  <a:cubicBezTo>
                    <a:pt x="1209" y="57"/>
                    <a:pt x="1209" y="57"/>
                    <a:pt x="1209" y="56"/>
                  </a:cubicBezTo>
                  <a:cubicBezTo>
                    <a:pt x="1208" y="57"/>
                    <a:pt x="1208" y="57"/>
                    <a:pt x="1208" y="57"/>
                  </a:cubicBezTo>
                  <a:close/>
                  <a:moveTo>
                    <a:pt x="1684" y="39"/>
                  </a:moveTo>
                  <a:cubicBezTo>
                    <a:pt x="1683" y="39"/>
                    <a:pt x="1683" y="40"/>
                    <a:pt x="1683" y="40"/>
                  </a:cubicBezTo>
                  <a:cubicBezTo>
                    <a:pt x="1684" y="40"/>
                    <a:pt x="1684" y="40"/>
                    <a:pt x="1684" y="39"/>
                  </a:cubicBezTo>
                  <a:close/>
                  <a:moveTo>
                    <a:pt x="617" y="98"/>
                  </a:moveTo>
                  <a:cubicBezTo>
                    <a:pt x="617" y="98"/>
                    <a:pt x="617" y="98"/>
                    <a:pt x="617" y="97"/>
                  </a:cubicBezTo>
                  <a:cubicBezTo>
                    <a:pt x="617" y="98"/>
                    <a:pt x="617" y="98"/>
                    <a:pt x="617" y="98"/>
                  </a:cubicBezTo>
                  <a:close/>
                  <a:moveTo>
                    <a:pt x="1385" y="40"/>
                  </a:moveTo>
                  <a:cubicBezTo>
                    <a:pt x="1385" y="40"/>
                    <a:pt x="1385" y="40"/>
                    <a:pt x="1385" y="39"/>
                  </a:cubicBezTo>
                  <a:cubicBezTo>
                    <a:pt x="1385" y="39"/>
                    <a:pt x="1385" y="40"/>
                    <a:pt x="1385" y="40"/>
                  </a:cubicBezTo>
                  <a:close/>
                  <a:moveTo>
                    <a:pt x="1017" y="99"/>
                  </a:moveTo>
                  <a:cubicBezTo>
                    <a:pt x="1017" y="99"/>
                    <a:pt x="1017" y="99"/>
                    <a:pt x="1016" y="100"/>
                  </a:cubicBezTo>
                  <a:cubicBezTo>
                    <a:pt x="1017" y="100"/>
                    <a:pt x="1017" y="100"/>
                    <a:pt x="1017" y="99"/>
                  </a:cubicBezTo>
                  <a:close/>
                  <a:moveTo>
                    <a:pt x="1255" y="100"/>
                  </a:moveTo>
                  <a:cubicBezTo>
                    <a:pt x="1255" y="100"/>
                    <a:pt x="1254" y="100"/>
                    <a:pt x="1254" y="100"/>
                  </a:cubicBezTo>
                  <a:cubicBezTo>
                    <a:pt x="1255" y="100"/>
                    <a:pt x="1255" y="101"/>
                    <a:pt x="1255" y="100"/>
                  </a:cubicBezTo>
                  <a:close/>
                  <a:moveTo>
                    <a:pt x="794" y="100"/>
                  </a:moveTo>
                  <a:cubicBezTo>
                    <a:pt x="794" y="100"/>
                    <a:pt x="794" y="101"/>
                    <a:pt x="793" y="101"/>
                  </a:cubicBezTo>
                  <a:cubicBezTo>
                    <a:pt x="794" y="101"/>
                    <a:pt x="794" y="101"/>
                    <a:pt x="794" y="100"/>
                  </a:cubicBezTo>
                  <a:close/>
                  <a:moveTo>
                    <a:pt x="573" y="101"/>
                  </a:moveTo>
                  <a:cubicBezTo>
                    <a:pt x="573" y="101"/>
                    <a:pt x="572" y="101"/>
                    <a:pt x="572" y="101"/>
                  </a:cubicBezTo>
                  <a:cubicBezTo>
                    <a:pt x="573" y="101"/>
                    <a:pt x="573" y="101"/>
                    <a:pt x="573" y="101"/>
                  </a:cubicBezTo>
                  <a:close/>
                  <a:moveTo>
                    <a:pt x="765" y="101"/>
                  </a:moveTo>
                  <a:cubicBezTo>
                    <a:pt x="765" y="101"/>
                    <a:pt x="765" y="101"/>
                    <a:pt x="764" y="101"/>
                  </a:cubicBezTo>
                  <a:cubicBezTo>
                    <a:pt x="765" y="101"/>
                    <a:pt x="765" y="101"/>
                    <a:pt x="765" y="101"/>
                  </a:cubicBezTo>
                  <a:close/>
                  <a:moveTo>
                    <a:pt x="1013" y="101"/>
                  </a:moveTo>
                  <a:cubicBezTo>
                    <a:pt x="1013" y="101"/>
                    <a:pt x="1012" y="101"/>
                    <a:pt x="1012" y="101"/>
                  </a:cubicBezTo>
                  <a:cubicBezTo>
                    <a:pt x="1013" y="101"/>
                    <a:pt x="1013" y="101"/>
                    <a:pt x="1013" y="101"/>
                  </a:cubicBezTo>
                  <a:close/>
                  <a:moveTo>
                    <a:pt x="1076" y="101"/>
                  </a:moveTo>
                  <a:cubicBezTo>
                    <a:pt x="1075" y="101"/>
                    <a:pt x="1075" y="101"/>
                    <a:pt x="1074" y="101"/>
                  </a:cubicBezTo>
                  <a:cubicBezTo>
                    <a:pt x="1075" y="101"/>
                    <a:pt x="1075" y="101"/>
                    <a:pt x="1076" y="101"/>
                  </a:cubicBezTo>
                  <a:close/>
                  <a:moveTo>
                    <a:pt x="572" y="101"/>
                  </a:moveTo>
                  <a:cubicBezTo>
                    <a:pt x="572" y="101"/>
                    <a:pt x="571" y="101"/>
                    <a:pt x="571" y="101"/>
                  </a:cubicBezTo>
                  <a:cubicBezTo>
                    <a:pt x="572" y="102"/>
                    <a:pt x="572" y="102"/>
                    <a:pt x="572" y="101"/>
                  </a:cubicBezTo>
                  <a:close/>
                  <a:moveTo>
                    <a:pt x="629" y="101"/>
                  </a:moveTo>
                  <a:cubicBezTo>
                    <a:pt x="629" y="101"/>
                    <a:pt x="629" y="102"/>
                    <a:pt x="629" y="102"/>
                  </a:cubicBezTo>
                  <a:cubicBezTo>
                    <a:pt x="629" y="102"/>
                    <a:pt x="629" y="102"/>
                    <a:pt x="629" y="101"/>
                  </a:cubicBezTo>
                  <a:close/>
                  <a:moveTo>
                    <a:pt x="792" y="101"/>
                  </a:moveTo>
                  <a:cubicBezTo>
                    <a:pt x="792" y="101"/>
                    <a:pt x="791" y="101"/>
                    <a:pt x="791" y="102"/>
                  </a:cubicBezTo>
                  <a:cubicBezTo>
                    <a:pt x="792" y="102"/>
                    <a:pt x="792" y="102"/>
                    <a:pt x="792" y="101"/>
                  </a:cubicBezTo>
                  <a:close/>
                  <a:moveTo>
                    <a:pt x="982" y="102"/>
                  </a:moveTo>
                  <a:cubicBezTo>
                    <a:pt x="981" y="101"/>
                    <a:pt x="981" y="101"/>
                    <a:pt x="981" y="101"/>
                  </a:cubicBezTo>
                  <a:cubicBezTo>
                    <a:pt x="981" y="102"/>
                    <a:pt x="981" y="102"/>
                    <a:pt x="982" y="102"/>
                  </a:cubicBezTo>
                  <a:close/>
                  <a:moveTo>
                    <a:pt x="1012" y="101"/>
                  </a:moveTo>
                  <a:cubicBezTo>
                    <a:pt x="1012" y="101"/>
                    <a:pt x="1011" y="101"/>
                    <a:pt x="1011" y="101"/>
                  </a:cubicBezTo>
                  <a:cubicBezTo>
                    <a:pt x="1011" y="101"/>
                    <a:pt x="1012" y="102"/>
                    <a:pt x="1012" y="101"/>
                  </a:cubicBezTo>
                  <a:close/>
                  <a:moveTo>
                    <a:pt x="1048" y="101"/>
                  </a:moveTo>
                  <a:cubicBezTo>
                    <a:pt x="1048" y="101"/>
                    <a:pt x="1048" y="101"/>
                    <a:pt x="1047" y="101"/>
                  </a:cubicBezTo>
                  <a:cubicBezTo>
                    <a:pt x="1048" y="102"/>
                    <a:pt x="1048" y="101"/>
                    <a:pt x="1048" y="101"/>
                  </a:cubicBezTo>
                  <a:close/>
                  <a:moveTo>
                    <a:pt x="1075" y="101"/>
                  </a:moveTo>
                  <a:cubicBezTo>
                    <a:pt x="1074" y="101"/>
                    <a:pt x="1074" y="101"/>
                    <a:pt x="1073" y="101"/>
                  </a:cubicBezTo>
                  <a:cubicBezTo>
                    <a:pt x="1074" y="101"/>
                    <a:pt x="1074" y="102"/>
                    <a:pt x="1075" y="101"/>
                  </a:cubicBezTo>
                  <a:close/>
                  <a:moveTo>
                    <a:pt x="1226" y="101"/>
                  </a:moveTo>
                  <a:cubicBezTo>
                    <a:pt x="1226" y="101"/>
                    <a:pt x="1226" y="101"/>
                    <a:pt x="1225" y="101"/>
                  </a:cubicBezTo>
                  <a:cubicBezTo>
                    <a:pt x="1225" y="102"/>
                    <a:pt x="1226" y="102"/>
                    <a:pt x="1226" y="101"/>
                  </a:cubicBezTo>
                  <a:close/>
                  <a:moveTo>
                    <a:pt x="571" y="101"/>
                  </a:moveTo>
                  <a:cubicBezTo>
                    <a:pt x="571" y="101"/>
                    <a:pt x="570" y="101"/>
                    <a:pt x="570" y="102"/>
                  </a:cubicBezTo>
                  <a:cubicBezTo>
                    <a:pt x="570" y="102"/>
                    <a:pt x="571" y="102"/>
                    <a:pt x="571" y="101"/>
                  </a:cubicBezTo>
                  <a:close/>
                  <a:moveTo>
                    <a:pt x="618" y="103"/>
                  </a:moveTo>
                  <a:cubicBezTo>
                    <a:pt x="618" y="102"/>
                    <a:pt x="618" y="102"/>
                    <a:pt x="618" y="102"/>
                  </a:cubicBezTo>
                  <a:cubicBezTo>
                    <a:pt x="618" y="102"/>
                    <a:pt x="618" y="102"/>
                    <a:pt x="618" y="103"/>
                  </a:cubicBezTo>
                  <a:close/>
                  <a:moveTo>
                    <a:pt x="665" y="102"/>
                  </a:moveTo>
                  <a:cubicBezTo>
                    <a:pt x="664" y="101"/>
                    <a:pt x="664" y="101"/>
                    <a:pt x="663" y="101"/>
                  </a:cubicBezTo>
                  <a:cubicBezTo>
                    <a:pt x="664" y="102"/>
                    <a:pt x="664" y="102"/>
                    <a:pt x="665" y="102"/>
                  </a:cubicBezTo>
                  <a:close/>
                  <a:moveTo>
                    <a:pt x="724" y="102"/>
                  </a:moveTo>
                  <a:cubicBezTo>
                    <a:pt x="724" y="102"/>
                    <a:pt x="724" y="101"/>
                    <a:pt x="723" y="101"/>
                  </a:cubicBezTo>
                  <a:cubicBezTo>
                    <a:pt x="724" y="102"/>
                    <a:pt x="724" y="102"/>
                    <a:pt x="724" y="102"/>
                  </a:cubicBezTo>
                  <a:close/>
                  <a:moveTo>
                    <a:pt x="791" y="101"/>
                  </a:moveTo>
                  <a:cubicBezTo>
                    <a:pt x="791" y="101"/>
                    <a:pt x="790" y="101"/>
                    <a:pt x="790" y="102"/>
                  </a:cubicBezTo>
                  <a:cubicBezTo>
                    <a:pt x="790" y="102"/>
                    <a:pt x="791" y="102"/>
                    <a:pt x="791" y="101"/>
                  </a:cubicBezTo>
                  <a:close/>
                  <a:moveTo>
                    <a:pt x="983" y="102"/>
                  </a:moveTo>
                  <a:cubicBezTo>
                    <a:pt x="982" y="101"/>
                    <a:pt x="982" y="101"/>
                    <a:pt x="982" y="101"/>
                  </a:cubicBezTo>
                  <a:cubicBezTo>
                    <a:pt x="982" y="102"/>
                    <a:pt x="982" y="102"/>
                    <a:pt x="983" y="102"/>
                  </a:cubicBezTo>
                  <a:close/>
                  <a:moveTo>
                    <a:pt x="1050" y="102"/>
                  </a:moveTo>
                  <a:cubicBezTo>
                    <a:pt x="1049" y="102"/>
                    <a:pt x="1049" y="101"/>
                    <a:pt x="1048" y="101"/>
                  </a:cubicBezTo>
                  <a:cubicBezTo>
                    <a:pt x="1049" y="102"/>
                    <a:pt x="1049" y="102"/>
                    <a:pt x="1050" y="102"/>
                  </a:cubicBezTo>
                  <a:close/>
                  <a:moveTo>
                    <a:pt x="1073" y="102"/>
                  </a:moveTo>
                  <a:cubicBezTo>
                    <a:pt x="1073" y="102"/>
                    <a:pt x="1072" y="102"/>
                    <a:pt x="1072" y="102"/>
                  </a:cubicBezTo>
                  <a:cubicBezTo>
                    <a:pt x="1072" y="102"/>
                    <a:pt x="1073" y="102"/>
                    <a:pt x="1073" y="102"/>
                  </a:cubicBezTo>
                  <a:close/>
                  <a:moveTo>
                    <a:pt x="1227" y="102"/>
                  </a:moveTo>
                  <a:cubicBezTo>
                    <a:pt x="1227" y="102"/>
                    <a:pt x="1227" y="101"/>
                    <a:pt x="1226" y="101"/>
                  </a:cubicBezTo>
                  <a:cubicBezTo>
                    <a:pt x="1227" y="102"/>
                    <a:pt x="1227" y="102"/>
                    <a:pt x="1227" y="102"/>
                  </a:cubicBezTo>
                  <a:close/>
                  <a:moveTo>
                    <a:pt x="1251" y="102"/>
                  </a:moveTo>
                  <a:cubicBezTo>
                    <a:pt x="1251" y="101"/>
                    <a:pt x="1250" y="102"/>
                    <a:pt x="1250" y="102"/>
                  </a:cubicBezTo>
                  <a:cubicBezTo>
                    <a:pt x="1250" y="102"/>
                    <a:pt x="1251" y="102"/>
                    <a:pt x="1251" y="102"/>
                  </a:cubicBezTo>
                  <a:close/>
                  <a:moveTo>
                    <a:pt x="1430" y="102"/>
                  </a:moveTo>
                  <a:cubicBezTo>
                    <a:pt x="1430" y="102"/>
                    <a:pt x="1430" y="101"/>
                    <a:pt x="1429" y="101"/>
                  </a:cubicBezTo>
                  <a:cubicBezTo>
                    <a:pt x="1429" y="102"/>
                    <a:pt x="1430" y="102"/>
                    <a:pt x="1430" y="102"/>
                  </a:cubicBezTo>
                  <a:close/>
                  <a:moveTo>
                    <a:pt x="570" y="102"/>
                  </a:moveTo>
                  <a:cubicBezTo>
                    <a:pt x="569" y="102"/>
                    <a:pt x="569" y="102"/>
                    <a:pt x="569" y="102"/>
                  </a:cubicBezTo>
                  <a:cubicBezTo>
                    <a:pt x="569" y="102"/>
                    <a:pt x="569" y="102"/>
                    <a:pt x="570" y="102"/>
                  </a:cubicBezTo>
                  <a:close/>
                  <a:moveTo>
                    <a:pt x="666" y="102"/>
                  </a:moveTo>
                  <a:cubicBezTo>
                    <a:pt x="666" y="102"/>
                    <a:pt x="665" y="102"/>
                    <a:pt x="665" y="102"/>
                  </a:cubicBezTo>
                  <a:cubicBezTo>
                    <a:pt x="665" y="102"/>
                    <a:pt x="666" y="102"/>
                    <a:pt x="666" y="102"/>
                  </a:cubicBezTo>
                  <a:close/>
                  <a:moveTo>
                    <a:pt x="685" y="102"/>
                  </a:moveTo>
                  <a:cubicBezTo>
                    <a:pt x="685" y="102"/>
                    <a:pt x="684" y="102"/>
                    <a:pt x="684" y="102"/>
                  </a:cubicBezTo>
                  <a:cubicBezTo>
                    <a:pt x="684" y="102"/>
                    <a:pt x="685" y="102"/>
                    <a:pt x="685" y="102"/>
                  </a:cubicBezTo>
                  <a:close/>
                  <a:moveTo>
                    <a:pt x="740" y="102"/>
                  </a:moveTo>
                  <a:cubicBezTo>
                    <a:pt x="740" y="102"/>
                    <a:pt x="740" y="102"/>
                    <a:pt x="739" y="102"/>
                  </a:cubicBezTo>
                  <a:cubicBezTo>
                    <a:pt x="740" y="102"/>
                    <a:pt x="740" y="102"/>
                    <a:pt x="740" y="102"/>
                  </a:cubicBezTo>
                  <a:close/>
                  <a:moveTo>
                    <a:pt x="769" y="102"/>
                  </a:moveTo>
                  <a:cubicBezTo>
                    <a:pt x="768" y="102"/>
                    <a:pt x="768" y="102"/>
                    <a:pt x="768" y="102"/>
                  </a:cubicBezTo>
                  <a:cubicBezTo>
                    <a:pt x="768" y="102"/>
                    <a:pt x="768" y="102"/>
                    <a:pt x="769" y="102"/>
                  </a:cubicBezTo>
                  <a:close/>
                  <a:moveTo>
                    <a:pt x="790" y="102"/>
                  </a:moveTo>
                  <a:cubicBezTo>
                    <a:pt x="789" y="102"/>
                    <a:pt x="789" y="102"/>
                    <a:pt x="789" y="102"/>
                  </a:cubicBezTo>
                  <a:cubicBezTo>
                    <a:pt x="789" y="102"/>
                    <a:pt x="789" y="102"/>
                    <a:pt x="790" y="102"/>
                  </a:cubicBezTo>
                  <a:close/>
                  <a:moveTo>
                    <a:pt x="1031" y="55"/>
                  </a:moveTo>
                  <a:cubicBezTo>
                    <a:pt x="1031" y="55"/>
                    <a:pt x="1031" y="55"/>
                    <a:pt x="1031" y="54"/>
                  </a:cubicBezTo>
                  <a:cubicBezTo>
                    <a:pt x="1031" y="54"/>
                    <a:pt x="1031" y="55"/>
                    <a:pt x="1031" y="55"/>
                  </a:cubicBezTo>
                  <a:close/>
                  <a:moveTo>
                    <a:pt x="1051" y="102"/>
                  </a:moveTo>
                  <a:cubicBezTo>
                    <a:pt x="1050" y="102"/>
                    <a:pt x="1050" y="102"/>
                    <a:pt x="1049" y="102"/>
                  </a:cubicBezTo>
                  <a:cubicBezTo>
                    <a:pt x="1050" y="102"/>
                    <a:pt x="1050" y="102"/>
                    <a:pt x="1051" y="102"/>
                  </a:cubicBezTo>
                  <a:close/>
                  <a:moveTo>
                    <a:pt x="1072" y="102"/>
                  </a:moveTo>
                  <a:cubicBezTo>
                    <a:pt x="1071" y="102"/>
                    <a:pt x="1071" y="102"/>
                    <a:pt x="1071" y="102"/>
                  </a:cubicBezTo>
                  <a:cubicBezTo>
                    <a:pt x="1071" y="102"/>
                    <a:pt x="1071" y="102"/>
                    <a:pt x="1072" y="102"/>
                  </a:cubicBezTo>
                  <a:close/>
                  <a:moveTo>
                    <a:pt x="1185" y="102"/>
                  </a:moveTo>
                  <a:cubicBezTo>
                    <a:pt x="1185" y="102"/>
                    <a:pt x="1185" y="102"/>
                    <a:pt x="1184" y="102"/>
                  </a:cubicBezTo>
                  <a:cubicBezTo>
                    <a:pt x="1184" y="102"/>
                    <a:pt x="1185" y="102"/>
                    <a:pt x="1185" y="102"/>
                  </a:cubicBezTo>
                  <a:close/>
                  <a:moveTo>
                    <a:pt x="1200" y="102"/>
                  </a:moveTo>
                  <a:cubicBezTo>
                    <a:pt x="1200" y="102"/>
                    <a:pt x="1199" y="102"/>
                    <a:pt x="1199" y="102"/>
                  </a:cubicBezTo>
                  <a:cubicBezTo>
                    <a:pt x="1200" y="102"/>
                    <a:pt x="1200" y="102"/>
                    <a:pt x="1200" y="102"/>
                  </a:cubicBezTo>
                  <a:close/>
                  <a:moveTo>
                    <a:pt x="1229" y="102"/>
                  </a:moveTo>
                  <a:cubicBezTo>
                    <a:pt x="1228" y="102"/>
                    <a:pt x="1228" y="102"/>
                    <a:pt x="1227" y="102"/>
                  </a:cubicBezTo>
                  <a:cubicBezTo>
                    <a:pt x="1228" y="102"/>
                    <a:pt x="1228" y="102"/>
                    <a:pt x="1229" y="102"/>
                  </a:cubicBezTo>
                  <a:close/>
                  <a:moveTo>
                    <a:pt x="1250" y="102"/>
                  </a:moveTo>
                  <a:cubicBezTo>
                    <a:pt x="1249" y="102"/>
                    <a:pt x="1249" y="102"/>
                    <a:pt x="1248" y="102"/>
                  </a:cubicBezTo>
                  <a:cubicBezTo>
                    <a:pt x="1249" y="102"/>
                    <a:pt x="1249" y="102"/>
                    <a:pt x="1250" y="102"/>
                  </a:cubicBezTo>
                  <a:close/>
                  <a:moveTo>
                    <a:pt x="1431" y="102"/>
                  </a:moveTo>
                  <a:cubicBezTo>
                    <a:pt x="1431" y="102"/>
                    <a:pt x="1431" y="102"/>
                    <a:pt x="1430" y="102"/>
                  </a:cubicBezTo>
                  <a:cubicBezTo>
                    <a:pt x="1431" y="102"/>
                    <a:pt x="1431" y="102"/>
                    <a:pt x="1431" y="102"/>
                  </a:cubicBezTo>
                  <a:close/>
                  <a:moveTo>
                    <a:pt x="1448" y="102"/>
                  </a:moveTo>
                  <a:cubicBezTo>
                    <a:pt x="1448" y="102"/>
                    <a:pt x="1448" y="102"/>
                    <a:pt x="1447" y="102"/>
                  </a:cubicBezTo>
                  <a:cubicBezTo>
                    <a:pt x="1448" y="102"/>
                    <a:pt x="1448" y="102"/>
                    <a:pt x="1448" y="102"/>
                  </a:cubicBezTo>
                  <a:close/>
                  <a:moveTo>
                    <a:pt x="1652" y="62"/>
                  </a:moveTo>
                  <a:cubicBezTo>
                    <a:pt x="1651" y="62"/>
                    <a:pt x="1651" y="62"/>
                    <a:pt x="1651" y="62"/>
                  </a:cubicBezTo>
                  <a:cubicBezTo>
                    <a:pt x="1651" y="62"/>
                    <a:pt x="1651" y="62"/>
                    <a:pt x="1652" y="62"/>
                  </a:cubicBezTo>
                  <a:close/>
                  <a:moveTo>
                    <a:pt x="667" y="103"/>
                  </a:moveTo>
                  <a:cubicBezTo>
                    <a:pt x="667" y="102"/>
                    <a:pt x="667" y="102"/>
                    <a:pt x="666" y="102"/>
                  </a:cubicBezTo>
                  <a:cubicBezTo>
                    <a:pt x="667" y="103"/>
                    <a:pt x="667" y="103"/>
                    <a:pt x="667" y="103"/>
                  </a:cubicBezTo>
                  <a:close/>
                  <a:moveTo>
                    <a:pt x="727" y="103"/>
                  </a:moveTo>
                  <a:cubicBezTo>
                    <a:pt x="726" y="102"/>
                    <a:pt x="726" y="102"/>
                    <a:pt x="725" y="102"/>
                  </a:cubicBezTo>
                  <a:cubicBezTo>
                    <a:pt x="726" y="103"/>
                    <a:pt x="726" y="103"/>
                    <a:pt x="727" y="103"/>
                  </a:cubicBezTo>
                  <a:close/>
                  <a:moveTo>
                    <a:pt x="739" y="102"/>
                  </a:moveTo>
                  <a:cubicBezTo>
                    <a:pt x="739" y="102"/>
                    <a:pt x="738" y="102"/>
                    <a:pt x="738" y="103"/>
                  </a:cubicBezTo>
                  <a:cubicBezTo>
                    <a:pt x="738" y="103"/>
                    <a:pt x="739" y="103"/>
                    <a:pt x="739" y="102"/>
                  </a:cubicBezTo>
                  <a:close/>
                  <a:moveTo>
                    <a:pt x="770" y="103"/>
                  </a:moveTo>
                  <a:cubicBezTo>
                    <a:pt x="770" y="102"/>
                    <a:pt x="769" y="102"/>
                    <a:pt x="769" y="102"/>
                  </a:cubicBezTo>
                  <a:cubicBezTo>
                    <a:pt x="769" y="103"/>
                    <a:pt x="770" y="103"/>
                    <a:pt x="770" y="103"/>
                  </a:cubicBezTo>
                  <a:close/>
                  <a:moveTo>
                    <a:pt x="1186" y="103"/>
                  </a:moveTo>
                  <a:cubicBezTo>
                    <a:pt x="1186" y="102"/>
                    <a:pt x="1186" y="102"/>
                    <a:pt x="1185" y="102"/>
                  </a:cubicBezTo>
                  <a:cubicBezTo>
                    <a:pt x="1186" y="103"/>
                    <a:pt x="1186" y="103"/>
                    <a:pt x="1186" y="103"/>
                  </a:cubicBezTo>
                  <a:close/>
                  <a:moveTo>
                    <a:pt x="1199" y="102"/>
                  </a:moveTo>
                  <a:cubicBezTo>
                    <a:pt x="1199" y="102"/>
                    <a:pt x="1198" y="102"/>
                    <a:pt x="1198" y="103"/>
                  </a:cubicBezTo>
                  <a:cubicBezTo>
                    <a:pt x="1198" y="103"/>
                    <a:pt x="1199" y="103"/>
                    <a:pt x="1199" y="102"/>
                  </a:cubicBezTo>
                  <a:close/>
                  <a:moveTo>
                    <a:pt x="953" y="40"/>
                  </a:moveTo>
                  <a:cubicBezTo>
                    <a:pt x="953" y="40"/>
                    <a:pt x="953" y="40"/>
                    <a:pt x="953" y="39"/>
                  </a:cubicBezTo>
                  <a:cubicBezTo>
                    <a:pt x="953" y="39"/>
                    <a:pt x="953" y="40"/>
                    <a:pt x="953" y="40"/>
                  </a:cubicBezTo>
                  <a:close/>
                  <a:moveTo>
                    <a:pt x="645" y="63"/>
                  </a:moveTo>
                  <a:cubicBezTo>
                    <a:pt x="644" y="63"/>
                    <a:pt x="644" y="63"/>
                    <a:pt x="644" y="64"/>
                  </a:cubicBezTo>
                  <a:cubicBezTo>
                    <a:pt x="645" y="63"/>
                    <a:pt x="645" y="63"/>
                    <a:pt x="645" y="63"/>
                  </a:cubicBezTo>
                  <a:close/>
                  <a:moveTo>
                    <a:pt x="611" y="52"/>
                  </a:moveTo>
                  <a:cubicBezTo>
                    <a:pt x="610" y="52"/>
                    <a:pt x="611" y="53"/>
                    <a:pt x="611" y="53"/>
                  </a:cubicBezTo>
                  <a:cubicBezTo>
                    <a:pt x="611" y="52"/>
                    <a:pt x="611" y="52"/>
                    <a:pt x="611" y="52"/>
                  </a:cubicBezTo>
                  <a:close/>
                  <a:moveTo>
                    <a:pt x="642" y="40"/>
                  </a:moveTo>
                  <a:cubicBezTo>
                    <a:pt x="643" y="40"/>
                    <a:pt x="643" y="40"/>
                    <a:pt x="643" y="39"/>
                  </a:cubicBezTo>
                  <a:cubicBezTo>
                    <a:pt x="642" y="39"/>
                    <a:pt x="642" y="40"/>
                    <a:pt x="642" y="40"/>
                  </a:cubicBezTo>
                  <a:close/>
                  <a:moveTo>
                    <a:pt x="803" y="48"/>
                  </a:moveTo>
                  <a:cubicBezTo>
                    <a:pt x="803" y="48"/>
                    <a:pt x="803" y="48"/>
                    <a:pt x="803" y="49"/>
                  </a:cubicBezTo>
                  <a:cubicBezTo>
                    <a:pt x="803" y="48"/>
                    <a:pt x="803" y="48"/>
                    <a:pt x="803" y="48"/>
                  </a:cubicBezTo>
                  <a:close/>
                  <a:moveTo>
                    <a:pt x="670" y="48"/>
                  </a:moveTo>
                  <a:cubicBezTo>
                    <a:pt x="670" y="48"/>
                    <a:pt x="670" y="48"/>
                    <a:pt x="670" y="49"/>
                  </a:cubicBezTo>
                  <a:cubicBezTo>
                    <a:pt x="670" y="48"/>
                    <a:pt x="670" y="48"/>
                    <a:pt x="670" y="48"/>
                  </a:cubicBezTo>
                  <a:close/>
                  <a:moveTo>
                    <a:pt x="651" y="48"/>
                  </a:moveTo>
                  <a:cubicBezTo>
                    <a:pt x="650" y="48"/>
                    <a:pt x="650" y="48"/>
                    <a:pt x="650" y="49"/>
                  </a:cubicBezTo>
                  <a:cubicBezTo>
                    <a:pt x="651" y="48"/>
                    <a:pt x="651" y="48"/>
                    <a:pt x="651" y="48"/>
                  </a:cubicBezTo>
                  <a:close/>
                  <a:moveTo>
                    <a:pt x="598" y="49"/>
                  </a:moveTo>
                  <a:cubicBezTo>
                    <a:pt x="598" y="48"/>
                    <a:pt x="598" y="48"/>
                    <a:pt x="597" y="48"/>
                  </a:cubicBezTo>
                  <a:cubicBezTo>
                    <a:pt x="597" y="48"/>
                    <a:pt x="597" y="48"/>
                    <a:pt x="598" y="49"/>
                  </a:cubicBezTo>
                  <a:close/>
                  <a:moveTo>
                    <a:pt x="629" y="103"/>
                  </a:moveTo>
                  <a:cubicBezTo>
                    <a:pt x="628" y="103"/>
                    <a:pt x="628" y="104"/>
                    <a:pt x="628" y="104"/>
                  </a:cubicBezTo>
                  <a:cubicBezTo>
                    <a:pt x="629" y="104"/>
                    <a:pt x="629" y="103"/>
                    <a:pt x="629" y="103"/>
                  </a:cubicBezTo>
                  <a:close/>
                  <a:moveTo>
                    <a:pt x="628" y="105"/>
                  </a:moveTo>
                  <a:cubicBezTo>
                    <a:pt x="628" y="105"/>
                    <a:pt x="628" y="105"/>
                    <a:pt x="628" y="106"/>
                  </a:cubicBezTo>
                  <a:cubicBezTo>
                    <a:pt x="628" y="105"/>
                    <a:pt x="628" y="105"/>
                    <a:pt x="628" y="105"/>
                  </a:cubicBezTo>
                  <a:close/>
                  <a:moveTo>
                    <a:pt x="627" y="106"/>
                  </a:moveTo>
                  <a:cubicBezTo>
                    <a:pt x="627" y="107"/>
                    <a:pt x="627" y="107"/>
                    <a:pt x="627" y="107"/>
                  </a:cubicBezTo>
                  <a:cubicBezTo>
                    <a:pt x="627" y="107"/>
                    <a:pt x="627" y="107"/>
                    <a:pt x="627" y="106"/>
                  </a:cubicBezTo>
                  <a:close/>
                  <a:moveTo>
                    <a:pt x="596" y="123"/>
                  </a:moveTo>
                  <a:cubicBezTo>
                    <a:pt x="596" y="123"/>
                    <a:pt x="596" y="123"/>
                    <a:pt x="597" y="123"/>
                  </a:cubicBezTo>
                  <a:cubicBezTo>
                    <a:pt x="596" y="123"/>
                    <a:pt x="596" y="123"/>
                    <a:pt x="596" y="123"/>
                  </a:cubicBezTo>
                  <a:close/>
                  <a:moveTo>
                    <a:pt x="634" y="64"/>
                  </a:moveTo>
                  <a:cubicBezTo>
                    <a:pt x="634" y="64"/>
                    <a:pt x="634" y="63"/>
                    <a:pt x="634" y="63"/>
                  </a:cubicBezTo>
                  <a:cubicBezTo>
                    <a:pt x="633" y="63"/>
                    <a:pt x="634" y="64"/>
                    <a:pt x="634" y="64"/>
                  </a:cubicBezTo>
                  <a:close/>
                  <a:moveTo>
                    <a:pt x="603" y="123"/>
                  </a:moveTo>
                  <a:cubicBezTo>
                    <a:pt x="604" y="123"/>
                    <a:pt x="604" y="123"/>
                    <a:pt x="604" y="123"/>
                  </a:cubicBezTo>
                  <a:cubicBezTo>
                    <a:pt x="604" y="123"/>
                    <a:pt x="604" y="123"/>
                    <a:pt x="603" y="123"/>
                  </a:cubicBezTo>
                  <a:close/>
                  <a:moveTo>
                    <a:pt x="1032" y="52"/>
                  </a:moveTo>
                  <a:cubicBezTo>
                    <a:pt x="1032" y="52"/>
                    <a:pt x="1032" y="52"/>
                    <a:pt x="1032" y="51"/>
                  </a:cubicBezTo>
                  <a:cubicBezTo>
                    <a:pt x="1032" y="52"/>
                    <a:pt x="1032" y="52"/>
                    <a:pt x="1032" y="52"/>
                  </a:cubicBezTo>
                  <a:close/>
                  <a:moveTo>
                    <a:pt x="608" y="132"/>
                  </a:moveTo>
                  <a:cubicBezTo>
                    <a:pt x="607" y="132"/>
                    <a:pt x="607" y="132"/>
                    <a:pt x="607" y="132"/>
                  </a:cubicBezTo>
                  <a:cubicBezTo>
                    <a:pt x="607" y="132"/>
                    <a:pt x="607" y="133"/>
                    <a:pt x="608" y="132"/>
                  </a:cubicBezTo>
                  <a:close/>
                  <a:moveTo>
                    <a:pt x="1179" y="16"/>
                  </a:moveTo>
                  <a:cubicBezTo>
                    <a:pt x="1180" y="16"/>
                    <a:pt x="1180" y="16"/>
                    <a:pt x="1180" y="16"/>
                  </a:cubicBezTo>
                  <a:cubicBezTo>
                    <a:pt x="1180" y="16"/>
                    <a:pt x="1180" y="16"/>
                    <a:pt x="1179" y="16"/>
                  </a:cubicBezTo>
                  <a:close/>
                  <a:moveTo>
                    <a:pt x="1393" y="16"/>
                  </a:moveTo>
                  <a:cubicBezTo>
                    <a:pt x="1393" y="16"/>
                    <a:pt x="1393" y="16"/>
                    <a:pt x="1393" y="17"/>
                  </a:cubicBezTo>
                  <a:cubicBezTo>
                    <a:pt x="1393" y="16"/>
                    <a:pt x="1393" y="16"/>
                    <a:pt x="1393" y="16"/>
                  </a:cubicBezTo>
                  <a:close/>
                  <a:moveTo>
                    <a:pt x="1462" y="16"/>
                  </a:moveTo>
                  <a:cubicBezTo>
                    <a:pt x="1462" y="16"/>
                    <a:pt x="1462" y="16"/>
                    <a:pt x="1463" y="17"/>
                  </a:cubicBezTo>
                  <a:cubicBezTo>
                    <a:pt x="1463" y="16"/>
                    <a:pt x="1463" y="16"/>
                    <a:pt x="1462" y="16"/>
                  </a:cubicBezTo>
                  <a:close/>
                  <a:moveTo>
                    <a:pt x="1488" y="16"/>
                  </a:moveTo>
                  <a:cubicBezTo>
                    <a:pt x="1488" y="16"/>
                    <a:pt x="1489" y="16"/>
                    <a:pt x="1489" y="16"/>
                  </a:cubicBezTo>
                  <a:cubicBezTo>
                    <a:pt x="1489" y="16"/>
                    <a:pt x="1488" y="16"/>
                    <a:pt x="1488" y="16"/>
                  </a:cubicBezTo>
                  <a:close/>
                  <a:moveTo>
                    <a:pt x="1560" y="16"/>
                  </a:moveTo>
                  <a:cubicBezTo>
                    <a:pt x="1560" y="16"/>
                    <a:pt x="1560" y="16"/>
                    <a:pt x="1559" y="16"/>
                  </a:cubicBezTo>
                  <a:cubicBezTo>
                    <a:pt x="1560" y="16"/>
                    <a:pt x="1560" y="16"/>
                    <a:pt x="1560" y="16"/>
                  </a:cubicBezTo>
                  <a:close/>
                  <a:moveTo>
                    <a:pt x="1728" y="16"/>
                  </a:moveTo>
                  <a:cubicBezTo>
                    <a:pt x="1728" y="16"/>
                    <a:pt x="1728" y="16"/>
                    <a:pt x="1728" y="16"/>
                  </a:cubicBezTo>
                  <a:cubicBezTo>
                    <a:pt x="1728" y="16"/>
                    <a:pt x="1728" y="16"/>
                    <a:pt x="1728" y="16"/>
                  </a:cubicBezTo>
                  <a:close/>
                  <a:moveTo>
                    <a:pt x="541" y="17"/>
                  </a:moveTo>
                  <a:cubicBezTo>
                    <a:pt x="542" y="17"/>
                    <a:pt x="542" y="17"/>
                    <a:pt x="542" y="16"/>
                  </a:cubicBezTo>
                  <a:cubicBezTo>
                    <a:pt x="541" y="16"/>
                    <a:pt x="541" y="17"/>
                    <a:pt x="541" y="17"/>
                  </a:cubicBezTo>
                  <a:close/>
                  <a:moveTo>
                    <a:pt x="1568" y="44"/>
                  </a:moveTo>
                  <a:cubicBezTo>
                    <a:pt x="1568" y="44"/>
                    <a:pt x="1568" y="44"/>
                    <a:pt x="1568" y="43"/>
                  </a:cubicBezTo>
                  <a:cubicBezTo>
                    <a:pt x="1568" y="44"/>
                    <a:pt x="1568" y="44"/>
                    <a:pt x="1568" y="44"/>
                  </a:cubicBezTo>
                  <a:close/>
                  <a:moveTo>
                    <a:pt x="1178" y="17"/>
                  </a:moveTo>
                  <a:cubicBezTo>
                    <a:pt x="1179" y="17"/>
                    <a:pt x="1179" y="17"/>
                    <a:pt x="1179" y="16"/>
                  </a:cubicBezTo>
                  <a:cubicBezTo>
                    <a:pt x="1179" y="16"/>
                    <a:pt x="1178" y="16"/>
                    <a:pt x="1178" y="17"/>
                  </a:cubicBezTo>
                  <a:close/>
                  <a:moveTo>
                    <a:pt x="1682" y="43"/>
                  </a:moveTo>
                  <a:cubicBezTo>
                    <a:pt x="1682" y="44"/>
                    <a:pt x="1682" y="44"/>
                    <a:pt x="1682" y="44"/>
                  </a:cubicBezTo>
                  <a:cubicBezTo>
                    <a:pt x="1682" y="44"/>
                    <a:pt x="1682" y="44"/>
                    <a:pt x="1682" y="43"/>
                  </a:cubicBezTo>
                  <a:close/>
                  <a:moveTo>
                    <a:pt x="1487" y="17"/>
                  </a:moveTo>
                  <a:cubicBezTo>
                    <a:pt x="1488" y="17"/>
                    <a:pt x="1488" y="17"/>
                    <a:pt x="1488" y="16"/>
                  </a:cubicBezTo>
                  <a:cubicBezTo>
                    <a:pt x="1488" y="16"/>
                    <a:pt x="1488" y="16"/>
                    <a:pt x="1487" y="17"/>
                  </a:cubicBezTo>
                  <a:close/>
                  <a:moveTo>
                    <a:pt x="1546" y="16"/>
                  </a:moveTo>
                  <a:cubicBezTo>
                    <a:pt x="1546" y="16"/>
                    <a:pt x="1546" y="16"/>
                    <a:pt x="1545" y="17"/>
                  </a:cubicBezTo>
                  <a:cubicBezTo>
                    <a:pt x="1546" y="17"/>
                    <a:pt x="1546" y="17"/>
                    <a:pt x="1546" y="16"/>
                  </a:cubicBezTo>
                  <a:close/>
                  <a:moveTo>
                    <a:pt x="1561" y="17"/>
                  </a:moveTo>
                  <a:cubicBezTo>
                    <a:pt x="1561" y="16"/>
                    <a:pt x="1561" y="16"/>
                    <a:pt x="1560" y="16"/>
                  </a:cubicBezTo>
                  <a:cubicBezTo>
                    <a:pt x="1561" y="17"/>
                    <a:pt x="1561" y="17"/>
                    <a:pt x="1561" y="17"/>
                  </a:cubicBezTo>
                  <a:close/>
                  <a:moveTo>
                    <a:pt x="1577" y="16"/>
                  </a:moveTo>
                  <a:cubicBezTo>
                    <a:pt x="1577" y="17"/>
                    <a:pt x="1578" y="17"/>
                    <a:pt x="1578" y="17"/>
                  </a:cubicBezTo>
                  <a:cubicBezTo>
                    <a:pt x="1578" y="17"/>
                    <a:pt x="1578" y="16"/>
                    <a:pt x="1577" y="16"/>
                  </a:cubicBezTo>
                  <a:close/>
                  <a:moveTo>
                    <a:pt x="1736" y="44"/>
                  </a:moveTo>
                  <a:cubicBezTo>
                    <a:pt x="1736" y="44"/>
                    <a:pt x="1736" y="44"/>
                    <a:pt x="1736" y="43"/>
                  </a:cubicBezTo>
                  <a:cubicBezTo>
                    <a:pt x="1736" y="44"/>
                    <a:pt x="1736" y="44"/>
                    <a:pt x="1736" y="44"/>
                  </a:cubicBezTo>
                  <a:close/>
                  <a:moveTo>
                    <a:pt x="1714" y="16"/>
                  </a:moveTo>
                  <a:cubicBezTo>
                    <a:pt x="1714" y="16"/>
                    <a:pt x="1714" y="16"/>
                    <a:pt x="1713" y="17"/>
                  </a:cubicBezTo>
                  <a:cubicBezTo>
                    <a:pt x="1714" y="17"/>
                    <a:pt x="1714" y="17"/>
                    <a:pt x="1714" y="16"/>
                  </a:cubicBezTo>
                  <a:close/>
                  <a:moveTo>
                    <a:pt x="1729" y="17"/>
                  </a:moveTo>
                  <a:cubicBezTo>
                    <a:pt x="1729" y="16"/>
                    <a:pt x="1729" y="16"/>
                    <a:pt x="1729" y="16"/>
                  </a:cubicBezTo>
                  <a:cubicBezTo>
                    <a:pt x="1729" y="17"/>
                    <a:pt x="1729" y="17"/>
                    <a:pt x="1729" y="17"/>
                  </a:cubicBezTo>
                  <a:close/>
                  <a:moveTo>
                    <a:pt x="1746" y="16"/>
                  </a:moveTo>
                  <a:cubicBezTo>
                    <a:pt x="1746" y="17"/>
                    <a:pt x="1746" y="17"/>
                    <a:pt x="1746" y="17"/>
                  </a:cubicBezTo>
                  <a:cubicBezTo>
                    <a:pt x="1746" y="17"/>
                    <a:pt x="1746" y="16"/>
                    <a:pt x="1746" y="16"/>
                  </a:cubicBezTo>
                  <a:close/>
                  <a:moveTo>
                    <a:pt x="1177" y="17"/>
                  </a:moveTo>
                  <a:cubicBezTo>
                    <a:pt x="1178" y="17"/>
                    <a:pt x="1178" y="17"/>
                    <a:pt x="1178" y="17"/>
                  </a:cubicBezTo>
                  <a:cubicBezTo>
                    <a:pt x="1178" y="17"/>
                    <a:pt x="1177" y="17"/>
                    <a:pt x="1177" y="17"/>
                  </a:cubicBezTo>
                  <a:close/>
                  <a:moveTo>
                    <a:pt x="1361" y="17"/>
                  </a:moveTo>
                  <a:cubicBezTo>
                    <a:pt x="1361" y="17"/>
                    <a:pt x="1360" y="17"/>
                    <a:pt x="1360" y="17"/>
                  </a:cubicBezTo>
                  <a:cubicBezTo>
                    <a:pt x="1361" y="17"/>
                    <a:pt x="1361" y="17"/>
                    <a:pt x="1361" y="17"/>
                  </a:cubicBezTo>
                  <a:close/>
                  <a:moveTo>
                    <a:pt x="1378" y="17"/>
                  </a:moveTo>
                  <a:cubicBezTo>
                    <a:pt x="1378" y="17"/>
                    <a:pt x="1377" y="17"/>
                    <a:pt x="1377" y="17"/>
                  </a:cubicBezTo>
                  <a:cubicBezTo>
                    <a:pt x="1377" y="17"/>
                    <a:pt x="1377" y="17"/>
                    <a:pt x="1378" y="17"/>
                  </a:cubicBezTo>
                  <a:close/>
                  <a:moveTo>
                    <a:pt x="1418" y="17"/>
                  </a:moveTo>
                  <a:cubicBezTo>
                    <a:pt x="1419" y="17"/>
                    <a:pt x="1419" y="17"/>
                    <a:pt x="1419" y="17"/>
                  </a:cubicBezTo>
                  <a:cubicBezTo>
                    <a:pt x="1419" y="17"/>
                    <a:pt x="1418" y="17"/>
                    <a:pt x="1418" y="17"/>
                  </a:cubicBezTo>
                  <a:close/>
                  <a:moveTo>
                    <a:pt x="660" y="44"/>
                  </a:moveTo>
                  <a:cubicBezTo>
                    <a:pt x="660" y="44"/>
                    <a:pt x="660" y="44"/>
                    <a:pt x="660" y="44"/>
                  </a:cubicBezTo>
                  <a:cubicBezTo>
                    <a:pt x="660" y="44"/>
                    <a:pt x="660" y="44"/>
                    <a:pt x="660" y="44"/>
                  </a:cubicBezTo>
                  <a:close/>
                  <a:moveTo>
                    <a:pt x="1487" y="17"/>
                  </a:moveTo>
                  <a:cubicBezTo>
                    <a:pt x="1487" y="17"/>
                    <a:pt x="1487" y="17"/>
                    <a:pt x="1487" y="17"/>
                  </a:cubicBezTo>
                  <a:cubicBezTo>
                    <a:pt x="1487" y="17"/>
                    <a:pt x="1487" y="17"/>
                    <a:pt x="1487" y="17"/>
                  </a:cubicBezTo>
                  <a:close/>
                  <a:moveTo>
                    <a:pt x="1545" y="17"/>
                  </a:moveTo>
                  <a:cubicBezTo>
                    <a:pt x="1545" y="17"/>
                    <a:pt x="1545" y="17"/>
                    <a:pt x="1544" y="17"/>
                  </a:cubicBezTo>
                  <a:cubicBezTo>
                    <a:pt x="1545" y="17"/>
                    <a:pt x="1545" y="17"/>
                    <a:pt x="1545" y="17"/>
                  </a:cubicBezTo>
                  <a:close/>
                  <a:moveTo>
                    <a:pt x="1562" y="17"/>
                  </a:moveTo>
                  <a:cubicBezTo>
                    <a:pt x="1562" y="17"/>
                    <a:pt x="1561" y="17"/>
                    <a:pt x="1561" y="17"/>
                  </a:cubicBezTo>
                  <a:cubicBezTo>
                    <a:pt x="1561" y="17"/>
                    <a:pt x="1562" y="17"/>
                    <a:pt x="1562" y="17"/>
                  </a:cubicBezTo>
                  <a:close/>
                  <a:moveTo>
                    <a:pt x="674" y="44"/>
                  </a:moveTo>
                  <a:cubicBezTo>
                    <a:pt x="674" y="44"/>
                    <a:pt x="674" y="44"/>
                    <a:pt x="674" y="44"/>
                  </a:cubicBezTo>
                  <a:cubicBezTo>
                    <a:pt x="674" y="44"/>
                    <a:pt x="674" y="44"/>
                    <a:pt x="674" y="44"/>
                  </a:cubicBezTo>
                  <a:close/>
                  <a:moveTo>
                    <a:pt x="1713" y="17"/>
                  </a:moveTo>
                  <a:cubicBezTo>
                    <a:pt x="1713" y="17"/>
                    <a:pt x="1713" y="17"/>
                    <a:pt x="1713" y="17"/>
                  </a:cubicBezTo>
                  <a:cubicBezTo>
                    <a:pt x="1713" y="17"/>
                    <a:pt x="1713" y="17"/>
                    <a:pt x="1713" y="17"/>
                  </a:cubicBezTo>
                  <a:close/>
                  <a:moveTo>
                    <a:pt x="1730" y="17"/>
                  </a:moveTo>
                  <a:cubicBezTo>
                    <a:pt x="1730" y="17"/>
                    <a:pt x="1730" y="17"/>
                    <a:pt x="1729" y="17"/>
                  </a:cubicBezTo>
                  <a:cubicBezTo>
                    <a:pt x="1729" y="17"/>
                    <a:pt x="1730" y="17"/>
                    <a:pt x="1730" y="17"/>
                  </a:cubicBezTo>
                  <a:close/>
                  <a:moveTo>
                    <a:pt x="692" y="44"/>
                  </a:moveTo>
                  <a:cubicBezTo>
                    <a:pt x="692" y="44"/>
                    <a:pt x="691" y="44"/>
                    <a:pt x="691" y="44"/>
                  </a:cubicBezTo>
                  <a:cubicBezTo>
                    <a:pt x="691" y="44"/>
                    <a:pt x="691" y="44"/>
                    <a:pt x="692" y="44"/>
                  </a:cubicBezTo>
                  <a:close/>
                  <a:moveTo>
                    <a:pt x="1176" y="17"/>
                  </a:moveTo>
                  <a:cubicBezTo>
                    <a:pt x="1176" y="17"/>
                    <a:pt x="1177" y="17"/>
                    <a:pt x="1177" y="17"/>
                  </a:cubicBezTo>
                  <a:cubicBezTo>
                    <a:pt x="1177" y="17"/>
                    <a:pt x="1176" y="17"/>
                    <a:pt x="1176" y="17"/>
                  </a:cubicBezTo>
                  <a:close/>
                  <a:moveTo>
                    <a:pt x="1360" y="17"/>
                  </a:moveTo>
                  <a:cubicBezTo>
                    <a:pt x="1360" y="17"/>
                    <a:pt x="1359" y="17"/>
                    <a:pt x="1359" y="17"/>
                  </a:cubicBezTo>
                  <a:cubicBezTo>
                    <a:pt x="1360" y="17"/>
                    <a:pt x="1360" y="17"/>
                    <a:pt x="1360" y="17"/>
                  </a:cubicBezTo>
                  <a:close/>
                  <a:moveTo>
                    <a:pt x="1378" y="17"/>
                  </a:moveTo>
                  <a:cubicBezTo>
                    <a:pt x="1378" y="17"/>
                    <a:pt x="1378" y="17"/>
                    <a:pt x="1378" y="17"/>
                  </a:cubicBezTo>
                  <a:cubicBezTo>
                    <a:pt x="1378" y="17"/>
                    <a:pt x="1378" y="17"/>
                    <a:pt x="1378" y="17"/>
                  </a:cubicBezTo>
                  <a:close/>
                  <a:moveTo>
                    <a:pt x="1394" y="17"/>
                  </a:moveTo>
                  <a:cubicBezTo>
                    <a:pt x="1394" y="17"/>
                    <a:pt x="1394" y="17"/>
                    <a:pt x="1394" y="18"/>
                  </a:cubicBezTo>
                  <a:cubicBezTo>
                    <a:pt x="1394" y="17"/>
                    <a:pt x="1394" y="17"/>
                    <a:pt x="1394" y="17"/>
                  </a:cubicBezTo>
                  <a:close/>
                  <a:moveTo>
                    <a:pt x="1463" y="17"/>
                  </a:moveTo>
                  <a:cubicBezTo>
                    <a:pt x="1463" y="17"/>
                    <a:pt x="1463" y="18"/>
                    <a:pt x="1463" y="18"/>
                  </a:cubicBezTo>
                  <a:cubicBezTo>
                    <a:pt x="1463" y="17"/>
                    <a:pt x="1463" y="17"/>
                    <a:pt x="1463" y="17"/>
                  </a:cubicBezTo>
                  <a:close/>
                  <a:moveTo>
                    <a:pt x="1486" y="17"/>
                  </a:moveTo>
                  <a:cubicBezTo>
                    <a:pt x="1486" y="17"/>
                    <a:pt x="1487" y="17"/>
                    <a:pt x="1487" y="17"/>
                  </a:cubicBezTo>
                  <a:cubicBezTo>
                    <a:pt x="1486" y="17"/>
                    <a:pt x="1486" y="17"/>
                    <a:pt x="1486" y="17"/>
                  </a:cubicBezTo>
                  <a:close/>
                  <a:moveTo>
                    <a:pt x="1544" y="17"/>
                  </a:moveTo>
                  <a:cubicBezTo>
                    <a:pt x="1544" y="17"/>
                    <a:pt x="1544" y="17"/>
                    <a:pt x="1544" y="17"/>
                  </a:cubicBezTo>
                  <a:cubicBezTo>
                    <a:pt x="1544" y="17"/>
                    <a:pt x="1544" y="17"/>
                    <a:pt x="1544" y="17"/>
                  </a:cubicBezTo>
                  <a:close/>
                  <a:moveTo>
                    <a:pt x="1563" y="17"/>
                  </a:moveTo>
                  <a:cubicBezTo>
                    <a:pt x="1562" y="17"/>
                    <a:pt x="1562" y="17"/>
                    <a:pt x="1562" y="17"/>
                  </a:cubicBezTo>
                  <a:cubicBezTo>
                    <a:pt x="1562" y="17"/>
                    <a:pt x="1562" y="17"/>
                    <a:pt x="1563" y="17"/>
                  </a:cubicBezTo>
                  <a:close/>
                  <a:moveTo>
                    <a:pt x="801" y="44"/>
                  </a:moveTo>
                  <a:cubicBezTo>
                    <a:pt x="801" y="44"/>
                    <a:pt x="801" y="44"/>
                    <a:pt x="801" y="44"/>
                  </a:cubicBezTo>
                  <a:cubicBezTo>
                    <a:pt x="801" y="44"/>
                    <a:pt x="801" y="44"/>
                    <a:pt x="801" y="44"/>
                  </a:cubicBezTo>
                  <a:close/>
                  <a:moveTo>
                    <a:pt x="1713" y="17"/>
                  </a:moveTo>
                  <a:cubicBezTo>
                    <a:pt x="1712" y="17"/>
                    <a:pt x="1712" y="17"/>
                    <a:pt x="1712" y="17"/>
                  </a:cubicBezTo>
                  <a:cubicBezTo>
                    <a:pt x="1712" y="17"/>
                    <a:pt x="1712" y="17"/>
                    <a:pt x="1713" y="17"/>
                  </a:cubicBezTo>
                  <a:close/>
                  <a:moveTo>
                    <a:pt x="1731" y="17"/>
                  </a:moveTo>
                  <a:cubicBezTo>
                    <a:pt x="1731" y="17"/>
                    <a:pt x="1730" y="17"/>
                    <a:pt x="1730" y="17"/>
                  </a:cubicBezTo>
                  <a:cubicBezTo>
                    <a:pt x="1730" y="17"/>
                    <a:pt x="1730" y="17"/>
                    <a:pt x="1731" y="17"/>
                  </a:cubicBezTo>
                  <a:close/>
                  <a:moveTo>
                    <a:pt x="837" y="44"/>
                  </a:moveTo>
                  <a:cubicBezTo>
                    <a:pt x="837" y="44"/>
                    <a:pt x="837" y="44"/>
                    <a:pt x="837" y="44"/>
                  </a:cubicBezTo>
                  <a:cubicBezTo>
                    <a:pt x="837" y="44"/>
                    <a:pt x="837" y="44"/>
                    <a:pt x="837" y="44"/>
                  </a:cubicBezTo>
                  <a:close/>
                  <a:moveTo>
                    <a:pt x="852" y="44"/>
                  </a:moveTo>
                  <a:cubicBezTo>
                    <a:pt x="852" y="44"/>
                    <a:pt x="852" y="44"/>
                    <a:pt x="852" y="44"/>
                  </a:cubicBezTo>
                  <a:cubicBezTo>
                    <a:pt x="852" y="44"/>
                    <a:pt x="852" y="44"/>
                    <a:pt x="852" y="44"/>
                  </a:cubicBezTo>
                  <a:close/>
                  <a:moveTo>
                    <a:pt x="558" y="17"/>
                  </a:moveTo>
                  <a:cubicBezTo>
                    <a:pt x="558" y="17"/>
                    <a:pt x="557" y="17"/>
                    <a:pt x="557" y="18"/>
                  </a:cubicBezTo>
                  <a:cubicBezTo>
                    <a:pt x="558" y="18"/>
                    <a:pt x="558" y="18"/>
                    <a:pt x="558" y="17"/>
                  </a:cubicBezTo>
                  <a:close/>
                  <a:moveTo>
                    <a:pt x="578" y="18"/>
                  </a:moveTo>
                  <a:cubicBezTo>
                    <a:pt x="577" y="17"/>
                    <a:pt x="577" y="17"/>
                    <a:pt x="577" y="17"/>
                  </a:cubicBezTo>
                  <a:cubicBezTo>
                    <a:pt x="577" y="18"/>
                    <a:pt x="577" y="18"/>
                    <a:pt x="578" y="18"/>
                  </a:cubicBezTo>
                  <a:close/>
                  <a:moveTo>
                    <a:pt x="1175" y="18"/>
                  </a:moveTo>
                  <a:cubicBezTo>
                    <a:pt x="1175" y="18"/>
                    <a:pt x="1176" y="18"/>
                    <a:pt x="1176" y="17"/>
                  </a:cubicBezTo>
                  <a:cubicBezTo>
                    <a:pt x="1176" y="17"/>
                    <a:pt x="1175" y="17"/>
                    <a:pt x="1175" y="18"/>
                  </a:cubicBezTo>
                  <a:close/>
                  <a:moveTo>
                    <a:pt x="1359" y="17"/>
                  </a:moveTo>
                  <a:cubicBezTo>
                    <a:pt x="1359" y="17"/>
                    <a:pt x="1359" y="17"/>
                    <a:pt x="1359" y="18"/>
                  </a:cubicBezTo>
                  <a:cubicBezTo>
                    <a:pt x="1359" y="18"/>
                    <a:pt x="1359" y="18"/>
                    <a:pt x="1359" y="17"/>
                  </a:cubicBezTo>
                  <a:close/>
                  <a:moveTo>
                    <a:pt x="1379" y="18"/>
                  </a:moveTo>
                  <a:cubicBezTo>
                    <a:pt x="1379" y="17"/>
                    <a:pt x="1379" y="17"/>
                    <a:pt x="1378" y="17"/>
                  </a:cubicBezTo>
                  <a:cubicBezTo>
                    <a:pt x="1379" y="18"/>
                    <a:pt x="1379" y="18"/>
                    <a:pt x="1379" y="18"/>
                  </a:cubicBezTo>
                  <a:close/>
                  <a:moveTo>
                    <a:pt x="867" y="44"/>
                  </a:moveTo>
                  <a:cubicBezTo>
                    <a:pt x="867" y="44"/>
                    <a:pt x="867" y="44"/>
                    <a:pt x="867" y="44"/>
                  </a:cubicBezTo>
                  <a:cubicBezTo>
                    <a:pt x="867" y="44"/>
                    <a:pt x="867" y="44"/>
                    <a:pt x="867" y="44"/>
                  </a:cubicBezTo>
                  <a:close/>
                  <a:moveTo>
                    <a:pt x="1485" y="18"/>
                  </a:moveTo>
                  <a:cubicBezTo>
                    <a:pt x="1485" y="18"/>
                    <a:pt x="1486" y="18"/>
                    <a:pt x="1486" y="17"/>
                  </a:cubicBezTo>
                  <a:cubicBezTo>
                    <a:pt x="1485" y="17"/>
                    <a:pt x="1485" y="17"/>
                    <a:pt x="1485" y="18"/>
                  </a:cubicBezTo>
                  <a:close/>
                  <a:moveTo>
                    <a:pt x="1543" y="17"/>
                  </a:moveTo>
                  <a:cubicBezTo>
                    <a:pt x="1543" y="17"/>
                    <a:pt x="1543" y="17"/>
                    <a:pt x="1543" y="18"/>
                  </a:cubicBezTo>
                  <a:cubicBezTo>
                    <a:pt x="1543" y="18"/>
                    <a:pt x="1543" y="18"/>
                    <a:pt x="1543" y="17"/>
                  </a:cubicBezTo>
                  <a:close/>
                  <a:moveTo>
                    <a:pt x="1563" y="18"/>
                  </a:moveTo>
                  <a:cubicBezTo>
                    <a:pt x="1563" y="17"/>
                    <a:pt x="1563" y="17"/>
                    <a:pt x="1563" y="17"/>
                  </a:cubicBezTo>
                  <a:cubicBezTo>
                    <a:pt x="1563" y="18"/>
                    <a:pt x="1563" y="18"/>
                    <a:pt x="1563" y="18"/>
                  </a:cubicBezTo>
                  <a:close/>
                  <a:moveTo>
                    <a:pt x="1578" y="17"/>
                  </a:moveTo>
                  <a:cubicBezTo>
                    <a:pt x="1578" y="18"/>
                    <a:pt x="1578" y="18"/>
                    <a:pt x="1579" y="18"/>
                  </a:cubicBezTo>
                  <a:cubicBezTo>
                    <a:pt x="1579" y="18"/>
                    <a:pt x="1579" y="17"/>
                    <a:pt x="1578" y="17"/>
                  </a:cubicBezTo>
                  <a:close/>
                  <a:moveTo>
                    <a:pt x="1680" y="17"/>
                  </a:moveTo>
                  <a:cubicBezTo>
                    <a:pt x="1680" y="18"/>
                    <a:pt x="1680" y="18"/>
                    <a:pt x="1680" y="18"/>
                  </a:cubicBezTo>
                  <a:cubicBezTo>
                    <a:pt x="1680" y="18"/>
                    <a:pt x="1680" y="17"/>
                    <a:pt x="1680" y="17"/>
                  </a:cubicBezTo>
                  <a:close/>
                  <a:moveTo>
                    <a:pt x="1712" y="17"/>
                  </a:moveTo>
                  <a:cubicBezTo>
                    <a:pt x="1711" y="17"/>
                    <a:pt x="1711" y="17"/>
                    <a:pt x="1711" y="18"/>
                  </a:cubicBezTo>
                  <a:cubicBezTo>
                    <a:pt x="1711" y="18"/>
                    <a:pt x="1711" y="18"/>
                    <a:pt x="1712" y="17"/>
                  </a:cubicBezTo>
                  <a:close/>
                  <a:moveTo>
                    <a:pt x="1731" y="18"/>
                  </a:moveTo>
                  <a:cubicBezTo>
                    <a:pt x="1731" y="17"/>
                    <a:pt x="1731" y="17"/>
                    <a:pt x="1731" y="17"/>
                  </a:cubicBezTo>
                  <a:cubicBezTo>
                    <a:pt x="1731" y="18"/>
                    <a:pt x="1731" y="18"/>
                    <a:pt x="1731" y="18"/>
                  </a:cubicBezTo>
                  <a:close/>
                  <a:moveTo>
                    <a:pt x="1746" y="17"/>
                  </a:moveTo>
                  <a:cubicBezTo>
                    <a:pt x="1746" y="18"/>
                    <a:pt x="1746" y="18"/>
                    <a:pt x="1747" y="18"/>
                  </a:cubicBezTo>
                  <a:cubicBezTo>
                    <a:pt x="1747" y="18"/>
                    <a:pt x="1747" y="17"/>
                    <a:pt x="1746" y="17"/>
                  </a:cubicBezTo>
                  <a:close/>
                  <a:moveTo>
                    <a:pt x="540" y="18"/>
                  </a:moveTo>
                  <a:cubicBezTo>
                    <a:pt x="541" y="18"/>
                    <a:pt x="541" y="18"/>
                    <a:pt x="541" y="18"/>
                  </a:cubicBezTo>
                  <a:cubicBezTo>
                    <a:pt x="540" y="18"/>
                    <a:pt x="540" y="18"/>
                    <a:pt x="540" y="18"/>
                  </a:cubicBezTo>
                  <a:close/>
                  <a:moveTo>
                    <a:pt x="557" y="18"/>
                  </a:moveTo>
                  <a:cubicBezTo>
                    <a:pt x="557" y="18"/>
                    <a:pt x="557" y="18"/>
                    <a:pt x="556" y="18"/>
                  </a:cubicBezTo>
                  <a:cubicBezTo>
                    <a:pt x="557" y="18"/>
                    <a:pt x="557" y="18"/>
                    <a:pt x="557" y="18"/>
                  </a:cubicBezTo>
                  <a:close/>
                  <a:moveTo>
                    <a:pt x="579" y="18"/>
                  </a:moveTo>
                  <a:cubicBezTo>
                    <a:pt x="578" y="18"/>
                    <a:pt x="578" y="18"/>
                    <a:pt x="578" y="18"/>
                  </a:cubicBezTo>
                  <a:cubicBezTo>
                    <a:pt x="578" y="18"/>
                    <a:pt x="578" y="18"/>
                    <a:pt x="579" y="18"/>
                  </a:cubicBezTo>
                  <a:close/>
                  <a:moveTo>
                    <a:pt x="869" y="44"/>
                  </a:moveTo>
                  <a:cubicBezTo>
                    <a:pt x="869" y="44"/>
                    <a:pt x="870" y="44"/>
                    <a:pt x="870" y="44"/>
                  </a:cubicBezTo>
                  <a:cubicBezTo>
                    <a:pt x="869" y="44"/>
                    <a:pt x="869" y="44"/>
                    <a:pt x="869" y="44"/>
                  </a:cubicBezTo>
                  <a:close/>
                  <a:moveTo>
                    <a:pt x="987" y="18"/>
                  </a:moveTo>
                  <a:cubicBezTo>
                    <a:pt x="986" y="18"/>
                    <a:pt x="986" y="18"/>
                    <a:pt x="986" y="18"/>
                  </a:cubicBezTo>
                  <a:cubicBezTo>
                    <a:pt x="986" y="18"/>
                    <a:pt x="987" y="18"/>
                    <a:pt x="987" y="18"/>
                  </a:cubicBezTo>
                  <a:close/>
                  <a:moveTo>
                    <a:pt x="1359" y="18"/>
                  </a:moveTo>
                  <a:cubicBezTo>
                    <a:pt x="1358" y="18"/>
                    <a:pt x="1358" y="18"/>
                    <a:pt x="1358" y="18"/>
                  </a:cubicBezTo>
                  <a:cubicBezTo>
                    <a:pt x="1358" y="18"/>
                    <a:pt x="1358" y="18"/>
                    <a:pt x="1359" y="18"/>
                  </a:cubicBezTo>
                  <a:close/>
                  <a:moveTo>
                    <a:pt x="880" y="44"/>
                  </a:moveTo>
                  <a:cubicBezTo>
                    <a:pt x="880" y="44"/>
                    <a:pt x="880" y="44"/>
                    <a:pt x="880" y="44"/>
                  </a:cubicBezTo>
                  <a:cubicBezTo>
                    <a:pt x="880" y="44"/>
                    <a:pt x="880" y="44"/>
                    <a:pt x="880" y="44"/>
                  </a:cubicBezTo>
                  <a:close/>
                  <a:moveTo>
                    <a:pt x="1394" y="18"/>
                  </a:moveTo>
                  <a:cubicBezTo>
                    <a:pt x="1394" y="18"/>
                    <a:pt x="1394" y="18"/>
                    <a:pt x="1394" y="18"/>
                  </a:cubicBezTo>
                  <a:cubicBezTo>
                    <a:pt x="1394" y="18"/>
                    <a:pt x="1394" y="18"/>
                    <a:pt x="1394" y="18"/>
                  </a:cubicBezTo>
                  <a:close/>
                  <a:moveTo>
                    <a:pt x="1418" y="18"/>
                  </a:moveTo>
                  <a:cubicBezTo>
                    <a:pt x="1418" y="18"/>
                    <a:pt x="1418" y="18"/>
                    <a:pt x="1418" y="18"/>
                  </a:cubicBezTo>
                  <a:cubicBezTo>
                    <a:pt x="1418" y="18"/>
                    <a:pt x="1418" y="18"/>
                    <a:pt x="1418" y="18"/>
                  </a:cubicBezTo>
                  <a:close/>
                  <a:moveTo>
                    <a:pt x="1463" y="18"/>
                  </a:moveTo>
                  <a:cubicBezTo>
                    <a:pt x="1463" y="18"/>
                    <a:pt x="1463" y="18"/>
                    <a:pt x="1464" y="18"/>
                  </a:cubicBezTo>
                  <a:cubicBezTo>
                    <a:pt x="1464" y="18"/>
                    <a:pt x="1464" y="18"/>
                    <a:pt x="1463" y="18"/>
                  </a:cubicBezTo>
                  <a:close/>
                  <a:moveTo>
                    <a:pt x="1484" y="18"/>
                  </a:moveTo>
                  <a:cubicBezTo>
                    <a:pt x="1485" y="18"/>
                    <a:pt x="1485" y="18"/>
                    <a:pt x="1485" y="18"/>
                  </a:cubicBezTo>
                  <a:cubicBezTo>
                    <a:pt x="1485" y="18"/>
                    <a:pt x="1484" y="18"/>
                    <a:pt x="1484" y="18"/>
                  </a:cubicBezTo>
                  <a:close/>
                  <a:moveTo>
                    <a:pt x="1543" y="18"/>
                  </a:moveTo>
                  <a:cubicBezTo>
                    <a:pt x="1542" y="18"/>
                    <a:pt x="1542" y="18"/>
                    <a:pt x="1542" y="18"/>
                  </a:cubicBezTo>
                  <a:cubicBezTo>
                    <a:pt x="1542" y="18"/>
                    <a:pt x="1543" y="18"/>
                    <a:pt x="1543" y="18"/>
                  </a:cubicBezTo>
                  <a:close/>
                  <a:moveTo>
                    <a:pt x="895" y="44"/>
                  </a:moveTo>
                  <a:cubicBezTo>
                    <a:pt x="895" y="44"/>
                    <a:pt x="895" y="44"/>
                    <a:pt x="895" y="44"/>
                  </a:cubicBezTo>
                  <a:cubicBezTo>
                    <a:pt x="895" y="44"/>
                    <a:pt x="895" y="44"/>
                    <a:pt x="895" y="44"/>
                  </a:cubicBezTo>
                  <a:close/>
                  <a:moveTo>
                    <a:pt x="1711" y="18"/>
                  </a:moveTo>
                  <a:cubicBezTo>
                    <a:pt x="1711" y="18"/>
                    <a:pt x="1710" y="18"/>
                    <a:pt x="1710" y="18"/>
                  </a:cubicBezTo>
                  <a:cubicBezTo>
                    <a:pt x="1710" y="18"/>
                    <a:pt x="1711" y="18"/>
                    <a:pt x="1711" y="18"/>
                  </a:cubicBezTo>
                  <a:close/>
                  <a:moveTo>
                    <a:pt x="557" y="18"/>
                  </a:moveTo>
                  <a:cubicBezTo>
                    <a:pt x="556" y="18"/>
                    <a:pt x="556" y="18"/>
                    <a:pt x="556" y="18"/>
                  </a:cubicBezTo>
                  <a:cubicBezTo>
                    <a:pt x="556" y="18"/>
                    <a:pt x="556" y="18"/>
                    <a:pt x="557" y="18"/>
                  </a:cubicBezTo>
                  <a:close/>
                  <a:moveTo>
                    <a:pt x="986" y="18"/>
                  </a:moveTo>
                  <a:cubicBezTo>
                    <a:pt x="985" y="18"/>
                    <a:pt x="985" y="18"/>
                    <a:pt x="985" y="18"/>
                  </a:cubicBezTo>
                  <a:cubicBezTo>
                    <a:pt x="985" y="18"/>
                    <a:pt x="986" y="18"/>
                    <a:pt x="986" y="18"/>
                  </a:cubicBezTo>
                  <a:close/>
                  <a:moveTo>
                    <a:pt x="1358" y="18"/>
                  </a:moveTo>
                  <a:cubicBezTo>
                    <a:pt x="1358" y="18"/>
                    <a:pt x="1357" y="18"/>
                    <a:pt x="1357" y="18"/>
                  </a:cubicBezTo>
                  <a:cubicBezTo>
                    <a:pt x="1357" y="18"/>
                    <a:pt x="1358" y="18"/>
                    <a:pt x="1358" y="18"/>
                  </a:cubicBezTo>
                  <a:close/>
                  <a:moveTo>
                    <a:pt x="1484" y="18"/>
                  </a:moveTo>
                  <a:cubicBezTo>
                    <a:pt x="1484" y="18"/>
                    <a:pt x="1484" y="18"/>
                    <a:pt x="1484" y="18"/>
                  </a:cubicBezTo>
                  <a:cubicBezTo>
                    <a:pt x="1484" y="18"/>
                    <a:pt x="1484" y="18"/>
                    <a:pt x="1484" y="18"/>
                  </a:cubicBezTo>
                  <a:close/>
                  <a:moveTo>
                    <a:pt x="1542" y="18"/>
                  </a:moveTo>
                  <a:cubicBezTo>
                    <a:pt x="1542" y="18"/>
                    <a:pt x="1541" y="18"/>
                    <a:pt x="1541" y="18"/>
                  </a:cubicBezTo>
                  <a:cubicBezTo>
                    <a:pt x="1542" y="18"/>
                    <a:pt x="1542" y="18"/>
                    <a:pt x="1542" y="18"/>
                  </a:cubicBezTo>
                  <a:close/>
                  <a:moveTo>
                    <a:pt x="1564" y="18"/>
                  </a:moveTo>
                  <a:cubicBezTo>
                    <a:pt x="1564" y="18"/>
                    <a:pt x="1564" y="18"/>
                    <a:pt x="1564" y="18"/>
                  </a:cubicBezTo>
                  <a:cubicBezTo>
                    <a:pt x="1564" y="18"/>
                    <a:pt x="1564" y="18"/>
                    <a:pt x="1564" y="18"/>
                  </a:cubicBezTo>
                  <a:close/>
                  <a:moveTo>
                    <a:pt x="1579" y="18"/>
                  </a:moveTo>
                  <a:cubicBezTo>
                    <a:pt x="1579" y="18"/>
                    <a:pt x="1579" y="19"/>
                    <a:pt x="1579" y="19"/>
                  </a:cubicBezTo>
                  <a:cubicBezTo>
                    <a:pt x="1579" y="18"/>
                    <a:pt x="1579" y="18"/>
                    <a:pt x="1579" y="18"/>
                  </a:cubicBezTo>
                  <a:close/>
                  <a:moveTo>
                    <a:pt x="1111" y="44"/>
                  </a:moveTo>
                  <a:cubicBezTo>
                    <a:pt x="1111" y="44"/>
                    <a:pt x="1111" y="44"/>
                    <a:pt x="1111" y="44"/>
                  </a:cubicBezTo>
                  <a:cubicBezTo>
                    <a:pt x="1111" y="44"/>
                    <a:pt x="1111" y="44"/>
                    <a:pt x="1111" y="44"/>
                  </a:cubicBezTo>
                  <a:close/>
                  <a:moveTo>
                    <a:pt x="1710" y="18"/>
                  </a:moveTo>
                  <a:cubicBezTo>
                    <a:pt x="1710" y="18"/>
                    <a:pt x="1710" y="18"/>
                    <a:pt x="1709" y="18"/>
                  </a:cubicBezTo>
                  <a:cubicBezTo>
                    <a:pt x="1710" y="18"/>
                    <a:pt x="1710" y="18"/>
                    <a:pt x="1710" y="18"/>
                  </a:cubicBezTo>
                  <a:close/>
                  <a:moveTo>
                    <a:pt x="1732" y="18"/>
                  </a:moveTo>
                  <a:cubicBezTo>
                    <a:pt x="1732" y="18"/>
                    <a:pt x="1732" y="18"/>
                    <a:pt x="1732" y="18"/>
                  </a:cubicBezTo>
                  <a:cubicBezTo>
                    <a:pt x="1732" y="18"/>
                    <a:pt x="1732" y="18"/>
                    <a:pt x="1732" y="18"/>
                  </a:cubicBezTo>
                  <a:close/>
                  <a:moveTo>
                    <a:pt x="1747" y="18"/>
                  </a:moveTo>
                  <a:cubicBezTo>
                    <a:pt x="1747" y="18"/>
                    <a:pt x="1747" y="19"/>
                    <a:pt x="1747" y="19"/>
                  </a:cubicBezTo>
                  <a:cubicBezTo>
                    <a:pt x="1747" y="18"/>
                    <a:pt x="1747" y="18"/>
                    <a:pt x="1747" y="18"/>
                  </a:cubicBezTo>
                  <a:close/>
                  <a:moveTo>
                    <a:pt x="540" y="19"/>
                  </a:moveTo>
                  <a:cubicBezTo>
                    <a:pt x="540" y="19"/>
                    <a:pt x="540" y="19"/>
                    <a:pt x="540" y="18"/>
                  </a:cubicBezTo>
                  <a:cubicBezTo>
                    <a:pt x="540" y="18"/>
                    <a:pt x="540" y="19"/>
                    <a:pt x="540" y="19"/>
                  </a:cubicBezTo>
                  <a:close/>
                  <a:moveTo>
                    <a:pt x="556" y="18"/>
                  </a:moveTo>
                  <a:cubicBezTo>
                    <a:pt x="556" y="18"/>
                    <a:pt x="555" y="18"/>
                    <a:pt x="555" y="19"/>
                  </a:cubicBezTo>
                  <a:cubicBezTo>
                    <a:pt x="555" y="19"/>
                    <a:pt x="556" y="19"/>
                    <a:pt x="556" y="18"/>
                  </a:cubicBezTo>
                  <a:close/>
                  <a:moveTo>
                    <a:pt x="580" y="19"/>
                  </a:moveTo>
                  <a:cubicBezTo>
                    <a:pt x="580" y="18"/>
                    <a:pt x="580" y="18"/>
                    <a:pt x="580" y="18"/>
                  </a:cubicBezTo>
                  <a:cubicBezTo>
                    <a:pt x="580" y="19"/>
                    <a:pt x="580" y="19"/>
                    <a:pt x="580" y="19"/>
                  </a:cubicBezTo>
                  <a:close/>
                  <a:moveTo>
                    <a:pt x="650" y="49"/>
                  </a:moveTo>
                  <a:cubicBezTo>
                    <a:pt x="650" y="50"/>
                    <a:pt x="649" y="50"/>
                    <a:pt x="649" y="50"/>
                  </a:cubicBezTo>
                  <a:cubicBezTo>
                    <a:pt x="650" y="50"/>
                    <a:pt x="650" y="50"/>
                    <a:pt x="650" y="49"/>
                  </a:cubicBezTo>
                  <a:close/>
                  <a:moveTo>
                    <a:pt x="1014" y="19"/>
                  </a:moveTo>
                  <a:cubicBezTo>
                    <a:pt x="1014" y="18"/>
                    <a:pt x="1014" y="18"/>
                    <a:pt x="1014" y="18"/>
                  </a:cubicBezTo>
                  <a:cubicBezTo>
                    <a:pt x="1014" y="19"/>
                    <a:pt x="1014" y="19"/>
                    <a:pt x="1014" y="19"/>
                  </a:cubicBezTo>
                  <a:close/>
                  <a:moveTo>
                    <a:pt x="1357" y="18"/>
                  </a:moveTo>
                  <a:cubicBezTo>
                    <a:pt x="1357" y="18"/>
                    <a:pt x="1357" y="18"/>
                    <a:pt x="1356" y="19"/>
                  </a:cubicBezTo>
                  <a:cubicBezTo>
                    <a:pt x="1357" y="19"/>
                    <a:pt x="1357" y="19"/>
                    <a:pt x="1357" y="18"/>
                  </a:cubicBezTo>
                  <a:close/>
                  <a:moveTo>
                    <a:pt x="1137" y="44"/>
                  </a:moveTo>
                  <a:cubicBezTo>
                    <a:pt x="1137" y="44"/>
                    <a:pt x="1136" y="44"/>
                    <a:pt x="1136" y="44"/>
                  </a:cubicBezTo>
                  <a:cubicBezTo>
                    <a:pt x="1136" y="44"/>
                    <a:pt x="1137" y="44"/>
                    <a:pt x="1137" y="44"/>
                  </a:cubicBezTo>
                  <a:close/>
                  <a:moveTo>
                    <a:pt x="1152" y="44"/>
                  </a:moveTo>
                  <a:cubicBezTo>
                    <a:pt x="1152" y="44"/>
                    <a:pt x="1152" y="44"/>
                    <a:pt x="1152" y="44"/>
                  </a:cubicBezTo>
                  <a:cubicBezTo>
                    <a:pt x="1152" y="44"/>
                    <a:pt x="1152" y="44"/>
                    <a:pt x="1152" y="44"/>
                  </a:cubicBezTo>
                  <a:close/>
                  <a:moveTo>
                    <a:pt x="751" y="50"/>
                  </a:moveTo>
                  <a:cubicBezTo>
                    <a:pt x="751" y="50"/>
                    <a:pt x="751" y="50"/>
                    <a:pt x="751" y="50"/>
                  </a:cubicBezTo>
                  <a:cubicBezTo>
                    <a:pt x="751" y="50"/>
                    <a:pt x="751" y="50"/>
                    <a:pt x="751" y="50"/>
                  </a:cubicBezTo>
                  <a:close/>
                  <a:moveTo>
                    <a:pt x="1482" y="19"/>
                  </a:moveTo>
                  <a:cubicBezTo>
                    <a:pt x="1483" y="19"/>
                    <a:pt x="1483" y="19"/>
                    <a:pt x="1483" y="18"/>
                  </a:cubicBezTo>
                  <a:cubicBezTo>
                    <a:pt x="1483" y="18"/>
                    <a:pt x="1483" y="18"/>
                    <a:pt x="1482" y="19"/>
                  </a:cubicBezTo>
                  <a:close/>
                  <a:moveTo>
                    <a:pt x="1541" y="18"/>
                  </a:moveTo>
                  <a:cubicBezTo>
                    <a:pt x="1541" y="18"/>
                    <a:pt x="1541" y="18"/>
                    <a:pt x="1541" y="19"/>
                  </a:cubicBezTo>
                  <a:cubicBezTo>
                    <a:pt x="1541" y="19"/>
                    <a:pt x="1541" y="19"/>
                    <a:pt x="1541" y="18"/>
                  </a:cubicBezTo>
                  <a:close/>
                  <a:moveTo>
                    <a:pt x="1680" y="18"/>
                  </a:moveTo>
                  <a:cubicBezTo>
                    <a:pt x="1681" y="19"/>
                    <a:pt x="1681" y="19"/>
                    <a:pt x="1681" y="19"/>
                  </a:cubicBezTo>
                  <a:cubicBezTo>
                    <a:pt x="1681" y="19"/>
                    <a:pt x="1681" y="18"/>
                    <a:pt x="1680" y="18"/>
                  </a:cubicBezTo>
                  <a:close/>
                  <a:moveTo>
                    <a:pt x="1709" y="18"/>
                  </a:moveTo>
                  <a:cubicBezTo>
                    <a:pt x="1709" y="18"/>
                    <a:pt x="1709" y="18"/>
                    <a:pt x="1709" y="19"/>
                  </a:cubicBezTo>
                  <a:cubicBezTo>
                    <a:pt x="1709" y="19"/>
                    <a:pt x="1709" y="19"/>
                    <a:pt x="1709" y="18"/>
                  </a:cubicBezTo>
                  <a:close/>
                  <a:moveTo>
                    <a:pt x="555" y="19"/>
                  </a:moveTo>
                  <a:cubicBezTo>
                    <a:pt x="555" y="19"/>
                    <a:pt x="555" y="19"/>
                    <a:pt x="555" y="19"/>
                  </a:cubicBezTo>
                  <a:cubicBezTo>
                    <a:pt x="555" y="19"/>
                    <a:pt x="555" y="19"/>
                    <a:pt x="555" y="19"/>
                  </a:cubicBezTo>
                  <a:close/>
                  <a:moveTo>
                    <a:pt x="581" y="19"/>
                  </a:moveTo>
                  <a:cubicBezTo>
                    <a:pt x="581" y="19"/>
                    <a:pt x="581" y="19"/>
                    <a:pt x="580" y="19"/>
                  </a:cubicBezTo>
                  <a:cubicBezTo>
                    <a:pt x="580" y="19"/>
                    <a:pt x="581" y="19"/>
                    <a:pt x="581" y="19"/>
                  </a:cubicBezTo>
                  <a:close/>
                  <a:moveTo>
                    <a:pt x="1310" y="44"/>
                  </a:moveTo>
                  <a:cubicBezTo>
                    <a:pt x="1309" y="44"/>
                    <a:pt x="1309" y="44"/>
                    <a:pt x="1309" y="44"/>
                  </a:cubicBezTo>
                  <a:cubicBezTo>
                    <a:pt x="1309" y="44"/>
                    <a:pt x="1309" y="44"/>
                    <a:pt x="1310" y="44"/>
                  </a:cubicBezTo>
                  <a:close/>
                  <a:moveTo>
                    <a:pt x="984" y="19"/>
                  </a:moveTo>
                  <a:cubicBezTo>
                    <a:pt x="984" y="19"/>
                    <a:pt x="983" y="19"/>
                    <a:pt x="983" y="19"/>
                  </a:cubicBezTo>
                  <a:cubicBezTo>
                    <a:pt x="984" y="19"/>
                    <a:pt x="984" y="19"/>
                    <a:pt x="984" y="19"/>
                  </a:cubicBezTo>
                  <a:close/>
                  <a:moveTo>
                    <a:pt x="1015" y="19"/>
                  </a:moveTo>
                  <a:cubicBezTo>
                    <a:pt x="1015" y="19"/>
                    <a:pt x="1015" y="19"/>
                    <a:pt x="1015" y="19"/>
                  </a:cubicBezTo>
                  <a:cubicBezTo>
                    <a:pt x="1015" y="19"/>
                    <a:pt x="1015" y="19"/>
                    <a:pt x="1015" y="19"/>
                  </a:cubicBezTo>
                  <a:close/>
                  <a:moveTo>
                    <a:pt x="1356" y="19"/>
                  </a:moveTo>
                  <a:cubicBezTo>
                    <a:pt x="1356" y="19"/>
                    <a:pt x="1356" y="19"/>
                    <a:pt x="1356" y="19"/>
                  </a:cubicBezTo>
                  <a:cubicBezTo>
                    <a:pt x="1356" y="19"/>
                    <a:pt x="1356" y="19"/>
                    <a:pt x="1356" y="19"/>
                  </a:cubicBezTo>
                  <a:close/>
                  <a:moveTo>
                    <a:pt x="1383" y="44"/>
                  </a:moveTo>
                  <a:cubicBezTo>
                    <a:pt x="1384" y="44"/>
                    <a:pt x="1384" y="44"/>
                    <a:pt x="1384" y="44"/>
                  </a:cubicBezTo>
                  <a:cubicBezTo>
                    <a:pt x="1383" y="44"/>
                    <a:pt x="1383" y="44"/>
                    <a:pt x="1383" y="44"/>
                  </a:cubicBezTo>
                  <a:close/>
                  <a:moveTo>
                    <a:pt x="1417" y="19"/>
                  </a:moveTo>
                  <a:cubicBezTo>
                    <a:pt x="1417" y="19"/>
                    <a:pt x="1417" y="19"/>
                    <a:pt x="1417" y="19"/>
                  </a:cubicBezTo>
                  <a:cubicBezTo>
                    <a:pt x="1417" y="19"/>
                    <a:pt x="1417" y="19"/>
                    <a:pt x="1417" y="19"/>
                  </a:cubicBezTo>
                  <a:close/>
                  <a:moveTo>
                    <a:pt x="1464" y="19"/>
                  </a:moveTo>
                  <a:cubicBezTo>
                    <a:pt x="1464" y="19"/>
                    <a:pt x="1464" y="19"/>
                    <a:pt x="1464" y="19"/>
                  </a:cubicBezTo>
                  <a:cubicBezTo>
                    <a:pt x="1464" y="19"/>
                    <a:pt x="1464" y="19"/>
                    <a:pt x="1464" y="19"/>
                  </a:cubicBezTo>
                  <a:close/>
                  <a:moveTo>
                    <a:pt x="1748" y="44"/>
                  </a:moveTo>
                  <a:cubicBezTo>
                    <a:pt x="1747" y="44"/>
                    <a:pt x="1747" y="44"/>
                    <a:pt x="1747" y="44"/>
                  </a:cubicBezTo>
                  <a:cubicBezTo>
                    <a:pt x="1748" y="44"/>
                    <a:pt x="1748" y="44"/>
                    <a:pt x="1748" y="44"/>
                  </a:cubicBezTo>
                  <a:close/>
                  <a:moveTo>
                    <a:pt x="1579" y="19"/>
                  </a:moveTo>
                  <a:cubicBezTo>
                    <a:pt x="1579" y="19"/>
                    <a:pt x="1579" y="19"/>
                    <a:pt x="1579" y="19"/>
                  </a:cubicBezTo>
                  <a:cubicBezTo>
                    <a:pt x="1579" y="19"/>
                    <a:pt x="1579" y="19"/>
                    <a:pt x="1579" y="19"/>
                  </a:cubicBezTo>
                  <a:close/>
                  <a:moveTo>
                    <a:pt x="557" y="44"/>
                  </a:moveTo>
                  <a:cubicBezTo>
                    <a:pt x="557" y="44"/>
                    <a:pt x="557" y="44"/>
                    <a:pt x="557" y="45"/>
                  </a:cubicBezTo>
                  <a:cubicBezTo>
                    <a:pt x="557" y="44"/>
                    <a:pt x="557" y="44"/>
                    <a:pt x="557" y="44"/>
                  </a:cubicBezTo>
                  <a:close/>
                  <a:moveTo>
                    <a:pt x="596" y="45"/>
                  </a:moveTo>
                  <a:cubicBezTo>
                    <a:pt x="596" y="44"/>
                    <a:pt x="596" y="44"/>
                    <a:pt x="596" y="44"/>
                  </a:cubicBezTo>
                  <a:cubicBezTo>
                    <a:pt x="596" y="44"/>
                    <a:pt x="596" y="45"/>
                    <a:pt x="596" y="45"/>
                  </a:cubicBezTo>
                  <a:close/>
                  <a:moveTo>
                    <a:pt x="1747" y="19"/>
                  </a:moveTo>
                  <a:cubicBezTo>
                    <a:pt x="1747" y="19"/>
                    <a:pt x="1747" y="19"/>
                    <a:pt x="1747" y="19"/>
                  </a:cubicBezTo>
                  <a:cubicBezTo>
                    <a:pt x="1747" y="19"/>
                    <a:pt x="1747" y="19"/>
                    <a:pt x="1747" y="19"/>
                  </a:cubicBezTo>
                  <a:close/>
                  <a:moveTo>
                    <a:pt x="640" y="45"/>
                  </a:moveTo>
                  <a:cubicBezTo>
                    <a:pt x="641" y="45"/>
                    <a:pt x="641" y="44"/>
                    <a:pt x="641" y="44"/>
                  </a:cubicBezTo>
                  <a:cubicBezTo>
                    <a:pt x="640" y="44"/>
                    <a:pt x="640" y="45"/>
                    <a:pt x="640" y="45"/>
                  </a:cubicBezTo>
                  <a:close/>
                  <a:moveTo>
                    <a:pt x="582" y="19"/>
                  </a:moveTo>
                  <a:cubicBezTo>
                    <a:pt x="582" y="19"/>
                    <a:pt x="581" y="19"/>
                    <a:pt x="581" y="19"/>
                  </a:cubicBezTo>
                  <a:cubicBezTo>
                    <a:pt x="581" y="19"/>
                    <a:pt x="581" y="19"/>
                    <a:pt x="582" y="19"/>
                  </a:cubicBezTo>
                  <a:close/>
                  <a:moveTo>
                    <a:pt x="983" y="19"/>
                  </a:moveTo>
                  <a:cubicBezTo>
                    <a:pt x="983" y="19"/>
                    <a:pt x="983" y="19"/>
                    <a:pt x="983" y="19"/>
                  </a:cubicBezTo>
                  <a:cubicBezTo>
                    <a:pt x="983" y="19"/>
                    <a:pt x="983" y="19"/>
                    <a:pt x="983" y="19"/>
                  </a:cubicBezTo>
                  <a:close/>
                  <a:moveTo>
                    <a:pt x="692" y="44"/>
                  </a:moveTo>
                  <a:cubicBezTo>
                    <a:pt x="692" y="44"/>
                    <a:pt x="692" y="44"/>
                    <a:pt x="692" y="44"/>
                  </a:cubicBezTo>
                  <a:cubicBezTo>
                    <a:pt x="692" y="44"/>
                    <a:pt x="692" y="44"/>
                    <a:pt x="692" y="44"/>
                  </a:cubicBezTo>
                  <a:close/>
                  <a:moveTo>
                    <a:pt x="837" y="44"/>
                  </a:moveTo>
                  <a:cubicBezTo>
                    <a:pt x="836" y="44"/>
                    <a:pt x="836" y="44"/>
                    <a:pt x="836" y="44"/>
                  </a:cubicBezTo>
                  <a:cubicBezTo>
                    <a:pt x="836" y="44"/>
                    <a:pt x="837" y="44"/>
                    <a:pt x="837" y="44"/>
                  </a:cubicBezTo>
                  <a:close/>
                  <a:moveTo>
                    <a:pt x="1540" y="19"/>
                  </a:moveTo>
                  <a:cubicBezTo>
                    <a:pt x="1540" y="19"/>
                    <a:pt x="1540" y="19"/>
                    <a:pt x="1540" y="19"/>
                  </a:cubicBezTo>
                  <a:cubicBezTo>
                    <a:pt x="1540" y="19"/>
                    <a:pt x="1540" y="19"/>
                    <a:pt x="1540" y="19"/>
                  </a:cubicBezTo>
                  <a:close/>
                  <a:moveTo>
                    <a:pt x="1681" y="19"/>
                  </a:moveTo>
                  <a:cubicBezTo>
                    <a:pt x="1681" y="19"/>
                    <a:pt x="1681" y="20"/>
                    <a:pt x="1681" y="20"/>
                  </a:cubicBezTo>
                  <a:cubicBezTo>
                    <a:pt x="1681" y="19"/>
                    <a:pt x="1681" y="19"/>
                    <a:pt x="1681" y="19"/>
                  </a:cubicBezTo>
                  <a:close/>
                  <a:moveTo>
                    <a:pt x="1708" y="19"/>
                  </a:moveTo>
                  <a:cubicBezTo>
                    <a:pt x="1708" y="19"/>
                    <a:pt x="1708" y="19"/>
                    <a:pt x="1708" y="19"/>
                  </a:cubicBezTo>
                  <a:cubicBezTo>
                    <a:pt x="1708" y="19"/>
                    <a:pt x="1708" y="19"/>
                    <a:pt x="1708" y="19"/>
                  </a:cubicBezTo>
                  <a:close/>
                  <a:moveTo>
                    <a:pt x="539" y="20"/>
                  </a:moveTo>
                  <a:cubicBezTo>
                    <a:pt x="540" y="20"/>
                    <a:pt x="540" y="20"/>
                    <a:pt x="540" y="19"/>
                  </a:cubicBezTo>
                  <a:cubicBezTo>
                    <a:pt x="539" y="20"/>
                    <a:pt x="539" y="20"/>
                    <a:pt x="539" y="20"/>
                  </a:cubicBezTo>
                  <a:close/>
                  <a:moveTo>
                    <a:pt x="1392" y="50"/>
                  </a:moveTo>
                  <a:cubicBezTo>
                    <a:pt x="1392" y="50"/>
                    <a:pt x="1392" y="50"/>
                    <a:pt x="1392" y="50"/>
                  </a:cubicBezTo>
                  <a:cubicBezTo>
                    <a:pt x="1392" y="50"/>
                    <a:pt x="1392" y="50"/>
                    <a:pt x="1392" y="50"/>
                  </a:cubicBezTo>
                  <a:close/>
                  <a:moveTo>
                    <a:pt x="582" y="20"/>
                  </a:moveTo>
                  <a:cubicBezTo>
                    <a:pt x="582" y="19"/>
                    <a:pt x="582" y="19"/>
                    <a:pt x="582" y="19"/>
                  </a:cubicBezTo>
                  <a:cubicBezTo>
                    <a:pt x="582" y="20"/>
                    <a:pt x="582" y="20"/>
                    <a:pt x="582" y="20"/>
                  </a:cubicBezTo>
                  <a:close/>
                  <a:moveTo>
                    <a:pt x="983" y="19"/>
                  </a:moveTo>
                  <a:cubicBezTo>
                    <a:pt x="982" y="19"/>
                    <a:pt x="982" y="19"/>
                    <a:pt x="982" y="20"/>
                  </a:cubicBezTo>
                  <a:cubicBezTo>
                    <a:pt x="982" y="20"/>
                    <a:pt x="982" y="20"/>
                    <a:pt x="983" y="19"/>
                  </a:cubicBezTo>
                  <a:close/>
                  <a:moveTo>
                    <a:pt x="1017" y="20"/>
                  </a:moveTo>
                  <a:cubicBezTo>
                    <a:pt x="1017" y="19"/>
                    <a:pt x="1017" y="19"/>
                    <a:pt x="1016" y="19"/>
                  </a:cubicBezTo>
                  <a:cubicBezTo>
                    <a:pt x="1017" y="20"/>
                    <a:pt x="1017" y="20"/>
                    <a:pt x="1017" y="20"/>
                  </a:cubicBezTo>
                  <a:close/>
                  <a:moveTo>
                    <a:pt x="1355" y="19"/>
                  </a:moveTo>
                  <a:cubicBezTo>
                    <a:pt x="1355" y="19"/>
                    <a:pt x="1355" y="19"/>
                    <a:pt x="1355" y="20"/>
                  </a:cubicBezTo>
                  <a:cubicBezTo>
                    <a:pt x="1355" y="20"/>
                    <a:pt x="1355" y="20"/>
                    <a:pt x="1355" y="19"/>
                  </a:cubicBezTo>
                  <a:close/>
                  <a:moveTo>
                    <a:pt x="1417" y="20"/>
                  </a:moveTo>
                  <a:cubicBezTo>
                    <a:pt x="1417" y="20"/>
                    <a:pt x="1417" y="20"/>
                    <a:pt x="1417" y="19"/>
                  </a:cubicBezTo>
                  <a:cubicBezTo>
                    <a:pt x="1417" y="20"/>
                    <a:pt x="1417" y="20"/>
                    <a:pt x="1417" y="20"/>
                  </a:cubicBezTo>
                  <a:close/>
                  <a:moveTo>
                    <a:pt x="1464" y="19"/>
                  </a:moveTo>
                  <a:cubicBezTo>
                    <a:pt x="1464" y="20"/>
                    <a:pt x="1464" y="20"/>
                    <a:pt x="1465" y="20"/>
                  </a:cubicBezTo>
                  <a:cubicBezTo>
                    <a:pt x="1465" y="20"/>
                    <a:pt x="1465" y="20"/>
                    <a:pt x="1464" y="19"/>
                  </a:cubicBezTo>
                  <a:close/>
                  <a:moveTo>
                    <a:pt x="1540" y="19"/>
                  </a:moveTo>
                  <a:cubicBezTo>
                    <a:pt x="1539" y="19"/>
                    <a:pt x="1539" y="19"/>
                    <a:pt x="1539" y="20"/>
                  </a:cubicBezTo>
                  <a:cubicBezTo>
                    <a:pt x="1539" y="20"/>
                    <a:pt x="1539" y="20"/>
                    <a:pt x="1540" y="19"/>
                  </a:cubicBezTo>
                  <a:close/>
                  <a:moveTo>
                    <a:pt x="1579" y="19"/>
                  </a:moveTo>
                  <a:cubicBezTo>
                    <a:pt x="1579" y="20"/>
                    <a:pt x="1579" y="20"/>
                    <a:pt x="1580" y="20"/>
                  </a:cubicBezTo>
                  <a:cubicBezTo>
                    <a:pt x="1580" y="20"/>
                    <a:pt x="1580" y="20"/>
                    <a:pt x="1579" y="19"/>
                  </a:cubicBezTo>
                  <a:close/>
                  <a:moveTo>
                    <a:pt x="1708" y="19"/>
                  </a:moveTo>
                  <a:cubicBezTo>
                    <a:pt x="1707" y="19"/>
                    <a:pt x="1707" y="19"/>
                    <a:pt x="1707" y="20"/>
                  </a:cubicBezTo>
                  <a:cubicBezTo>
                    <a:pt x="1707" y="20"/>
                    <a:pt x="1708" y="20"/>
                    <a:pt x="1708" y="19"/>
                  </a:cubicBezTo>
                  <a:close/>
                  <a:moveTo>
                    <a:pt x="1747" y="19"/>
                  </a:moveTo>
                  <a:cubicBezTo>
                    <a:pt x="1747" y="20"/>
                    <a:pt x="1747" y="20"/>
                    <a:pt x="1748" y="20"/>
                  </a:cubicBezTo>
                  <a:cubicBezTo>
                    <a:pt x="1748" y="20"/>
                    <a:pt x="1748" y="20"/>
                    <a:pt x="1747" y="19"/>
                  </a:cubicBezTo>
                  <a:close/>
                  <a:moveTo>
                    <a:pt x="910" y="44"/>
                  </a:moveTo>
                  <a:cubicBezTo>
                    <a:pt x="910" y="44"/>
                    <a:pt x="910" y="45"/>
                    <a:pt x="910" y="45"/>
                  </a:cubicBezTo>
                  <a:cubicBezTo>
                    <a:pt x="910" y="45"/>
                    <a:pt x="910" y="44"/>
                    <a:pt x="910" y="44"/>
                  </a:cubicBezTo>
                  <a:close/>
                  <a:moveTo>
                    <a:pt x="1083" y="44"/>
                  </a:moveTo>
                  <a:cubicBezTo>
                    <a:pt x="1083" y="44"/>
                    <a:pt x="1083" y="45"/>
                    <a:pt x="1083" y="45"/>
                  </a:cubicBezTo>
                  <a:cubicBezTo>
                    <a:pt x="1083" y="44"/>
                    <a:pt x="1083" y="44"/>
                    <a:pt x="1083" y="44"/>
                  </a:cubicBezTo>
                  <a:close/>
                  <a:moveTo>
                    <a:pt x="982" y="20"/>
                  </a:moveTo>
                  <a:cubicBezTo>
                    <a:pt x="982" y="20"/>
                    <a:pt x="981" y="20"/>
                    <a:pt x="981" y="20"/>
                  </a:cubicBezTo>
                  <a:cubicBezTo>
                    <a:pt x="982" y="20"/>
                    <a:pt x="982" y="20"/>
                    <a:pt x="982" y="20"/>
                  </a:cubicBezTo>
                  <a:close/>
                  <a:moveTo>
                    <a:pt x="1018" y="20"/>
                  </a:moveTo>
                  <a:cubicBezTo>
                    <a:pt x="1018" y="20"/>
                    <a:pt x="1017" y="20"/>
                    <a:pt x="1017" y="20"/>
                  </a:cubicBezTo>
                  <a:cubicBezTo>
                    <a:pt x="1017" y="20"/>
                    <a:pt x="1018" y="20"/>
                    <a:pt x="1018" y="20"/>
                  </a:cubicBezTo>
                  <a:close/>
                  <a:moveTo>
                    <a:pt x="1395" y="20"/>
                  </a:moveTo>
                  <a:cubicBezTo>
                    <a:pt x="1395" y="20"/>
                    <a:pt x="1395" y="20"/>
                    <a:pt x="1395" y="20"/>
                  </a:cubicBezTo>
                  <a:cubicBezTo>
                    <a:pt x="1395" y="20"/>
                    <a:pt x="1395" y="20"/>
                    <a:pt x="1395" y="20"/>
                  </a:cubicBezTo>
                  <a:close/>
                  <a:moveTo>
                    <a:pt x="1214" y="45"/>
                  </a:moveTo>
                  <a:cubicBezTo>
                    <a:pt x="1214" y="45"/>
                    <a:pt x="1215" y="44"/>
                    <a:pt x="1215" y="44"/>
                  </a:cubicBezTo>
                  <a:cubicBezTo>
                    <a:pt x="1214" y="44"/>
                    <a:pt x="1214" y="44"/>
                    <a:pt x="1214" y="45"/>
                  </a:cubicBezTo>
                  <a:close/>
                  <a:moveTo>
                    <a:pt x="1261" y="44"/>
                  </a:moveTo>
                  <a:cubicBezTo>
                    <a:pt x="1261" y="44"/>
                    <a:pt x="1261" y="45"/>
                    <a:pt x="1261" y="45"/>
                  </a:cubicBezTo>
                  <a:cubicBezTo>
                    <a:pt x="1261" y="44"/>
                    <a:pt x="1261" y="44"/>
                    <a:pt x="1261" y="44"/>
                  </a:cubicBezTo>
                  <a:close/>
                  <a:moveTo>
                    <a:pt x="539" y="21"/>
                  </a:moveTo>
                  <a:cubicBezTo>
                    <a:pt x="539" y="21"/>
                    <a:pt x="539" y="20"/>
                    <a:pt x="539" y="20"/>
                  </a:cubicBezTo>
                  <a:cubicBezTo>
                    <a:pt x="539" y="20"/>
                    <a:pt x="539" y="21"/>
                    <a:pt x="539" y="21"/>
                  </a:cubicBezTo>
                  <a:close/>
                  <a:moveTo>
                    <a:pt x="583" y="20"/>
                  </a:moveTo>
                  <a:cubicBezTo>
                    <a:pt x="583" y="20"/>
                    <a:pt x="583" y="20"/>
                    <a:pt x="583" y="20"/>
                  </a:cubicBezTo>
                  <a:cubicBezTo>
                    <a:pt x="583" y="20"/>
                    <a:pt x="583" y="20"/>
                    <a:pt x="583" y="20"/>
                  </a:cubicBezTo>
                  <a:close/>
                  <a:moveTo>
                    <a:pt x="1289" y="45"/>
                  </a:moveTo>
                  <a:cubicBezTo>
                    <a:pt x="1290" y="45"/>
                    <a:pt x="1290" y="44"/>
                    <a:pt x="1290" y="44"/>
                  </a:cubicBezTo>
                  <a:cubicBezTo>
                    <a:pt x="1289" y="44"/>
                    <a:pt x="1289" y="44"/>
                    <a:pt x="1289" y="45"/>
                  </a:cubicBezTo>
                  <a:close/>
                  <a:moveTo>
                    <a:pt x="981" y="20"/>
                  </a:moveTo>
                  <a:cubicBezTo>
                    <a:pt x="981" y="20"/>
                    <a:pt x="981" y="20"/>
                    <a:pt x="981" y="20"/>
                  </a:cubicBezTo>
                  <a:cubicBezTo>
                    <a:pt x="981" y="20"/>
                    <a:pt x="981" y="20"/>
                    <a:pt x="981" y="20"/>
                  </a:cubicBezTo>
                  <a:close/>
                  <a:moveTo>
                    <a:pt x="1019" y="20"/>
                  </a:moveTo>
                  <a:cubicBezTo>
                    <a:pt x="1018" y="20"/>
                    <a:pt x="1018" y="20"/>
                    <a:pt x="1018" y="20"/>
                  </a:cubicBezTo>
                  <a:cubicBezTo>
                    <a:pt x="1018" y="20"/>
                    <a:pt x="1018" y="20"/>
                    <a:pt x="1019" y="20"/>
                  </a:cubicBezTo>
                  <a:close/>
                  <a:moveTo>
                    <a:pt x="1299" y="44"/>
                  </a:moveTo>
                  <a:cubicBezTo>
                    <a:pt x="1299" y="44"/>
                    <a:pt x="1298" y="44"/>
                    <a:pt x="1298" y="44"/>
                  </a:cubicBezTo>
                  <a:cubicBezTo>
                    <a:pt x="1299" y="44"/>
                    <a:pt x="1299" y="44"/>
                    <a:pt x="1299" y="44"/>
                  </a:cubicBezTo>
                  <a:close/>
                  <a:moveTo>
                    <a:pt x="1311" y="44"/>
                  </a:moveTo>
                  <a:cubicBezTo>
                    <a:pt x="1310" y="44"/>
                    <a:pt x="1310" y="44"/>
                    <a:pt x="1310" y="44"/>
                  </a:cubicBezTo>
                  <a:cubicBezTo>
                    <a:pt x="1310" y="44"/>
                    <a:pt x="1310" y="44"/>
                    <a:pt x="1311" y="44"/>
                  </a:cubicBezTo>
                  <a:close/>
                  <a:moveTo>
                    <a:pt x="1465" y="20"/>
                  </a:moveTo>
                  <a:cubicBezTo>
                    <a:pt x="1465" y="20"/>
                    <a:pt x="1465" y="21"/>
                    <a:pt x="1465" y="21"/>
                  </a:cubicBezTo>
                  <a:cubicBezTo>
                    <a:pt x="1465" y="20"/>
                    <a:pt x="1465" y="20"/>
                    <a:pt x="1465" y="20"/>
                  </a:cubicBezTo>
                  <a:close/>
                  <a:moveTo>
                    <a:pt x="1539" y="20"/>
                  </a:moveTo>
                  <a:cubicBezTo>
                    <a:pt x="1538" y="20"/>
                    <a:pt x="1538" y="20"/>
                    <a:pt x="1538" y="20"/>
                  </a:cubicBezTo>
                  <a:cubicBezTo>
                    <a:pt x="1538" y="20"/>
                    <a:pt x="1538" y="20"/>
                    <a:pt x="1539" y="20"/>
                  </a:cubicBezTo>
                  <a:close/>
                  <a:moveTo>
                    <a:pt x="1580" y="20"/>
                  </a:moveTo>
                  <a:cubicBezTo>
                    <a:pt x="1580" y="20"/>
                    <a:pt x="1580" y="21"/>
                    <a:pt x="1580" y="21"/>
                  </a:cubicBezTo>
                  <a:cubicBezTo>
                    <a:pt x="1580" y="21"/>
                    <a:pt x="1580" y="20"/>
                    <a:pt x="1580" y="20"/>
                  </a:cubicBezTo>
                  <a:close/>
                  <a:moveTo>
                    <a:pt x="1682" y="20"/>
                  </a:moveTo>
                  <a:cubicBezTo>
                    <a:pt x="1682" y="20"/>
                    <a:pt x="1682" y="21"/>
                    <a:pt x="1682" y="21"/>
                  </a:cubicBezTo>
                  <a:cubicBezTo>
                    <a:pt x="1682" y="21"/>
                    <a:pt x="1682" y="20"/>
                    <a:pt x="1682" y="20"/>
                  </a:cubicBezTo>
                  <a:close/>
                  <a:moveTo>
                    <a:pt x="1707" y="20"/>
                  </a:moveTo>
                  <a:cubicBezTo>
                    <a:pt x="1706" y="20"/>
                    <a:pt x="1706" y="20"/>
                    <a:pt x="1706" y="20"/>
                  </a:cubicBezTo>
                  <a:cubicBezTo>
                    <a:pt x="1706" y="20"/>
                    <a:pt x="1707" y="20"/>
                    <a:pt x="1707" y="20"/>
                  </a:cubicBezTo>
                  <a:close/>
                  <a:moveTo>
                    <a:pt x="1748" y="20"/>
                  </a:moveTo>
                  <a:cubicBezTo>
                    <a:pt x="1748" y="20"/>
                    <a:pt x="1748" y="21"/>
                    <a:pt x="1748" y="21"/>
                  </a:cubicBezTo>
                  <a:cubicBezTo>
                    <a:pt x="1748" y="21"/>
                    <a:pt x="1748" y="20"/>
                    <a:pt x="1748" y="20"/>
                  </a:cubicBezTo>
                  <a:close/>
                  <a:moveTo>
                    <a:pt x="1567" y="45"/>
                  </a:moveTo>
                  <a:cubicBezTo>
                    <a:pt x="1568" y="45"/>
                    <a:pt x="1568" y="44"/>
                    <a:pt x="1568" y="44"/>
                  </a:cubicBezTo>
                  <a:cubicBezTo>
                    <a:pt x="1568" y="44"/>
                    <a:pt x="1567" y="44"/>
                    <a:pt x="1567" y="45"/>
                  </a:cubicBezTo>
                  <a:close/>
                  <a:moveTo>
                    <a:pt x="584" y="21"/>
                  </a:moveTo>
                  <a:cubicBezTo>
                    <a:pt x="584" y="21"/>
                    <a:pt x="584" y="20"/>
                    <a:pt x="583" y="20"/>
                  </a:cubicBezTo>
                  <a:cubicBezTo>
                    <a:pt x="583" y="21"/>
                    <a:pt x="584" y="21"/>
                    <a:pt x="584" y="21"/>
                  </a:cubicBezTo>
                  <a:close/>
                  <a:moveTo>
                    <a:pt x="981" y="20"/>
                  </a:moveTo>
                  <a:cubicBezTo>
                    <a:pt x="980" y="20"/>
                    <a:pt x="980" y="20"/>
                    <a:pt x="980" y="21"/>
                  </a:cubicBezTo>
                  <a:cubicBezTo>
                    <a:pt x="980" y="21"/>
                    <a:pt x="980" y="21"/>
                    <a:pt x="981" y="20"/>
                  </a:cubicBezTo>
                  <a:close/>
                  <a:moveTo>
                    <a:pt x="1019" y="21"/>
                  </a:moveTo>
                  <a:cubicBezTo>
                    <a:pt x="1019" y="20"/>
                    <a:pt x="1019" y="20"/>
                    <a:pt x="1019" y="20"/>
                  </a:cubicBezTo>
                  <a:cubicBezTo>
                    <a:pt x="1019" y="21"/>
                    <a:pt x="1019" y="21"/>
                    <a:pt x="1019" y="21"/>
                  </a:cubicBezTo>
                  <a:close/>
                  <a:moveTo>
                    <a:pt x="1682" y="44"/>
                  </a:moveTo>
                  <a:cubicBezTo>
                    <a:pt x="1682" y="44"/>
                    <a:pt x="1682" y="44"/>
                    <a:pt x="1682" y="45"/>
                  </a:cubicBezTo>
                  <a:cubicBezTo>
                    <a:pt x="1682" y="45"/>
                    <a:pt x="1682" y="44"/>
                    <a:pt x="1682" y="44"/>
                  </a:cubicBezTo>
                  <a:close/>
                  <a:moveTo>
                    <a:pt x="1736" y="45"/>
                  </a:moveTo>
                  <a:cubicBezTo>
                    <a:pt x="1736" y="45"/>
                    <a:pt x="1736" y="44"/>
                    <a:pt x="1736" y="44"/>
                  </a:cubicBezTo>
                  <a:cubicBezTo>
                    <a:pt x="1736" y="44"/>
                    <a:pt x="1736" y="44"/>
                    <a:pt x="1736" y="45"/>
                  </a:cubicBezTo>
                  <a:close/>
                  <a:moveTo>
                    <a:pt x="1395" y="20"/>
                  </a:moveTo>
                  <a:cubicBezTo>
                    <a:pt x="1395" y="21"/>
                    <a:pt x="1395" y="21"/>
                    <a:pt x="1396" y="21"/>
                  </a:cubicBezTo>
                  <a:cubicBezTo>
                    <a:pt x="1396" y="21"/>
                    <a:pt x="1396" y="21"/>
                    <a:pt x="1395" y="20"/>
                  </a:cubicBezTo>
                  <a:close/>
                  <a:moveTo>
                    <a:pt x="566" y="50"/>
                  </a:moveTo>
                  <a:cubicBezTo>
                    <a:pt x="566" y="50"/>
                    <a:pt x="567" y="50"/>
                    <a:pt x="567" y="50"/>
                  </a:cubicBezTo>
                  <a:cubicBezTo>
                    <a:pt x="567" y="50"/>
                    <a:pt x="567" y="50"/>
                    <a:pt x="566" y="50"/>
                  </a:cubicBezTo>
                  <a:close/>
                  <a:moveTo>
                    <a:pt x="660" y="45"/>
                  </a:moveTo>
                  <a:cubicBezTo>
                    <a:pt x="660" y="45"/>
                    <a:pt x="660" y="45"/>
                    <a:pt x="660" y="44"/>
                  </a:cubicBezTo>
                  <a:cubicBezTo>
                    <a:pt x="660" y="45"/>
                    <a:pt x="660" y="45"/>
                    <a:pt x="660" y="45"/>
                  </a:cubicBezTo>
                  <a:close/>
                  <a:moveTo>
                    <a:pt x="693" y="45"/>
                  </a:moveTo>
                  <a:cubicBezTo>
                    <a:pt x="693" y="44"/>
                    <a:pt x="693" y="44"/>
                    <a:pt x="692" y="44"/>
                  </a:cubicBezTo>
                  <a:cubicBezTo>
                    <a:pt x="692" y="45"/>
                    <a:pt x="693" y="45"/>
                    <a:pt x="693" y="45"/>
                  </a:cubicBezTo>
                  <a:close/>
                  <a:moveTo>
                    <a:pt x="1020" y="21"/>
                  </a:moveTo>
                  <a:cubicBezTo>
                    <a:pt x="1020" y="21"/>
                    <a:pt x="1020" y="21"/>
                    <a:pt x="1019" y="21"/>
                  </a:cubicBezTo>
                  <a:cubicBezTo>
                    <a:pt x="1019" y="21"/>
                    <a:pt x="1020" y="21"/>
                    <a:pt x="1020" y="21"/>
                  </a:cubicBezTo>
                  <a:close/>
                  <a:moveTo>
                    <a:pt x="1353" y="21"/>
                  </a:moveTo>
                  <a:cubicBezTo>
                    <a:pt x="1353" y="21"/>
                    <a:pt x="1353" y="21"/>
                    <a:pt x="1353" y="21"/>
                  </a:cubicBezTo>
                  <a:cubicBezTo>
                    <a:pt x="1353" y="21"/>
                    <a:pt x="1353" y="21"/>
                    <a:pt x="1353" y="21"/>
                  </a:cubicBezTo>
                  <a:close/>
                  <a:moveTo>
                    <a:pt x="831" y="50"/>
                  </a:moveTo>
                  <a:cubicBezTo>
                    <a:pt x="831" y="50"/>
                    <a:pt x="831" y="50"/>
                    <a:pt x="831" y="51"/>
                  </a:cubicBezTo>
                  <a:cubicBezTo>
                    <a:pt x="831" y="51"/>
                    <a:pt x="831" y="50"/>
                    <a:pt x="831" y="50"/>
                  </a:cubicBezTo>
                  <a:close/>
                  <a:moveTo>
                    <a:pt x="858" y="51"/>
                  </a:moveTo>
                  <a:cubicBezTo>
                    <a:pt x="858" y="50"/>
                    <a:pt x="858" y="50"/>
                    <a:pt x="857" y="50"/>
                  </a:cubicBezTo>
                  <a:cubicBezTo>
                    <a:pt x="857" y="50"/>
                    <a:pt x="857" y="51"/>
                    <a:pt x="858" y="51"/>
                  </a:cubicBezTo>
                  <a:close/>
                  <a:moveTo>
                    <a:pt x="1465" y="21"/>
                  </a:moveTo>
                  <a:cubicBezTo>
                    <a:pt x="1465" y="21"/>
                    <a:pt x="1465" y="21"/>
                    <a:pt x="1465" y="21"/>
                  </a:cubicBezTo>
                  <a:cubicBezTo>
                    <a:pt x="1465" y="21"/>
                    <a:pt x="1465" y="21"/>
                    <a:pt x="1465" y="21"/>
                  </a:cubicBezTo>
                  <a:close/>
                  <a:moveTo>
                    <a:pt x="853" y="45"/>
                  </a:moveTo>
                  <a:cubicBezTo>
                    <a:pt x="853" y="45"/>
                    <a:pt x="853" y="44"/>
                    <a:pt x="853" y="44"/>
                  </a:cubicBezTo>
                  <a:cubicBezTo>
                    <a:pt x="853" y="45"/>
                    <a:pt x="853" y="45"/>
                    <a:pt x="853" y="45"/>
                  </a:cubicBezTo>
                  <a:close/>
                  <a:moveTo>
                    <a:pt x="1682" y="21"/>
                  </a:moveTo>
                  <a:cubicBezTo>
                    <a:pt x="1682" y="21"/>
                    <a:pt x="1682" y="21"/>
                    <a:pt x="1682" y="22"/>
                  </a:cubicBezTo>
                  <a:cubicBezTo>
                    <a:pt x="1682" y="21"/>
                    <a:pt x="1682" y="21"/>
                    <a:pt x="1682" y="21"/>
                  </a:cubicBezTo>
                  <a:close/>
                  <a:moveTo>
                    <a:pt x="867" y="44"/>
                  </a:moveTo>
                  <a:cubicBezTo>
                    <a:pt x="867" y="45"/>
                    <a:pt x="867" y="45"/>
                    <a:pt x="868" y="45"/>
                  </a:cubicBezTo>
                  <a:cubicBezTo>
                    <a:pt x="868" y="45"/>
                    <a:pt x="868" y="45"/>
                    <a:pt x="867" y="44"/>
                  </a:cubicBezTo>
                  <a:close/>
                  <a:moveTo>
                    <a:pt x="538" y="22"/>
                  </a:moveTo>
                  <a:cubicBezTo>
                    <a:pt x="539" y="22"/>
                    <a:pt x="539" y="21"/>
                    <a:pt x="539" y="21"/>
                  </a:cubicBezTo>
                  <a:cubicBezTo>
                    <a:pt x="539" y="21"/>
                    <a:pt x="538" y="22"/>
                    <a:pt x="538" y="22"/>
                  </a:cubicBezTo>
                  <a:close/>
                  <a:moveTo>
                    <a:pt x="896" y="45"/>
                  </a:moveTo>
                  <a:cubicBezTo>
                    <a:pt x="896" y="44"/>
                    <a:pt x="896" y="44"/>
                    <a:pt x="896" y="44"/>
                  </a:cubicBezTo>
                  <a:cubicBezTo>
                    <a:pt x="896" y="45"/>
                    <a:pt x="896" y="45"/>
                    <a:pt x="896" y="45"/>
                  </a:cubicBezTo>
                  <a:close/>
                  <a:moveTo>
                    <a:pt x="979" y="21"/>
                  </a:moveTo>
                  <a:cubicBezTo>
                    <a:pt x="979" y="21"/>
                    <a:pt x="979" y="21"/>
                    <a:pt x="979" y="21"/>
                  </a:cubicBezTo>
                  <a:cubicBezTo>
                    <a:pt x="979" y="21"/>
                    <a:pt x="979" y="21"/>
                    <a:pt x="979" y="21"/>
                  </a:cubicBezTo>
                  <a:close/>
                  <a:moveTo>
                    <a:pt x="1021" y="21"/>
                  </a:moveTo>
                  <a:cubicBezTo>
                    <a:pt x="1020" y="21"/>
                    <a:pt x="1020" y="21"/>
                    <a:pt x="1020" y="21"/>
                  </a:cubicBezTo>
                  <a:cubicBezTo>
                    <a:pt x="1020" y="21"/>
                    <a:pt x="1020" y="21"/>
                    <a:pt x="1021" y="21"/>
                  </a:cubicBezTo>
                  <a:close/>
                  <a:moveTo>
                    <a:pt x="1120" y="44"/>
                  </a:moveTo>
                  <a:cubicBezTo>
                    <a:pt x="1119" y="44"/>
                    <a:pt x="1119" y="44"/>
                    <a:pt x="1119" y="45"/>
                  </a:cubicBezTo>
                  <a:cubicBezTo>
                    <a:pt x="1119" y="45"/>
                    <a:pt x="1120" y="45"/>
                    <a:pt x="1120" y="44"/>
                  </a:cubicBezTo>
                  <a:close/>
                  <a:moveTo>
                    <a:pt x="1383" y="22"/>
                  </a:moveTo>
                  <a:cubicBezTo>
                    <a:pt x="1383" y="21"/>
                    <a:pt x="1383" y="21"/>
                    <a:pt x="1383" y="21"/>
                  </a:cubicBezTo>
                  <a:cubicBezTo>
                    <a:pt x="1383" y="21"/>
                    <a:pt x="1383" y="22"/>
                    <a:pt x="1383" y="22"/>
                  </a:cubicBezTo>
                  <a:close/>
                  <a:moveTo>
                    <a:pt x="1416" y="22"/>
                  </a:moveTo>
                  <a:cubicBezTo>
                    <a:pt x="1416" y="22"/>
                    <a:pt x="1416" y="21"/>
                    <a:pt x="1416" y="21"/>
                  </a:cubicBezTo>
                  <a:cubicBezTo>
                    <a:pt x="1416" y="21"/>
                    <a:pt x="1416" y="22"/>
                    <a:pt x="1416" y="22"/>
                  </a:cubicBezTo>
                  <a:close/>
                  <a:moveTo>
                    <a:pt x="1138" y="45"/>
                  </a:moveTo>
                  <a:cubicBezTo>
                    <a:pt x="1138" y="45"/>
                    <a:pt x="1138" y="44"/>
                    <a:pt x="1137" y="44"/>
                  </a:cubicBezTo>
                  <a:cubicBezTo>
                    <a:pt x="1137" y="45"/>
                    <a:pt x="1138" y="45"/>
                    <a:pt x="1138" y="45"/>
                  </a:cubicBezTo>
                  <a:close/>
                  <a:moveTo>
                    <a:pt x="1152" y="44"/>
                  </a:moveTo>
                  <a:cubicBezTo>
                    <a:pt x="1152" y="45"/>
                    <a:pt x="1152" y="45"/>
                    <a:pt x="1152" y="45"/>
                  </a:cubicBezTo>
                  <a:cubicBezTo>
                    <a:pt x="1153" y="45"/>
                    <a:pt x="1152" y="45"/>
                    <a:pt x="1152" y="44"/>
                  </a:cubicBezTo>
                  <a:close/>
                  <a:moveTo>
                    <a:pt x="1580" y="21"/>
                  </a:moveTo>
                  <a:cubicBezTo>
                    <a:pt x="1580" y="21"/>
                    <a:pt x="1580" y="22"/>
                    <a:pt x="1580" y="22"/>
                  </a:cubicBezTo>
                  <a:cubicBezTo>
                    <a:pt x="1580" y="22"/>
                    <a:pt x="1580" y="21"/>
                    <a:pt x="1580" y="21"/>
                  </a:cubicBezTo>
                  <a:close/>
                  <a:moveTo>
                    <a:pt x="1298" y="44"/>
                  </a:moveTo>
                  <a:cubicBezTo>
                    <a:pt x="1298" y="44"/>
                    <a:pt x="1298" y="44"/>
                    <a:pt x="1298" y="45"/>
                  </a:cubicBezTo>
                  <a:cubicBezTo>
                    <a:pt x="1298" y="45"/>
                    <a:pt x="1298" y="45"/>
                    <a:pt x="1298" y="44"/>
                  </a:cubicBezTo>
                  <a:close/>
                  <a:moveTo>
                    <a:pt x="1748" y="21"/>
                  </a:moveTo>
                  <a:cubicBezTo>
                    <a:pt x="1748" y="21"/>
                    <a:pt x="1748" y="22"/>
                    <a:pt x="1748" y="22"/>
                  </a:cubicBezTo>
                  <a:cubicBezTo>
                    <a:pt x="1748" y="22"/>
                    <a:pt x="1748" y="21"/>
                    <a:pt x="1748" y="21"/>
                  </a:cubicBezTo>
                  <a:close/>
                  <a:moveTo>
                    <a:pt x="1311" y="45"/>
                  </a:moveTo>
                  <a:cubicBezTo>
                    <a:pt x="1311" y="45"/>
                    <a:pt x="1311" y="44"/>
                    <a:pt x="1311" y="44"/>
                  </a:cubicBezTo>
                  <a:cubicBezTo>
                    <a:pt x="1311" y="45"/>
                    <a:pt x="1311" y="45"/>
                    <a:pt x="1311" y="45"/>
                  </a:cubicBezTo>
                  <a:close/>
                  <a:moveTo>
                    <a:pt x="652" y="43"/>
                  </a:moveTo>
                  <a:cubicBezTo>
                    <a:pt x="652" y="43"/>
                    <a:pt x="652" y="44"/>
                    <a:pt x="652" y="44"/>
                  </a:cubicBezTo>
                  <a:cubicBezTo>
                    <a:pt x="652" y="44"/>
                    <a:pt x="652" y="44"/>
                    <a:pt x="652" y="43"/>
                  </a:cubicBezTo>
                  <a:close/>
                  <a:moveTo>
                    <a:pt x="1383" y="45"/>
                  </a:moveTo>
                  <a:cubicBezTo>
                    <a:pt x="1383" y="45"/>
                    <a:pt x="1383" y="45"/>
                    <a:pt x="1383" y="44"/>
                  </a:cubicBezTo>
                  <a:cubicBezTo>
                    <a:pt x="1383" y="45"/>
                    <a:pt x="1383" y="45"/>
                    <a:pt x="1383" y="45"/>
                  </a:cubicBezTo>
                  <a:close/>
                  <a:moveTo>
                    <a:pt x="1395" y="44"/>
                  </a:moveTo>
                  <a:cubicBezTo>
                    <a:pt x="1395" y="45"/>
                    <a:pt x="1395" y="45"/>
                    <a:pt x="1395" y="45"/>
                  </a:cubicBezTo>
                  <a:cubicBezTo>
                    <a:pt x="1395" y="45"/>
                    <a:pt x="1395" y="45"/>
                    <a:pt x="1395" y="44"/>
                  </a:cubicBezTo>
                  <a:close/>
                  <a:moveTo>
                    <a:pt x="1465" y="21"/>
                  </a:moveTo>
                  <a:cubicBezTo>
                    <a:pt x="1465" y="22"/>
                    <a:pt x="1465" y="22"/>
                    <a:pt x="1466" y="22"/>
                  </a:cubicBezTo>
                  <a:cubicBezTo>
                    <a:pt x="1466" y="22"/>
                    <a:pt x="1466" y="22"/>
                    <a:pt x="1465" y="21"/>
                  </a:cubicBezTo>
                  <a:close/>
                  <a:moveTo>
                    <a:pt x="558" y="45"/>
                  </a:moveTo>
                  <a:cubicBezTo>
                    <a:pt x="558" y="45"/>
                    <a:pt x="558" y="45"/>
                    <a:pt x="558" y="45"/>
                  </a:cubicBezTo>
                  <a:cubicBezTo>
                    <a:pt x="558" y="45"/>
                    <a:pt x="558" y="45"/>
                    <a:pt x="558" y="45"/>
                  </a:cubicBezTo>
                  <a:close/>
                  <a:moveTo>
                    <a:pt x="1568" y="22"/>
                  </a:moveTo>
                  <a:cubicBezTo>
                    <a:pt x="1568" y="22"/>
                    <a:pt x="1568" y="22"/>
                    <a:pt x="1567" y="21"/>
                  </a:cubicBezTo>
                  <a:cubicBezTo>
                    <a:pt x="1567" y="22"/>
                    <a:pt x="1568" y="22"/>
                    <a:pt x="1568" y="22"/>
                  </a:cubicBezTo>
                  <a:close/>
                  <a:moveTo>
                    <a:pt x="1736" y="22"/>
                  </a:moveTo>
                  <a:cubicBezTo>
                    <a:pt x="1736" y="22"/>
                    <a:pt x="1736" y="22"/>
                    <a:pt x="1736" y="21"/>
                  </a:cubicBezTo>
                  <a:cubicBezTo>
                    <a:pt x="1736" y="22"/>
                    <a:pt x="1736" y="22"/>
                    <a:pt x="1736" y="22"/>
                  </a:cubicBezTo>
                  <a:close/>
                  <a:moveTo>
                    <a:pt x="538" y="23"/>
                  </a:moveTo>
                  <a:cubicBezTo>
                    <a:pt x="538" y="22"/>
                    <a:pt x="538" y="22"/>
                    <a:pt x="538" y="22"/>
                  </a:cubicBezTo>
                  <a:cubicBezTo>
                    <a:pt x="538" y="22"/>
                    <a:pt x="538" y="22"/>
                    <a:pt x="538" y="23"/>
                  </a:cubicBezTo>
                  <a:close/>
                  <a:moveTo>
                    <a:pt x="694" y="45"/>
                  </a:moveTo>
                  <a:cubicBezTo>
                    <a:pt x="694" y="45"/>
                    <a:pt x="693" y="45"/>
                    <a:pt x="693" y="45"/>
                  </a:cubicBezTo>
                  <a:cubicBezTo>
                    <a:pt x="693" y="45"/>
                    <a:pt x="693" y="45"/>
                    <a:pt x="694" y="45"/>
                  </a:cubicBezTo>
                  <a:close/>
                  <a:moveTo>
                    <a:pt x="1352" y="22"/>
                  </a:moveTo>
                  <a:cubicBezTo>
                    <a:pt x="1352" y="22"/>
                    <a:pt x="1351" y="22"/>
                    <a:pt x="1351" y="22"/>
                  </a:cubicBezTo>
                  <a:cubicBezTo>
                    <a:pt x="1352" y="22"/>
                    <a:pt x="1352" y="22"/>
                    <a:pt x="1352" y="22"/>
                  </a:cubicBezTo>
                  <a:close/>
                  <a:moveTo>
                    <a:pt x="1415" y="23"/>
                  </a:moveTo>
                  <a:cubicBezTo>
                    <a:pt x="1416" y="22"/>
                    <a:pt x="1416" y="22"/>
                    <a:pt x="1416" y="22"/>
                  </a:cubicBezTo>
                  <a:cubicBezTo>
                    <a:pt x="1415" y="22"/>
                    <a:pt x="1415" y="22"/>
                    <a:pt x="1415" y="23"/>
                  </a:cubicBezTo>
                  <a:close/>
                  <a:moveTo>
                    <a:pt x="1033" y="51"/>
                  </a:moveTo>
                  <a:cubicBezTo>
                    <a:pt x="1033" y="51"/>
                    <a:pt x="1033" y="50"/>
                    <a:pt x="1033" y="50"/>
                  </a:cubicBezTo>
                  <a:cubicBezTo>
                    <a:pt x="1033" y="50"/>
                    <a:pt x="1033" y="50"/>
                    <a:pt x="1033" y="51"/>
                  </a:cubicBezTo>
                  <a:close/>
                  <a:moveTo>
                    <a:pt x="1682" y="22"/>
                  </a:moveTo>
                  <a:cubicBezTo>
                    <a:pt x="1682" y="22"/>
                    <a:pt x="1682" y="22"/>
                    <a:pt x="1683" y="23"/>
                  </a:cubicBezTo>
                  <a:cubicBezTo>
                    <a:pt x="1683" y="22"/>
                    <a:pt x="1683" y="22"/>
                    <a:pt x="1682" y="22"/>
                  </a:cubicBezTo>
                  <a:close/>
                  <a:moveTo>
                    <a:pt x="869" y="46"/>
                  </a:moveTo>
                  <a:cubicBezTo>
                    <a:pt x="869" y="45"/>
                    <a:pt x="869" y="45"/>
                    <a:pt x="869" y="45"/>
                  </a:cubicBezTo>
                  <a:cubicBezTo>
                    <a:pt x="869" y="45"/>
                    <a:pt x="868" y="45"/>
                    <a:pt x="869" y="46"/>
                  </a:cubicBezTo>
                  <a:close/>
                  <a:moveTo>
                    <a:pt x="1086" y="50"/>
                  </a:moveTo>
                  <a:cubicBezTo>
                    <a:pt x="1086" y="50"/>
                    <a:pt x="1086" y="51"/>
                    <a:pt x="1086" y="51"/>
                  </a:cubicBezTo>
                  <a:cubicBezTo>
                    <a:pt x="1086" y="51"/>
                    <a:pt x="1086" y="50"/>
                    <a:pt x="1086" y="50"/>
                  </a:cubicBezTo>
                  <a:close/>
                  <a:moveTo>
                    <a:pt x="1114" y="50"/>
                  </a:moveTo>
                  <a:cubicBezTo>
                    <a:pt x="1114" y="50"/>
                    <a:pt x="1113" y="50"/>
                    <a:pt x="1113" y="51"/>
                  </a:cubicBezTo>
                  <a:cubicBezTo>
                    <a:pt x="1114" y="51"/>
                    <a:pt x="1114" y="50"/>
                    <a:pt x="1114" y="50"/>
                  </a:cubicBezTo>
                  <a:close/>
                  <a:moveTo>
                    <a:pt x="1142" y="51"/>
                  </a:moveTo>
                  <a:cubicBezTo>
                    <a:pt x="1142" y="50"/>
                    <a:pt x="1142" y="50"/>
                    <a:pt x="1142" y="50"/>
                  </a:cubicBezTo>
                  <a:cubicBezTo>
                    <a:pt x="1142" y="50"/>
                    <a:pt x="1142" y="51"/>
                    <a:pt x="1142" y="51"/>
                  </a:cubicBezTo>
                  <a:close/>
                  <a:moveTo>
                    <a:pt x="1384" y="23"/>
                  </a:moveTo>
                  <a:cubicBezTo>
                    <a:pt x="1384" y="23"/>
                    <a:pt x="1384" y="22"/>
                    <a:pt x="1384" y="22"/>
                  </a:cubicBezTo>
                  <a:cubicBezTo>
                    <a:pt x="1384" y="22"/>
                    <a:pt x="1384" y="23"/>
                    <a:pt x="1384" y="23"/>
                  </a:cubicBezTo>
                  <a:close/>
                  <a:moveTo>
                    <a:pt x="1211" y="51"/>
                  </a:moveTo>
                  <a:cubicBezTo>
                    <a:pt x="1211" y="51"/>
                    <a:pt x="1211" y="50"/>
                    <a:pt x="1211" y="50"/>
                  </a:cubicBezTo>
                  <a:cubicBezTo>
                    <a:pt x="1211" y="50"/>
                    <a:pt x="1211" y="50"/>
                    <a:pt x="1211" y="51"/>
                  </a:cubicBezTo>
                  <a:close/>
                  <a:moveTo>
                    <a:pt x="1536" y="22"/>
                  </a:moveTo>
                  <a:cubicBezTo>
                    <a:pt x="1535" y="22"/>
                    <a:pt x="1535" y="22"/>
                    <a:pt x="1535" y="23"/>
                  </a:cubicBezTo>
                  <a:cubicBezTo>
                    <a:pt x="1535" y="22"/>
                    <a:pt x="1536" y="22"/>
                    <a:pt x="1536" y="22"/>
                  </a:cubicBezTo>
                  <a:close/>
                  <a:moveTo>
                    <a:pt x="1704" y="22"/>
                  </a:moveTo>
                  <a:cubicBezTo>
                    <a:pt x="1704" y="22"/>
                    <a:pt x="1703" y="22"/>
                    <a:pt x="1703" y="23"/>
                  </a:cubicBezTo>
                  <a:cubicBezTo>
                    <a:pt x="1704" y="22"/>
                    <a:pt x="1704" y="22"/>
                    <a:pt x="1704" y="22"/>
                  </a:cubicBezTo>
                  <a:close/>
                  <a:moveTo>
                    <a:pt x="872" y="55"/>
                  </a:moveTo>
                  <a:cubicBezTo>
                    <a:pt x="871" y="55"/>
                    <a:pt x="871" y="56"/>
                    <a:pt x="871" y="56"/>
                  </a:cubicBezTo>
                  <a:cubicBezTo>
                    <a:pt x="872" y="56"/>
                    <a:pt x="872" y="55"/>
                    <a:pt x="872" y="55"/>
                  </a:cubicBezTo>
                  <a:close/>
                  <a:moveTo>
                    <a:pt x="572" y="53"/>
                  </a:moveTo>
                  <a:cubicBezTo>
                    <a:pt x="572" y="53"/>
                    <a:pt x="572" y="53"/>
                    <a:pt x="572" y="54"/>
                  </a:cubicBezTo>
                  <a:cubicBezTo>
                    <a:pt x="572" y="53"/>
                    <a:pt x="572" y="53"/>
                    <a:pt x="572" y="53"/>
                  </a:cubicBezTo>
                  <a:close/>
                  <a:moveTo>
                    <a:pt x="977" y="22"/>
                  </a:moveTo>
                  <a:cubicBezTo>
                    <a:pt x="977" y="22"/>
                    <a:pt x="977" y="23"/>
                    <a:pt x="977" y="23"/>
                  </a:cubicBezTo>
                  <a:cubicBezTo>
                    <a:pt x="977" y="23"/>
                    <a:pt x="977" y="23"/>
                    <a:pt x="977" y="22"/>
                  </a:cubicBezTo>
                  <a:close/>
                  <a:moveTo>
                    <a:pt x="1261" y="45"/>
                  </a:moveTo>
                  <a:cubicBezTo>
                    <a:pt x="1261" y="45"/>
                    <a:pt x="1261" y="45"/>
                    <a:pt x="1261" y="45"/>
                  </a:cubicBezTo>
                  <a:cubicBezTo>
                    <a:pt x="1261" y="45"/>
                    <a:pt x="1261" y="45"/>
                    <a:pt x="1261" y="45"/>
                  </a:cubicBezTo>
                  <a:close/>
                  <a:moveTo>
                    <a:pt x="1415" y="23"/>
                  </a:moveTo>
                  <a:cubicBezTo>
                    <a:pt x="1415" y="23"/>
                    <a:pt x="1415" y="23"/>
                    <a:pt x="1415" y="23"/>
                  </a:cubicBezTo>
                  <a:cubicBezTo>
                    <a:pt x="1415" y="23"/>
                    <a:pt x="1415" y="23"/>
                    <a:pt x="1415" y="23"/>
                  </a:cubicBezTo>
                  <a:close/>
                  <a:moveTo>
                    <a:pt x="1497" y="22"/>
                  </a:moveTo>
                  <a:cubicBezTo>
                    <a:pt x="1496" y="22"/>
                    <a:pt x="1496" y="23"/>
                    <a:pt x="1496" y="23"/>
                  </a:cubicBezTo>
                  <a:cubicBezTo>
                    <a:pt x="1496" y="23"/>
                    <a:pt x="1497" y="23"/>
                    <a:pt x="1497" y="22"/>
                  </a:cubicBezTo>
                  <a:close/>
                  <a:moveTo>
                    <a:pt x="1289" y="45"/>
                  </a:moveTo>
                  <a:cubicBezTo>
                    <a:pt x="1289" y="45"/>
                    <a:pt x="1289" y="45"/>
                    <a:pt x="1289" y="45"/>
                  </a:cubicBezTo>
                  <a:cubicBezTo>
                    <a:pt x="1289" y="45"/>
                    <a:pt x="1289" y="45"/>
                    <a:pt x="1289" y="45"/>
                  </a:cubicBezTo>
                  <a:close/>
                  <a:moveTo>
                    <a:pt x="1568" y="23"/>
                  </a:moveTo>
                  <a:cubicBezTo>
                    <a:pt x="1568" y="23"/>
                    <a:pt x="1568" y="23"/>
                    <a:pt x="1568" y="23"/>
                  </a:cubicBezTo>
                  <a:cubicBezTo>
                    <a:pt x="1568" y="23"/>
                    <a:pt x="1568" y="23"/>
                    <a:pt x="1568" y="23"/>
                  </a:cubicBezTo>
                  <a:close/>
                  <a:moveTo>
                    <a:pt x="1683" y="23"/>
                  </a:moveTo>
                  <a:cubicBezTo>
                    <a:pt x="1683" y="23"/>
                    <a:pt x="1683" y="23"/>
                    <a:pt x="1683" y="23"/>
                  </a:cubicBezTo>
                  <a:cubicBezTo>
                    <a:pt x="1683" y="23"/>
                    <a:pt x="1683" y="23"/>
                    <a:pt x="1683" y="23"/>
                  </a:cubicBezTo>
                  <a:close/>
                  <a:moveTo>
                    <a:pt x="1298" y="45"/>
                  </a:moveTo>
                  <a:cubicBezTo>
                    <a:pt x="1297" y="45"/>
                    <a:pt x="1297" y="45"/>
                    <a:pt x="1297" y="45"/>
                  </a:cubicBezTo>
                  <a:cubicBezTo>
                    <a:pt x="1297" y="45"/>
                    <a:pt x="1298" y="45"/>
                    <a:pt x="1298" y="45"/>
                  </a:cubicBezTo>
                  <a:close/>
                  <a:moveTo>
                    <a:pt x="1737" y="23"/>
                  </a:moveTo>
                  <a:cubicBezTo>
                    <a:pt x="1737" y="23"/>
                    <a:pt x="1737" y="23"/>
                    <a:pt x="1736" y="23"/>
                  </a:cubicBezTo>
                  <a:cubicBezTo>
                    <a:pt x="1736" y="23"/>
                    <a:pt x="1736" y="23"/>
                    <a:pt x="1737" y="23"/>
                  </a:cubicBezTo>
                  <a:close/>
                  <a:moveTo>
                    <a:pt x="538" y="24"/>
                  </a:moveTo>
                  <a:cubicBezTo>
                    <a:pt x="538" y="23"/>
                    <a:pt x="538" y="23"/>
                    <a:pt x="538" y="23"/>
                  </a:cubicBezTo>
                  <a:cubicBezTo>
                    <a:pt x="538" y="23"/>
                    <a:pt x="538" y="23"/>
                    <a:pt x="538" y="24"/>
                  </a:cubicBezTo>
                  <a:close/>
                  <a:moveTo>
                    <a:pt x="551" y="23"/>
                  </a:moveTo>
                  <a:cubicBezTo>
                    <a:pt x="550" y="23"/>
                    <a:pt x="550" y="23"/>
                    <a:pt x="550" y="24"/>
                  </a:cubicBezTo>
                  <a:cubicBezTo>
                    <a:pt x="551" y="23"/>
                    <a:pt x="551" y="23"/>
                    <a:pt x="551" y="23"/>
                  </a:cubicBezTo>
                  <a:close/>
                  <a:moveTo>
                    <a:pt x="600" y="54"/>
                  </a:moveTo>
                  <a:cubicBezTo>
                    <a:pt x="600" y="53"/>
                    <a:pt x="600" y="53"/>
                    <a:pt x="599" y="53"/>
                  </a:cubicBezTo>
                  <a:cubicBezTo>
                    <a:pt x="599" y="53"/>
                    <a:pt x="599" y="54"/>
                    <a:pt x="600" y="54"/>
                  </a:cubicBezTo>
                  <a:close/>
                  <a:moveTo>
                    <a:pt x="648" y="53"/>
                  </a:moveTo>
                  <a:cubicBezTo>
                    <a:pt x="648" y="53"/>
                    <a:pt x="648" y="53"/>
                    <a:pt x="648" y="54"/>
                  </a:cubicBezTo>
                  <a:cubicBezTo>
                    <a:pt x="648" y="54"/>
                    <a:pt x="648" y="53"/>
                    <a:pt x="648" y="53"/>
                  </a:cubicBezTo>
                  <a:close/>
                  <a:moveTo>
                    <a:pt x="1384" y="24"/>
                  </a:moveTo>
                  <a:cubicBezTo>
                    <a:pt x="1384" y="23"/>
                    <a:pt x="1384" y="23"/>
                    <a:pt x="1384" y="23"/>
                  </a:cubicBezTo>
                  <a:cubicBezTo>
                    <a:pt x="1384" y="23"/>
                    <a:pt x="1384" y="23"/>
                    <a:pt x="1384" y="24"/>
                  </a:cubicBezTo>
                  <a:close/>
                  <a:moveTo>
                    <a:pt x="1579" y="45"/>
                  </a:moveTo>
                  <a:cubicBezTo>
                    <a:pt x="1579" y="45"/>
                    <a:pt x="1579" y="45"/>
                    <a:pt x="1579" y="45"/>
                  </a:cubicBezTo>
                  <a:cubicBezTo>
                    <a:pt x="1579" y="45"/>
                    <a:pt x="1579" y="45"/>
                    <a:pt x="1579" y="45"/>
                  </a:cubicBezTo>
                  <a:close/>
                  <a:moveTo>
                    <a:pt x="1682" y="45"/>
                  </a:moveTo>
                  <a:cubicBezTo>
                    <a:pt x="1681" y="45"/>
                    <a:pt x="1681" y="45"/>
                    <a:pt x="1681" y="45"/>
                  </a:cubicBezTo>
                  <a:cubicBezTo>
                    <a:pt x="1682" y="45"/>
                    <a:pt x="1682" y="45"/>
                    <a:pt x="1682" y="45"/>
                  </a:cubicBezTo>
                  <a:close/>
                  <a:moveTo>
                    <a:pt x="1747" y="45"/>
                  </a:moveTo>
                  <a:cubicBezTo>
                    <a:pt x="1747" y="45"/>
                    <a:pt x="1747" y="45"/>
                    <a:pt x="1747" y="45"/>
                  </a:cubicBezTo>
                  <a:cubicBezTo>
                    <a:pt x="1747" y="45"/>
                    <a:pt x="1747" y="45"/>
                    <a:pt x="1747" y="45"/>
                  </a:cubicBezTo>
                  <a:close/>
                  <a:moveTo>
                    <a:pt x="1466" y="23"/>
                  </a:moveTo>
                  <a:cubicBezTo>
                    <a:pt x="1466" y="23"/>
                    <a:pt x="1466" y="24"/>
                    <a:pt x="1466" y="24"/>
                  </a:cubicBezTo>
                  <a:cubicBezTo>
                    <a:pt x="1466" y="24"/>
                    <a:pt x="1466" y="23"/>
                    <a:pt x="1466" y="23"/>
                  </a:cubicBezTo>
                  <a:close/>
                  <a:moveTo>
                    <a:pt x="1496" y="23"/>
                  </a:moveTo>
                  <a:cubicBezTo>
                    <a:pt x="1495" y="23"/>
                    <a:pt x="1495" y="23"/>
                    <a:pt x="1495" y="24"/>
                  </a:cubicBezTo>
                  <a:cubicBezTo>
                    <a:pt x="1495" y="24"/>
                    <a:pt x="1496" y="23"/>
                    <a:pt x="1496" y="23"/>
                  </a:cubicBezTo>
                  <a:close/>
                  <a:moveTo>
                    <a:pt x="597" y="46"/>
                  </a:moveTo>
                  <a:cubicBezTo>
                    <a:pt x="597" y="45"/>
                    <a:pt x="597" y="45"/>
                    <a:pt x="596" y="45"/>
                  </a:cubicBezTo>
                  <a:cubicBezTo>
                    <a:pt x="596" y="45"/>
                    <a:pt x="596" y="46"/>
                    <a:pt x="597" y="46"/>
                  </a:cubicBezTo>
                  <a:close/>
                  <a:moveTo>
                    <a:pt x="1569" y="24"/>
                  </a:moveTo>
                  <a:cubicBezTo>
                    <a:pt x="1569" y="24"/>
                    <a:pt x="1569" y="23"/>
                    <a:pt x="1568" y="23"/>
                  </a:cubicBezTo>
                  <a:cubicBezTo>
                    <a:pt x="1568" y="23"/>
                    <a:pt x="1569" y="24"/>
                    <a:pt x="1569" y="24"/>
                  </a:cubicBezTo>
                  <a:close/>
                  <a:moveTo>
                    <a:pt x="640" y="46"/>
                  </a:moveTo>
                  <a:cubicBezTo>
                    <a:pt x="640" y="46"/>
                    <a:pt x="640" y="45"/>
                    <a:pt x="640" y="45"/>
                  </a:cubicBezTo>
                  <a:cubicBezTo>
                    <a:pt x="640" y="45"/>
                    <a:pt x="640" y="46"/>
                    <a:pt x="640" y="46"/>
                  </a:cubicBezTo>
                  <a:close/>
                  <a:moveTo>
                    <a:pt x="1737" y="24"/>
                  </a:moveTo>
                  <a:cubicBezTo>
                    <a:pt x="1737" y="24"/>
                    <a:pt x="1737" y="23"/>
                    <a:pt x="1737" y="23"/>
                  </a:cubicBezTo>
                  <a:cubicBezTo>
                    <a:pt x="1737" y="23"/>
                    <a:pt x="1737" y="24"/>
                    <a:pt x="1737" y="24"/>
                  </a:cubicBezTo>
                  <a:close/>
                  <a:moveTo>
                    <a:pt x="550" y="23"/>
                  </a:moveTo>
                  <a:cubicBezTo>
                    <a:pt x="550" y="24"/>
                    <a:pt x="550" y="24"/>
                    <a:pt x="550" y="24"/>
                  </a:cubicBezTo>
                  <a:cubicBezTo>
                    <a:pt x="550" y="24"/>
                    <a:pt x="550" y="24"/>
                    <a:pt x="550" y="23"/>
                  </a:cubicBezTo>
                  <a:close/>
                  <a:moveTo>
                    <a:pt x="652" y="45"/>
                  </a:moveTo>
                  <a:cubicBezTo>
                    <a:pt x="651" y="45"/>
                    <a:pt x="651" y="46"/>
                    <a:pt x="651" y="46"/>
                  </a:cubicBezTo>
                  <a:cubicBezTo>
                    <a:pt x="652" y="46"/>
                    <a:pt x="652" y="45"/>
                    <a:pt x="652" y="45"/>
                  </a:cubicBezTo>
                  <a:close/>
                  <a:moveTo>
                    <a:pt x="1385" y="24"/>
                  </a:moveTo>
                  <a:cubicBezTo>
                    <a:pt x="1385" y="24"/>
                    <a:pt x="1385" y="24"/>
                    <a:pt x="1384" y="23"/>
                  </a:cubicBezTo>
                  <a:cubicBezTo>
                    <a:pt x="1384" y="24"/>
                    <a:pt x="1384" y="24"/>
                    <a:pt x="1385" y="24"/>
                  </a:cubicBezTo>
                  <a:close/>
                  <a:moveTo>
                    <a:pt x="1415" y="24"/>
                  </a:moveTo>
                  <a:cubicBezTo>
                    <a:pt x="1415" y="24"/>
                    <a:pt x="1415" y="24"/>
                    <a:pt x="1415" y="24"/>
                  </a:cubicBezTo>
                  <a:cubicBezTo>
                    <a:pt x="1415" y="24"/>
                    <a:pt x="1415" y="24"/>
                    <a:pt x="1415" y="24"/>
                  </a:cubicBezTo>
                  <a:close/>
                  <a:moveTo>
                    <a:pt x="694" y="45"/>
                  </a:moveTo>
                  <a:cubicBezTo>
                    <a:pt x="694" y="45"/>
                    <a:pt x="694" y="45"/>
                    <a:pt x="694" y="45"/>
                  </a:cubicBezTo>
                  <a:cubicBezTo>
                    <a:pt x="694" y="45"/>
                    <a:pt x="694" y="45"/>
                    <a:pt x="694" y="45"/>
                  </a:cubicBezTo>
                  <a:close/>
                  <a:moveTo>
                    <a:pt x="567" y="50"/>
                  </a:moveTo>
                  <a:cubicBezTo>
                    <a:pt x="567" y="51"/>
                    <a:pt x="567" y="51"/>
                    <a:pt x="568" y="51"/>
                  </a:cubicBezTo>
                  <a:cubicBezTo>
                    <a:pt x="568" y="50"/>
                    <a:pt x="567" y="50"/>
                    <a:pt x="567" y="50"/>
                  </a:cubicBezTo>
                  <a:close/>
                  <a:moveTo>
                    <a:pt x="599" y="51"/>
                  </a:moveTo>
                  <a:cubicBezTo>
                    <a:pt x="599" y="51"/>
                    <a:pt x="599" y="50"/>
                    <a:pt x="598" y="50"/>
                  </a:cubicBezTo>
                  <a:cubicBezTo>
                    <a:pt x="598" y="51"/>
                    <a:pt x="598" y="51"/>
                    <a:pt x="599" y="51"/>
                  </a:cubicBezTo>
                  <a:close/>
                  <a:moveTo>
                    <a:pt x="1495" y="24"/>
                  </a:moveTo>
                  <a:cubicBezTo>
                    <a:pt x="1494" y="24"/>
                    <a:pt x="1494" y="24"/>
                    <a:pt x="1494" y="24"/>
                  </a:cubicBezTo>
                  <a:cubicBezTo>
                    <a:pt x="1494" y="24"/>
                    <a:pt x="1495" y="24"/>
                    <a:pt x="1495" y="24"/>
                  </a:cubicBezTo>
                  <a:close/>
                  <a:moveTo>
                    <a:pt x="649" y="50"/>
                  </a:moveTo>
                  <a:cubicBezTo>
                    <a:pt x="649" y="50"/>
                    <a:pt x="649" y="51"/>
                    <a:pt x="649" y="51"/>
                  </a:cubicBezTo>
                  <a:cubicBezTo>
                    <a:pt x="649" y="51"/>
                    <a:pt x="650" y="51"/>
                    <a:pt x="649" y="50"/>
                  </a:cubicBezTo>
                  <a:close/>
                  <a:moveTo>
                    <a:pt x="1569" y="25"/>
                  </a:moveTo>
                  <a:cubicBezTo>
                    <a:pt x="1569" y="24"/>
                    <a:pt x="1569" y="24"/>
                    <a:pt x="1569" y="24"/>
                  </a:cubicBezTo>
                  <a:cubicBezTo>
                    <a:pt x="1569" y="24"/>
                    <a:pt x="1569" y="24"/>
                    <a:pt x="1569" y="25"/>
                  </a:cubicBezTo>
                  <a:close/>
                  <a:moveTo>
                    <a:pt x="750" y="51"/>
                  </a:moveTo>
                  <a:cubicBezTo>
                    <a:pt x="751" y="51"/>
                    <a:pt x="751" y="51"/>
                    <a:pt x="751" y="50"/>
                  </a:cubicBezTo>
                  <a:cubicBezTo>
                    <a:pt x="751" y="51"/>
                    <a:pt x="750" y="51"/>
                    <a:pt x="750" y="51"/>
                  </a:cubicBezTo>
                  <a:close/>
                  <a:moveTo>
                    <a:pt x="1737" y="25"/>
                  </a:moveTo>
                  <a:cubicBezTo>
                    <a:pt x="1737" y="24"/>
                    <a:pt x="1737" y="24"/>
                    <a:pt x="1737" y="24"/>
                  </a:cubicBezTo>
                  <a:cubicBezTo>
                    <a:pt x="1737" y="24"/>
                    <a:pt x="1737" y="24"/>
                    <a:pt x="1737" y="25"/>
                  </a:cubicBezTo>
                  <a:close/>
                  <a:moveTo>
                    <a:pt x="550" y="24"/>
                  </a:moveTo>
                  <a:cubicBezTo>
                    <a:pt x="550" y="24"/>
                    <a:pt x="550" y="25"/>
                    <a:pt x="550" y="25"/>
                  </a:cubicBezTo>
                  <a:cubicBezTo>
                    <a:pt x="550" y="25"/>
                    <a:pt x="550" y="24"/>
                    <a:pt x="550" y="24"/>
                  </a:cubicBezTo>
                  <a:close/>
                  <a:moveTo>
                    <a:pt x="960" y="25"/>
                  </a:moveTo>
                  <a:cubicBezTo>
                    <a:pt x="960" y="25"/>
                    <a:pt x="960" y="25"/>
                    <a:pt x="960" y="24"/>
                  </a:cubicBezTo>
                  <a:cubicBezTo>
                    <a:pt x="960" y="24"/>
                    <a:pt x="960" y="25"/>
                    <a:pt x="960" y="25"/>
                  </a:cubicBezTo>
                  <a:close/>
                  <a:moveTo>
                    <a:pt x="910" y="45"/>
                  </a:moveTo>
                  <a:cubicBezTo>
                    <a:pt x="910" y="45"/>
                    <a:pt x="910" y="46"/>
                    <a:pt x="911" y="46"/>
                  </a:cubicBezTo>
                  <a:cubicBezTo>
                    <a:pt x="911" y="46"/>
                    <a:pt x="911" y="45"/>
                    <a:pt x="910" y="45"/>
                  </a:cubicBezTo>
                  <a:close/>
                  <a:moveTo>
                    <a:pt x="1385" y="25"/>
                  </a:moveTo>
                  <a:cubicBezTo>
                    <a:pt x="1385" y="25"/>
                    <a:pt x="1385" y="24"/>
                    <a:pt x="1385" y="24"/>
                  </a:cubicBezTo>
                  <a:cubicBezTo>
                    <a:pt x="1385" y="24"/>
                    <a:pt x="1385" y="25"/>
                    <a:pt x="1385" y="25"/>
                  </a:cubicBezTo>
                  <a:close/>
                  <a:moveTo>
                    <a:pt x="1414" y="25"/>
                  </a:moveTo>
                  <a:cubicBezTo>
                    <a:pt x="1415" y="25"/>
                    <a:pt x="1415" y="25"/>
                    <a:pt x="1415" y="24"/>
                  </a:cubicBezTo>
                  <a:cubicBezTo>
                    <a:pt x="1414" y="24"/>
                    <a:pt x="1414" y="25"/>
                    <a:pt x="1414" y="25"/>
                  </a:cubicBezTo>
                  <a:close/>
                  <a:moveTo>
                    <a:pt x="1036" y="46"/>
                  </a:moveTo>
                  <a:cubicBezTo>
                    <a:pt x="1036" y="46"/>
                    <a:pt x="1036" y="45"/>
                    <a:pt x="1036" y="45"/>
                  </a:cubicBezTo>
                  <a:cubicBezTo>
                    <a:pt x="1036" y="45"/>
                    <a:pt x="1036" y="46"/>
                    <a:pt x="1036" y="46"/>
                  </a:cubicBezTo>
                  <a:close/>
                  <a:moveTo>
                    <a:pt x="1083" y="45"/>
                  </a:moveTo>
                  <a:cubicBezTo>
                    <a:pt x="1084" y="45"/>
                    <a:pt x="1084" y="46"/>
                    <a:pt x="1084" y="46"/>
                  </a:cubicBezTo>
                  <a:cubicBezTo>
                    <a:pt x="1084" y="46"/>
                    <a:pt x="1084" y="45"/>
                    <a:pt x="1083" y="45"/>
                  </a:cubicBezTo>
                  <a:close/>
                  <a:moveTo>
                    <a:pt x="1494" y="24"/>
                  </a:moveTo>
                  <a:cubicBezTo>
                    <a:pt x="1493" y="25"/>
                    <a:pt x="1493" y="25"/>
                    <a:pt x="1493" y="25"/>
                  </a:cubicBezTo>
                  <a:cubicBezTo>
                    <a:pt x="1493" y="25"/>
                    <a:pt x="1493" y="25"/>
                    <a:pt x="1494" y="24"/>
                  </a:cubicBezTo>
                  <a:close/>
                  <a:moveTo>
                    <a:pt x="1152" y="45"/>
                  </a:moveTo>
                  <a:cubicBezTo>
                    <a:pt x="1152" y="45"/>
                    <a:pt x="1153" y="46"/>
                    <a:pt x="1153" y="46"/>
                  </a:cubicBezTo>
                  <a:cubicBezTo>
                    <a:pt x="1153" y="46"/>
                    <a:pt x="1153" y="45"/>
                    <a:pt x="1152" y="45"/>
                  </a:cubicBezTo>
                  <a:close/>
                  <a:moveTo>
                    <a:pt x="550" y="25"/>
                  </a:moveTo>
                  <a:cubicBezTo>
                    <a:pt x="549" y="25"/>
                    <a:pt x="549" y="25"/>
                    <a:pt x="549" y="26"/>
                  </a:cubicBezTo>
                  <a:cubicBezTo>
                    <a:pt x="550" y="25"/>
                    <a:pt x="550" y="25"/>
                    <a:pt x="550" y="25"/>
                  </a:cubicBezTo>
                  <a:close/>
                  <a:moveTo>
                    <a:pt x="874" y="50"/>
                  </a:moveTo>
                  <a:cubicBezTo>
                    <a:pt x="873" y="50"/>
                    <a:pt x="873" y="51"/>
                    <a:pt x="873" y="51"/>
                  </a:cubicBezTo>
                  <a:cubicBezTo>
                    <a:pt x="874" y="51"/>
                    <a:pt x="874" y="51"/>
                    <a:pt x="874" y="50"/>
                  </a:cubicBezTo>
                  <a:close/>
                  <a:moveTo>
                    <a:pt x="1493" y="25"/>
                  </a:moveTo>
                  <a:cubicBezTo>
                    <a:pt x="1493" y="25"/>
                    <a:pt x="1492" y="25"/>
                    <a:pt x="1492" y="25"/>
                  </a:cubicBezTo>
                  <a:cubicBezTo>
                    <a:pt x="1493" y="25"/>
                    <a:pt x="1493" y="25"/>
                    <a:pt x="1493" y="25"/>
                  </a:cubicBezTo>
                  <a:close/>
                  <a:moveTo>
                    <a:pt x="1312" y="45"/>
                  </a:moveTo>
                  <a:cubicBezTo>
                    <a:pt x="1312" y="45"/>
                    <a:pt x="1312" y="45"/>
                    <a:pt x="1312" y="45"/>
                  </a:cubicBezTo>
                  <a:cubicBezTo>
                    <a:pt x="1312" y="46"/>
                    <a:pt x="1312" y="45"/>
                    <a:pt x="1312" y="45"/>
                  </a:cubicBezTo>
                  <a:close/>
                  <a:moveTo>
                    <a:pt x="1570" y="26"/>
                  </a:moveTo>
                  <a:cubicBezTo>
                    <a:pt x="1570" y="25"/>
                    <a:pt x="1570" y="25"/>
                    <a:pt x="1569" y="25"/>
                  </a:cubicBezTo>
                  <a:cubicBezTo>
                    <a:pt x="1569" y="25"/>
                    <a:pt x="1569" y="25"/>
                    <a:pt x="1570" y="26"/>
                  </a:cubicBezTo>
                  <a:close/>
                  <a:moveTo>
                    <a:pt x="1383" y="46"/>
                  </a:moveTo>
                  <a:cubicBezTo>
                    <a:pt x="1383" y="46"/>
                    <a:pt x="1383" y="45"/>
                    <a:pt x="1383" y="45"/>
                  </a:cubicBezTo>
                  <a:cubicBezTo>
                    <a:pt x="1383" y="45"/>
                    <a:pt x="1383" y="46"/>
                    <a:pt x="1383" y="46"/>
                  </a:cubicBezTo>
                  <a:close/>
                  <a:moveTo>
                    <a:pt x="1738" y="26"/>
                  </a:moveTo>
                  <a:cubicBezTo>
                    <a:pt x="1738" y="25"/>
                    <a:pt x="1738" y="25"/>
                    <a:pt x="1737" y="25"/>
                  </a:cubicBezTo>
                  <a:cubicBezTo>
                    <a:pt x="1737" y="25"/>
                    <a:pt x="1737" y="25"/>
                    <a:pt x="1738" y="26"/>
                  </a:cubicBezTo>
                  <a:close/>
                  <a:moveTo>
                    <a:pt x="959" y="26"/>
                  </a:moveTo>
                  <a:cubicBezTo>
                    <a:pt x="960" y="26"/>
                    <a:pt x="960" y="26"/>
                    <a:pt x="960" y="25"/>
                  </a:cubicBezTo>
                  <a:cubicBezTo>
                    <a:pt x="959" y="25"/>
                    <a:pt x="959" y="26"/>
                    <a:pt x="959" y="26"/>
                  </a:cubicBezTo>
                  <a:close/>
                  <a:moveTo>
                    <a:pt x="1395" y="45"/>
                  </a:moveTo>
                  <a:cubicBezTo>
                    <a:pt x="1395" y="45"/>
                    <a:pt x="1394" y="46"/>
                    <a:pt x="1394" y="46"/>
                  </a:cubicBezTo>
                  <a:cubicBezTo>
                    <a:pt x="1395" y="46"/>
                    <a:pt x="1395" y="45"/>
                    <a:pt x="1395" y="45"/>
                  </a:cubicBezTo>
                  <a:close/>
                  <a:moveTo>
                    <a:pt x="1492" y="25"/>
                  </a:moveTo>
                  <a:cubicBezTo>
                    <a:pt x="1492" y="25"/>
                    <a:pt x="1492" y="25"/>
                    <a:pt x="1492" y="26"/>
                  </a:cubicBezTo>
                  <a:cubicBezTo>
                    <a:pt x="1492" y="26"/>
                    <a:pt x="1492" y="26"/>
                    <a:pt x="1492" y="25"/>
                  </a:cubicBezTo>
                  <a:close/>
                  <a:moveTo>
                    <a:pt x="559" y="45"/>
                  </a:moveTo>
                  <a:cubicBezTo>
                    <a:pt x="559" y="46"/>
                    <a:pt x="559" y="46"/>
                    <a:pt x="559" y="46"/>
                  </a:cubicBezTo>
                  <a:cubicBezTo>
                    <a:pt x="559" y="46"/>
                    <a:pt x="559" y="45"/>
                    <a:pt x="559" y="45"/>
                  </a:cubicBezTo>
                  <a:close/>
                  <a:moveTo>
                    <a:pt x="659" y="46"/>
                  </a:moveTo>
                  <a:cubicBezTo>
                    <a:pt x="660" y="46"/>
                    <a:pt x="660" y="46"/>
                    <a:pt x="660" y="45"/>
                  </a:cubicBezTo>
                  <a:cubicBezTo>
                    <a:pt x="659" y="46"/>
                    <a:pt x="659" y="46"/>
                    <a:pt x="659" y="46"/>
                  </a:cubicBezTo>
                  <a:close/>
                  <a:moveTo>
                    <a:pt x="695" y="46"/>
                  </a:moveTo>
                  <a:cubicBezTo>
                    <a:pt x="695" y="46"/>
                    <a:pt x="695" y="45"/>
                    <a:pt x="694" y="45"/>
                  </a:cubicBezTo>
                  <a:cubicBezTo>
                    <a:pt x="695" y="46"/>
                    <a:pt x="695" y="46"/>
                    <a:pt x="695" y="46"/>
                  </a:cubicBezTo>
                  <a:close/>
                  <a:moveTo>
                    <a:pt x="802" y="46"/>
                  </a:moveTo>
                  <a:cubicBezTo>
                    <a:pt x="802" y="46"/>
                    <a:pt x="802" y="46"/>
                    <a:pt x="802" y="46"/>
                  </a:cubicBezTo>
                  <a:cubicBezTo>
                    <a:pt x="802" y="46"/>
                    <a:pt x="802" y="46"/>
                    <a:pt x="802" y="46"/>
                  </a:cubicBezTo>
                  <a:close/>
                  <a:moveTo>
                    <a:pt x="1292" y="50"/>
                  </a:moveTo>
                  <a:cubicBezTo>
                    <a:pt x="1292" y="50"/>
                    <a:pt x="1292" y="51"/>
                    <a:pt x="1292" y="51"/>
                  </a:cubicBezTo>
                  <a:cubicBezTo>
                    <a:pt x="1292" y="51"/>
                    <a:pt x="1292" y="51"/>
                    <a:pt x="1292" y="50"/>
                  </a:cubicBezTo>
                  <a:close/>
                  <a:moveTo>
                    <a:pt x="1414" y="27"/>
                  </a:moveTo>
                  <a:cubicBezTo>
                    <a:pt x="1414" y="27"/>
                    <a:pt x="1414" y="26"/>
                    <a:pt x="1414" y="26"/>
                  </a:cubicBezTo>
                  <a:cubicBezTo>
                    <a:pt x="1414" y="26"/>
                    <a:pt x="1414" y="26"/>
                    <a:pt x="1414" y="27"/>
                  </a:cubicBezTo>
                  <a:close/>
                  <a:moveTo>
                    <a:pt x="872" y="53"/>
                  </a:moveTo>
                  <a:cubicBezTo>
                    <a:pt x="872" y="53"/>
                    <a:pt x="872" y="54"/>
                    <a:pt x="872" y="54"/>
                  </a:cubicBezTo>
                  <a:cubicBezTo>
                    <a:pt x="872" y="54"/>
                    <a:pt x="872" y="53"/>
                    <a:pt x="872" y="53"/>
                  </a:cubicBezTo>
                  <a:close/>
                  <a:moveTo>
                    <a:pt x="959" y="27"/>
                  </a:moveTo>
                  <a:cubicBezTo>
                    <a:pt x="959" y="27"/>
                    <a:pt x="959" y="27"/>
                    <a:pt x="959" y="26"/>
                  </a:cubicBezTo>
                  <a:cubicBezTo>
                    <a:pt x="959" y="26"/>
                    <a:pt x="959" y="27"/>
                    <a:pt x="959" y="27"/>
                  </a:cubicBezTo>
                  <a:close/>
                  <a:moveTo>
                    <a:pt x="1490" y="26"/>
                  </a:moveTo>
                  <a:cubicBezTo>
                    <a:pt x="1490" y="26"/>
                    <a:pt x="1490" y="26"/>
                    <a:pt x="1490" y="27"/>
                  </a:cubicBezTo>
                  <a:cubicBezTo>
                    <a:pt x="1490" y="27"/>
                    <a:pt x="1490" y="27"/>
                    <a:pt x="1490" y="26"/>
                  </a:cubicBezTo>
                  <a:close/>
                  <a:moveTo>
                    <a:pt x="1490" y="27"/>
                  </a:moveTo>
                  <a:cubicBezTo>
                    <a:pt x="1489" y="27"/>
                    <a:pt x="1489" y="27"/>
                    <a:pt x="1489" y="27"/>
                  </a:cubicBezTo>
                  <a:cubicBezTo>
                    <a:pt x="1489" y="27"/>
                    <a:pt x="1490" y="27"/>
                    <a:pt x="1490" y="27"/>
                  </a:cubicBezTo>
                  <a:close/>
                  <a:moveTo>
                    <a:pt x="1289" y="46"/>
                  </a:moveTo>
                  <a:cubicBezTo>
                    <a:pt x="1289" y="46"/>
                    <a:pt x="1289" y="46"/>
                    <a:pt x="1289" y="45"/>
                  </a:cubicBezTo>
                  <a:cubicBezTo>
                    <a:pt x="1289" y="46"/>
                    <a:pt x="1289" y="46"/>
                    <a:pt x="1289" y="46"/>
                  </a:cubicBezTo>
                  <a:close/>
                  <a:moveTo>
                    <a:pt x="1413" y="28"/>
                  </a:moveTo>
                  <a:cubicBezTo>
                    <a:pt x="1414" y="28"/>
                    <a:pt x="1414" y="27"/>
                    <a:pt x="1414" y="27"/>
                  </a:cubicBezTo>
                  <a:cubicBezTo>
                    <a:pt x="1413" y="27"/>
                    <a:pt x="1413" y="28"/>
                    <a:pt x="1413" y="28"/>
                  </a:cubicBezTo>
                  <a:close/>
                  <a:moveTo>
                    <a:pt x="1489" y="27"/>
                  </a:moveTo>
                  <a:cubicBezTo>
                    <a:pt x="1489" y="27"/>
                    <a:pt x="1489" y="27"/>
                    <a:pt x="1488" y="27"/>
                  </a:cubicBezTo>
                  <a:cubicBezTo>
                    <a:pt x="1489" y="27"/>
                    <a:pt x="1489" y="27"/>
                    <a:pt x="1489" y="27"/>
                  </a:cubicBezTo>
                  <a:close/>
                  <a:moveTo>
                    <a:pt x="958" y="28"/>
                  </a:moveTo>
                  <a:cubicBezTo>
                    <a:pt x="958" y="28"/>
                    <a:pt x="958" y="28"/>
                    <a:pt x="958" y="27"/>
                  </a:cubicBezTo>
                  <a:cubicBezTo>
                    <a:pt x="958" y="28"/>
                    <a:pt x="958" y="28"/>
                    <a:pt x="958" y="28"/>
                  </a:cubicBezTo>
                  <a:close/>
                  <a:moveTo>
                    <a:pt x="1488" y="27"/>
                  </a:moveTo>
                  <a:cubicBezTo>
                    <a:pt x="1488" y="27"/>
                    <a:pt x="1488" y="27"/>
                    <a:pt x="1488" y="28"/>
                  </a:cubicBezTo>
                  <a:cubicBezTo>
                    <a:pt x="1488" y="28"/>
                    <a:pt x="1488" y="28"/>
                    <a:pt x="1488" y="27"/>
                  </a:cubicBezTo>
                  <a:close/>
                  <a:moveTo>
                    <a:pt x="1488" y="28"/>
                  </a:moveTo>
                  <a:cubicBezTo>
                    <a:pt x="1487" y="28"/>
                    <a:pt x="1487" y="28"/>
                    <a:pt x="1487" y="28"/>
                  </a:cubicBezTo>
                  <a:cubicBezTo>
                    <a:pt x="1487" y="28"/>
                    <a:pt x="1488" y="28"/>
                    <a:pt x="1488" y="28"/>
                  </a:cubicBezTo>
                  <a:close/>
                  <a:moveTo>
                    <a:pt x="958" y="29"/>
                  </a:moveTo>
                  <a:cubicBezTo>
                    <a:pt x="958" y="29"/>
                    <a:pt x="958" y="28"/>
                    <a:pt x="958" y="28"/>
                  </a:cubicBezTo>
                  <a:cubicBezTo>
                    <a:pt x="958" y="28"/>
                    <a:pt x="958" y="28"/>
                    <a:pt x="958" y="29"/>
                  </a:cubicBezTo>
                  <a:close/>
                  <a:moveTo>
                    <a:pt x="1576" y="50"/>
                  </a:moveTo>
                  <a:cubicBezTo>
                    <a:pt x="1576" y="51"/>
                    <a:pt x="1576" y="51"/>
                    <a:pt x="1576" y="51"/>
                  </a:cubicBezTo>
                  <a:cubicBezTo>
                    <a:pt x="1576" y="51"/>
                    <a:pt x="1576" y="51"/>
                    <a:pt x="1576" y="50"/>
                  </a:cubicBezTo>
                  <a:close/>
                  <a:moveTo>
                    <a:pt x="1413" y="29"/>
                  </a:moveTo>
                  <a:cubicBezTo>
                    <a:pt x="1413" y="29"/>
                    <a:pt x="1413" y="28"/>
                    <a:pt x="1413" y="28"/>
                  </a:cubicBezTo>
                  <a:cubicBezTo>
                    <a:pt x="1413" y="28"/>
                    <a:pt x="1413" y="29"/>
                    <a:pt x="1413" y="29"/>
                  </a:cubicBezTo>
                  <a:close/>
                  <a:moveTo>
                    <a:pt x="1579" y="45"/>
                  </a:moveTo>
                  <a:cubicBezTo>
                    <a:pt x="1579" y="46"/>
                    <a:pt x="1579" y="46"/>
                    <a:pt x="1579" y="46"/>
                  </a:cubicBezTo>
                  <a:cubicBezTo>
                    <a:pt x="1579" y="46"/>
                    <a:pt x="1579" y="46"/>
                    <a:pt x="1579" y="45"/>
                  </a:cubicBezTo>
                  <a:close/>
                  <a:moveTo>
                    <a:pt x="1486" y="28"/>
                  </a:moveTo>
                  <a:cubicBezTo>
                    <a:pt x="1486" y="28"/>
                    <a:pt x="1485" y="29"/>
                    <a:pt x="1485" y="29"/>
                  </a:cubicBezTo>
                  <a:cubicBezTo>
                    <a:pt x="1486" y="29"/>
                    <a:pt x="1486" y="29"/>
                    <a:pt x="1486" y="28"/>
                  </a:cubicBezTo>
                  <a:close/>
                  <a:moveTo>
                    <a:pt x="957" y="29"/>
                  </a:moveTo>
                  <a:cubicBezTo>
                    <a:pt x="957" y="29"/>
                    <a:pt x="958" y="29"/>
                    <a:pt x="958" y="29"/>
                  </a:cubicBezTo>
                  <a:cubicBezTo>
                    <a:pt x="957" y="29"/>
                    <a:pt x="957" y="29"/>
                    <a:pt x="957" y="29"/>
                  </a:cubicBezTo>
                  <a:close/>
                  <a:moveTo>
                    <a:pt x="1485" y="29"/>
                  </a:moveTo>
                  <a:cubicBezTo>
                    <a:pt x="1485" y="29"/>
                    <a:pt x="1485" y="29"/>
                    <a:pt x="1485" y="29"/>
                  </a:cubicBezTo>
                  <a:cubicBezTo>
                    <a:pt x="1485" y="29"/>
                    <a:pt x="1485" y="29"/>
                    <a:pt x="1485" y="29"/>
                  </a:cubicBezTo>
                  <a:close/>
                  <a:moveTo>
                    <a:pt x="1413" y="30"/>
                  </a:moveTo>
                  <a:cubicBezTo>
                    <a:pt x="1413" y="30"/>
                    <a:pt x="1413" y="29"/>
                    <a:pt x="1413" y="29"/>
                  </a:cubicBezTo>
                  <a:cubicBezTo>
                    <a:pt x="1413" y="29"/>
                    <a:pt x="1413" y="30"/>
                    <a:pt x="1413" y="30"/>
                  </a:cubicBezTo>
                  <a:close/>
                  <a:moveTo>
                    <a:pt x="1485" y="29"/>
                  </a:moveTo>
                  <a:cubicBezTo>
                    <a:pt x="1484" y="29"/>
                    <a:pt x="1484" y="29"/>
                    <a:pt x="1484" y="29"/>
                  </a:cubicBezTo>
                  <a:cubicBezTo>
                    <a:pt x="1484" y="29"/>
                    <a:pt x="1484" y="29"/>
                    <a:pt x="1485" y="29"/>
                  </a:cubicBezTo>
                  <a:close/>
                  <a:moveTo>
                    <a:pt x="1681" y="45"/>
                  </a:moveTo>
                  <a:cubicBezTo>
                    <a:pt x="1681" y="46"/>
                    <a:pt x="1681" y="46"/>
                    <a:pt x="1681" y="46"/>
                  </a:cubicBezTo>
                  <a:cubicBezTo>
                    <a:pt x="1681" y="46"/>
                    <a:pt x="1681" y="46"/>
                    <a:pt x="1681" y="45"/>
                  </a:cubicBezTo>
                  <a:close/>
                  <a:moveTo>
                    <a:pt x="1484" y="29"/>
                  </a:moveTo>
                  <a:cubicBezTo>
                    <a:pt x="1483" y="29"/>
                    <a:pt x="1483" y="30"/>
                    <a:pt x="1483" y="30"/>
                  </a:cubicBezTo>
                  <a:cubicBezTo>
                    <a:pt x="1483" y="30"/>
                    <a:pt x="1483" y="30"/>
                    <a:pt x="1484" y="29"/>
                  </a:cubicBezTo>
                  <a:close/>
                  <a:moveTo>
                    <a:pt x="1744" y="50"/>
                  </a:moveTo>
                  <a:cubicBezTo>
                    <a:pt x="1744" y="51"/>
                    <a:pt x="1744" y="51"/>
                    <a:pt x="1744" y="51"/>
                  </a:cubicBezTo>
                  <a:cubicBezTo>
                    <a:pt x="1744" y="51"/>
                    <a:pt x="1744" y="51"/>
                    <a:pt x="1744" y="50"/>
                  </a:cubicBezTo>
                  <a:close/>
                  <a:moveTo>
                    <a:pt x="1747" y="45"/>
                  </a:moveTo>
                  <a:cubicBezTo>
                    <a:pt x="1747" y="46"/>
                    <a:pt x="1747" y="46"/>
                    <a:pt x="1747" y="46"/>
                  </a:cubicBezTo>
                  <a:cubicBezTo>
                    <a:pt x="1747" y="46"/>
                    <a:pt x="1747" y="46"/>
                    <a:pt x="1747" y="45"/>
                  </a:cubicBezTo>
                  <a:close/>
                  <a:moveTo>
                    <a:pt x="970" y="30"/>
                  </a:moveTo>
                  <a:cubicBezTo>
                    <a:pt x="969" y="30"/>
                    <a:pt x="969" y="31"/>
                    <a:pt x="969" y="31"/>
                  </a:cubicBezTo>
                  <a:cubicBezTo>
                    <a:pt x="970" y="31"/>
                    <a:pt x="970" y="30"/>
                    <a:pt x="970" y="30"/>
                  </a:cubicBezTo>
                  <a:close/>
                  <a:moveTo>
                    <a:pt x="1482" y="30"/>
                  </a:moveTo>
                  <a:cubicBezTo>
                    <a:pt x="1481" y="30"/>
                    <a:pt x="1481" y="30"/>
                    <a:pt x="1481" y="30"/>
                  </a:cubicBezTo>
                  <a:cubicBezTo>
                    <a:pt x="1481" y="30"/>
                    <a:pt x="1482" y="30"/>
                    <a:pt x="1482" y="30"/>
                  </a:cubicBezTo>
                  <a:close/>
                  <a:moveTo>
                    <a:pt x="956" y="31"/>
                  </a:moveTo>
                  <a:cubicBezTo>
                    <a:pt x="957" y="31"/>
                    <a:pt x="957" y="31"/>
                    <a:pt x="957" y="31"/>
                  </a:cubicBezTo>
                  <a:cubicBezTo>
                    <a:pt x="956" y="31"/>
                    <a:pt x="956" y="31"/>
                    <a:pt x="956" y="31"/>
                  </a:cubicBezTo>
                  <a:close/>
                  <a:moveTo>
                    <a:pt x="1481" y="31"/>
                  </a:moveTo>
                  <a:cubicBezTo>
                    <a:pt x="1480" y="30"/>
                    <a:pt x="1480" y="31"/>
                    <a:pt x="1480" y="31"/>
                  </a:cubicBezTo>
                  <a:cubicBezTo>
                    <a:pt x="1480" y="31"/>
                    <a:pt x="1481" y="31"/>
                    <a:pt x="1481" y="31"/>
                  </a:cubicBezTo>
                  <a:close/>
                  <a:moveTo>
                    <a:pt x="1112" y="53"/>
                  </a:moveTo>
                  <a:cubicBezTo>
                    <a:pt x="1112" y="53"/>
                    <a:pt x="1112" y="54"/>
                    <a:pt x="1112" y="54"/>
                  </a:cubicBezTo>
                  <a:cubicBezTo>
                    <a:pt x="1112" y="54"/>
                    <a:pt x="1112" y="53"/>
                    <a:pt x="1112" y="53"/>
                  </a:cubicBezTo>
                  <a:close/>
                  <a:moveTo>
                    <a:pt x="956" y="32"/>
                  </a:moveTo>
                  <a:cubicBezTo>
                    <a:pt x="956" y="32"/>
                    <a:pt x="956" y="32"/>
                    <a:pt x="956" y="31"/>
                  </a:cubicBezTo>
                  <a:cubicBezTo>
                    <a:pt x="956" y="31"/>
                    <a:pt x="956" y="32"/>
                    <a:pt x="956" y="32"/>
                  </a:cubicBezTo>
                  <a:close/>
                  <a:moveTo>
                    <a:pt x="969" y="31"/>
                  </a:moveTo>
                  <a:cubicBezTo>
                    <a:pt x="969" y="31"/>
                    <a:pt x="969" y="32"/>
                    <a:pt x="969" y="32"/>
                  </a:cubicBezTo>
                  <a:cubicBezTo>
                    <a:pt x="969" y="32"/>
                    <a:pt x="969" y="31"/>
                    <a:pt x="969" y="31"/>
                  </a:cubicBezTo>
                  <a:close/>
                  <a:moveTo>
                    <a:pt x="597" y="47"/>
                  </a:moveTo>
                  <a:cubicBezTo>
                    <a:pt x="597" y="46"/>
                    <a:pt x="597" y="46"/>
                    <a:pt x="597" y="46"/>
                  </a:cubicBezTo>
                  <a:cubicBezTo>
                    <a:pt x="597" y="46"/>
                    <a:pt x="597" y="46"/>
                    <a:pt x="597" y="47"/>
                  </a:cubicBezTo>
                  <a:close/>
                  <a:moveTo>
                    <a:pt x="608" y="46"/>
                  </a:moveTo>
                  <a:cubicBezTo>
                    <a:pt x="608" y="46"/>
                    <a:pt x="608" y="46"/>
                    <a:pt x="609" y="47"/>
                  </a:cubicBezTo>
                  <a:cubicBezTo>
                    <a:pt x="609" y="46"/>
                    <a:pt x="609" y="46"/>
                    <a:pt x="608" y="46"/>
                  </a:cubicBezTo>
                  <a:close/>
                  <a:moveTo>
                    <a:pt x="968" y="32"/>
                  </a:moveTo>
                  <a:cubicBezTo>
                    <a:pt x="968" y="32"/>
                    <a:pt x="968" y="33"/>
                    <a:pt x="968" y="33"/>
                  </a:cubicBezTo>
                  <a:cubicBezTo>
                    <a:pt x="968" y="33"/>
                    <a:pt x="968" y="33"/>
                    <a:pt x="968" y="32"/>
                  </a:cubicBezTo>
                  <a:close/>
                  <a:moveTo>
                    <a:pt x="955" y="34"/>
                  </a:moveTo>
                  <a:cubicBezTo>
                    <a:pt x="955" y="33"/>
                    <a:pt x="955" y="33"/>
                    <a:pt x="955" y="33"/>
                  </a:cubicBezTo>
                  <a:cubicBezTo>
                    <a:pt x="955" y="33"/>
                    <a:pt x="955" y="33"/>
                    <a:pt x="955" y="34"/>
                  </a:cubicBezTo>
                  <a:close/>
                  <a:moveTo>
                    <a:pt x="968" y="33"/>
                  </a:moveTo>
                  <a:cubicBezTo>
                    <a:pt x="968" y="33"/>
                    <a:pt x="968" y="33"/>
                    <a:pt x="968" y="34"/>
                  </a:cubicBezTo>
                  <a:cubicBezTo>
                    <a:pt x="968" y="33"/>
                    <a:pt x="968" y="33"/>
                    <a:pt x="968" y="33"/>
                  </a:cubicBezTo>
                  <a:close/>
                  <a:moveTo>
                    <a:pt x="855" y="33"/>
                  </a:moveTo>
                  <a:cubicBezTo>
                    <a:pt x="855" y="34"/>
                    <a:pt x="855" y="34"/>
                    <a:pt x="856" y="34"/>
                  </a:cubicBezTo>
                  <a:cubicBezTo>
                    <a:pt x="855" y="33"/>
                    <a:pt x="855" y="33"/>
                    <a:pt x="855" y="33"/>
                  </a:cubicBezTo>
                  <a:close/>
                  <a:moveTo>
                    <a:pt x="769" y="34"/>
                  </a:moveTo>
                  <a:cubicBezTo>
                    <a:pt x="769" y="34"/>
                    <a:pt x="770" y="34"/>
                    <a:pt x="770" y="34"/>
                  </a:cubicBezTo>
                  <a:cubicBezTo>
                    <a:pt x="769" y="34"/>
                    <a:pt x="769" y="34"/>
                    <a:pt x="769" y="34"/>
                  </a:cubicBezTo>
                  <a:close/>
                  <a:moveTo>
                    <a:pt x="787" y="34"/>
                  </a:moveTo>
                  <a:cubicBezTo>
                    <a:pt x="787" y="34"/>
                    <a:pt x="787" y="34"/>
                    <a:pt x="788" y="34"/>
                  </a:cubicBezTo>
                  <a:cubicBezTo>
                    <a:pt x="787" y="34"/>
                    <a:pt x="787" y="34"/>
                    <a:pt x="787" y="34"/>
                  </a:cubicBezTo>
                  <a:close/>
                  <a:moveTo>
                    <a:pt x="856" y="34"/>
                  </a:moveTo>
                  <a:cubicBezTo>
                    <a:pt x="856" y="34"/>
                    <a:pt x="856" y="34"/>
                    <a:pt x="857" y="34"/>
                  </a:cubicBezTo>
                  <a:cubicBezTo>
                    <a:pt x="856" y="34"/>
                    <a:pt x="856" y="34"/>
                    <a:pt x="856" y="34"/>
                  </a:cubicBezTo>
                  <a:close/>
                  <a:moveTo>
                    <a:pt x="882" y="34"/>
                  </a:moveTo>
                  <a:cubicBezTo>
                    <a:pt x="882" y="34"/>
                    <a:pt x="882" y="34"/>
                    <a:pt x="882" y="34"/>
                  </a:cubicBezTo>
                  <a:cubicBezTo>
                    <a:pt x="882" y="34"/>
                    <a:pt x="882" y="34"/>
                    <a:pt x="882" y="34"/>
                  </a:cubicBezTo>
                  <a:close/>
                  <a:moveTo>
                    <a:pt x="955" y="34"/>
                  </a:moveTo>
                  <a:cubicBezTo>
                    <a:pt x="955" y="34"/>
                    <a:pt x="955" y="34"/>
                    <a:pt x="955" y="34"/>
                  </a:cubicBezTo>
                  <a:cubicBezTo>
                    <a:pt x="955" y="34"/>
                    <a:pt x="955" y="34"/>
                    <a:pt x="955" y="34"/>
                  </a:cubicBezTo>
                  <a:close/>
                  <a:moveTo>
                    <a:pt x="968" y="34"/>
                  </a:moveTo>
                  <a:cubicBezTo>
                    <a:pt x="967" y="34"/>
                    <a:pt x="967" y="34"/>
                    <a:pt x="967" y="34"/>
                  </a:cubicBezTo>
                  <a:cubicBezTo>
                    <a:pt x="968" y="34"/>
                    <a:pt x="968" y="34"/>
                    <a:pt x="968" y="34"/>
                  </a:cubicBezTo>
                  <a:close/>
                  <a:moveTo>
                    <a:pt x="1300" y="34"/>
                  </a:moveTo>
                  <a:cubicBezTo>
                    <a:pt x="1300" y="34"/>
                    <a:pt x="1301" y="34"/>
                    <a:pt x="1301" y="34"/>
                  </a:cubicBezTo>
                  <a:cubicBezTo>
                    <a:pt x="1301" y="34"/>
                    <a:pt x="1300" y="34"/>
                    <a:pt x="1300" y="34"/>
                  </a:cubicBezTo>
                  <a:close/>
                  <a:moveTo>
                    <a:pt x="1311" y="34"/>
                  </a:moveTo>
                  <a:cubicBezTo>
                    <a:pt x="1312" y="34"/>
                    <a:pt x="1312" y="34"/>
                    <a:pt x="1312" y="34"/>
                  </a:cubicBezTo>
                  <a:cubicBezTo>
                    <a:pt x="1312" y="34"/>
                    <a:pt x="1312" y="34"/>
                    <a:pt x="1311" y="34"/>
                  </a:cubicBezTo>
                  <a:close/>
                  <a:moveTo>
                    <a:pt x="768" y="34"/>
                  </a:moveTo>
                  <a:cubicBezTo>
                    <a:pt x="768" y="34"/>
                    <a:pt x="768" y="34"/>
                    <a:pt x="769" y="34"/>
                  </a:cubicBezTo>
                  <a:cubicBezTo>
                    <a:pt x="768" y="34"/>
                    <a:pt x="768" y="34"/>
                    <a:pt x="768" y="34"/>
                  </a:cubicBezTo>
                  <a:close/>
                  <a:moveTo>
                    <a:pt x="788" y="34"/>
                  </a:moveTo>
                  <a:cubicBezTo>
                    <a:pt x="788" y="34"/>
                    <a:pt x="788" y="34"/>
                    <a:pt x="789" y="34"/>
                  </a:cubicBezTo>
                  <a:cubicBezTo>
                    <a:pt x="789" y="34"/>
                    <a:pt x="788" y="34"/>
                    <a:pt x="788" y="34"/>
                  </a:cubicBezTo>
                  <a:close/>
                  <a:moveTo>
                    <a:pt x="840" y="34"/>
                  </a:moveTo>
                  <a:cubicBezTo>
                    <a:pt x="840" y="34"/>
                    <a:pt x="840" y="34"/>
                    <a:pt x="840" y="34"/>
                  </a:cubicBezTo>
                  <a:cubicBezTo>
                    <a:pt x="840" y="34"/>
                    <a:pt x="840" y="34"/>
                    <a:pt x="840" y="34"/>
                  </a:cubicBezTo>
                  <a:close/>
                  <a:moveTo>
                    <a:pt x="857" y="34"/>
                  </a:moveTo>
                  <a:cubicBezTo>
                    <a:pt x="857" y="34"/>
                    <a:pt x="857" y="34"/>
                    <a:pt x="858" y="34"/>
                  </a:cubicBezTo>
                  <a:cubicBezTo>
                    <a:pt x="857" y="34"/>
                    <a:pt x="857" y="34"/>
                    <a:pt x="857" y="34"/>
                  </a:cubicBezTo>
                  <a:close/>
                  <a:moveTo>
                    <a:pt x="881" y="34"/>
                  </a:moveTo>
                  <a:cubicBezTo>
                    <a:pt x="881" y="34"/>
                    <a:pt x="881" y="34"/>
                    <a:pt x="881" y="34"/>
                  </a:cubicBezTo>
                  <a:cubicBezTo>
                    <a:pt x="881" y="34"/>
                    <a:pt x="881" y="34"/>
                    <a:pt x="881" y="34"/>
                  </a:cubicBezTo>
                  <a:close/>
                  <a:moveTo>
                    <a:pt x="899" y="34"/>
                  </a:moveTo>
                  <a:cubicBezTo>
                    <a:pt x="900" y="34"/>
                    <a:pt x="900" y="34"/>
                    <a:pt x="900" y="34"/>
                  </a:cubicBezTo>
                  <a:cubicBezTo>
                    <a:pt x="900" y="34"/>
                    <a:pt x="900" y="34"/>
                    <a:pt x="899" y="34"/>
                  </a:cubicBezTo>
                  <a:close/>
                  <a:moveTo>
                    <a:pt x="1123" y="34"/>
                  </a:moveTo>
                  <a:cubicBezTo>
                    <a:pt x="1123" y="34"/>
                    <a:pt x="1123" y="34"/>
                    <a:pt x="1123" y="34"/>
                  </a:cubicBezTo>
                  <a:cubicBezTo>
                    <a:pt x="1123" y="34"/>
                    <a:pt x="1123" y="34"/>
                    <a:pt x="1123" y="34"/>
                  </a:cubicBezTo>
                  <a:close/>
                  <a:moveTo>
                    <a:pt x="1141" y="34"/>
                  </a:moveTo>
                  <a:cubicBezTo>
                    <a:pt x="1141" y="34"/>
                    <a:pt x="1142" y="34"/>
                    <a:pt x="1142" y="34"/>
                  </a:cubicBezTo>
                  <a:cubicBezTo>
                    <a:pt x="1142" y="34"/>
                    <a:pt x="1142" y="34"/>
                    <a:pt x="1141" y="34"/>
                  </a:cubicBezTo>
                  <a:close/>
                  <a:moveTo>
                    <a:pt x="1228" y="34"/>
                  </a:moveTo>
                  <a:cubicBezTo>
                    <a:pt x="1228" y="34"/>
                    <a:pt x="1228" y="34"/>
                    <a:pt x="1229" y="34"/>
                  </a:cubicBezTo>
                  <a:cubicBezTo>
                    <a:pt x="1228" y="34"/>
                    <a:pt x="1228" y="34"/>
                    <a:pt x="1228" y="34"/>
                  </a:cubicBezTo>
                  <a:close/>
                  <a:moveTo>
                    <a:pt x="1299" y="34"/>
                  </a:moveTo>
                  <a:cubicBezTo>
                    <a:pt x="1299" y="34"/>
                    <a:pt x="1300" y="34"/>
                    <a:pt x="1300" y="34"/>
                  </a:cubicBezTo>
                  <a:cubicBezTo>
                    <a:pt x="1300" y="34"/>
                    <a:pt x="1299" y="34"/>
                    <a:pt x="1299" y="34"/>
                  </a:cubicBezTo>
                  <a:close/>
                  <a:moveTo>
                    <a:pt x="671" y="35"/>
                  </a:moveTo>
                  <a:cubicBezTo>
                    <a:pt x="671" y="35"/>
                    <a:pt x="671" y="35"/>
                    <a:pt x="671" y="34"/>
                  </a:cubicBezTo>
                  <a:cubicBezTo>
                    <a:pt x="671" y="34"/>
                    <a:pt x="671" y="34"/>
                    <a:pt x="671" y="35"/>
                  </a:cubicBezTo>
                  <a:close/>
                  <a:moveTo>
                    <a:pt x="693" y="34"/>
                  </a:moveTo>
                  <a:cubicBezTo>
                    <a:pt x="694" y="35"/>
                    <a:pt x="694" y="35"/>
                    <a:pt x="694" y="35"/>
                  </a:cubicBezTo>
                  <a:cubicBezTo>
                    <a:pt x="694" y="34"/>
                    <a:pt x="694" y="34"/>
                    <a:pt x="693" y="34"/>
                  </a:cubicBezTo>
                  <a:close/>
                  <a:moveTo>
                    <a:pt x="767" y="35"/>
                  </a:moveTo>
                  <a:cubicBezTo>
                    <a:pt x="767" y="35"/>
                    <a:pt x="767" y="35"/>
                    <a:pt x="768" y="34"/>
                  </a:cubicBezTo>
                  <a:cubicBezTo>
                    <a:pt x="767" y="34"/>
                    <a:pt x="767" y="34"/>
                    <a:pt x="767" y="35"/>
                  </a:cubicBezTo>
                  <a:close/>
                  <a:moveTo>
                    <a:pt x="789" y="34"/>
                  </a:moveTo>
                  <a:cubicBezTo>
                    <a:pt x="789" y="35"/>
                    <a:pt x="789" y="35"/>
                    <a:pt x="790" y="35"/>
                  </a:cubicBezTo>
                  <a:cubicBezTo>
                    <a:pt x="790" y="34"/>
                    <a:pt x="789" y="34"/>
                    <a:pt x="789" y="34"/>
                  </a:cubicBezTo>
                  <a:close/>
                  <a:moveTo>
                    <a:pt x="839" y="35"/>
                  </a:moveTo>
                  <a:cubicBezTo>
                    <a:pt x="839" y="35"/>
                    <a:pt x="839" y="35"/>
                    <a:pt x="839" y="34"/>
                  </a:cubicBezTo>
                  <a:cubicBezTo>
                    <a:pt x="839" y="34"/>
                    <a:pt x="839" y="34"/>
                    <a:pt x="839" y="35"/>
                  </a:cubicBezTo>
                  <a:close/>
                  <a:moveTo>
                    <a:pt x="858" y="34"/>
                  </a:moveTo>
                  <a:cubicBezTo>
                    <a:pt x="858" y="35"/>
                    <a:pt x="858" y="35"/>
                    <a:pt x="858" y="35"/>
                  </a:cubicBezTo>
                  <a:cubicBezTo>
                    <a:pt x="858" y="34"/>
                    <a:pt x="858" y="34"/>
                    <a:pt x="858" y="34"/>
                  </a:cubicBezTo>
                  <a:close/>
                  <a:moveTo>
                    <a:pt x="880" y="35"/>
                  </a:moveTo>
                  <a:cubicBezTo>
                    <a:pt x="880" y="35"/>
                    <a:pt x="880" y="35"/>
                    <a:pt x="881" y="34"/>
                  </a:cubicBezTo>
                  <a:cubicBezTo>
                    <a:pt x="880" y="34"/>
                    <a:pt x="880" y="34"/>
                    <a:pt x="880" y="35"/>
                  </a:cubicBezTo>
                  <a:close/>
                  <a:moveTo>
                    <a:pt x="900" y="34"/>
                  </a:moveTo>
                  <a:cubicBezTo>
                    <a:pt x="901" y="35"/>
                    <a:pt x="901" y="35"/>
                    <a:pt x="901" y="35"/>
                  </a:cubicBezTo>
                  <a:cubicBezTo>
                    <a:pt x="901" y="34"/>
                    <a:pt x="901" y="34"/>
                    <a:pt x="900" y="34"/>
                  </a:cubicBezTo>
                  <a:close/>
                  <a:moveTo>
                    <a:pt x="954" y="35"/>
                  </a:moveTo>
                  <a:cubicBezTo>
                    <a:pt x="955" y="35"/>
                    <a:pt x="955" y="35"/>
                    <a:pt x="955" y="34"/>
                  </a:cubicBezTo>
                  <a:cubicBezTo>
                    <a:pt x="954" y="35"/>
                    <a:pt x="954" y="35"/>
                    <a:pt x="954" y="35"/>
                  </a:cubicBezTo>
                  <a:close/>
                  <a:moveTo>
                    <a:pt x="967" y="34"/>
                  </a:moveTo>
                  <a:cubicBezTo>
                    <a:pt x="967" y="34"/>
                    <a:pt x="967" y="35"/>
                    <a:pt x="967" y="35"/>
                  </a:cubicBezTo>
                  <a:cubicBezTo>
                    <a:pt x="967" y="35"/>
                    <a:pt x="967" y="35"/>
                    <a:pt x="967" y="34"/>
                  </a:cubicBezTo>
                  <a:close/>
                  <a:moveTo>
                    <a:pt x="1049" y="35"/>
                  </a:moveTo>
                  <a:cubicBezTo>
                    <a:pt x="1049" y="35"/>
                    <a:pt x="1050" y="35"/>
                    <a:pt x="1050" y="34"/>
                  </a:cubicBezTo>
                  <a:cubicBezTo>
                    <a:pt x="1050" y="34"/>
                    <a:pt x="1049" y="34"/>
                    <a:pt x="1049" y="35"/>
                  </a:cubicBezTo>
                  <a:close/>
                  <a:moveTo>
                    <a:pt x="1071" y="34"/>
                  </a:moveTo>
                  <a:cubicBezTo>
                    <a:pt x="1071" y="35"/>
                    <a:pt x="1071" y="35"/>
                    <a:pt x="1072" y="35"/>
                  </a:cubicBezTo>
                  <a:cubicBezTo>
                    <a:pt x="1072" y="34"/>
                    <a:pt x="1071" y="34"/>
                    <a:pt x="1071" y="34"/>
                  </a:cubicBezTo>
                  <a:close/>
                  <a:moveTo>
                    <a:pt x="1122" y="35"/>
                  </a:moveTo>
                  <a:cubicBezTo>
                    <a:pt x="1122" y="35"/>
                    <a:pt x="1122" y="35"/>
                    <a:pt x="1122" y="34"/>
                  </a:cubicBezTo>
                  <a:cubicBezTo>
                    <a:pt x="1122" y="34"/>
                    <a:pt x="1122" y="34"/>
                    <a:pt x="1122" y="35"/>
                  </a:cubicBezTo>
                  <a:close/>
                  <a:moveTo>
                    <a:pt x="1142" y="34"/>
                  </a:moveTo>
                  <a:cubicBezTo>
                    <a:pt x="1142" y="35"/>
                    <a:pt x="1142" y="35"/>
                    <a:pt x="1143" y="35"/>
                  </a:cubicBezTo>
                  <a:cubicBezTo>
                    <a:pt x="1143" y="34"/>
                    <a:pt x="1142" y="34"/>
                    <a:pt x="1142" y="34"/>
                  </a:cubicBezTo>
                  <a:close/>
                  <a:moveTo>
                    <a:pt x="1249" y="34"/>
                  </a:moveTo>
                  <a:cubicBezTo>
                    <a:pt x="1249" y="35"/>
                    <a:pt x="1249" y="35"/>
                    <a:pt x="1250" y="35"/>
                  </a:cubicBezTo>
                  <a:cubicBezTo>
                    <a:pt x="1249" y="34"/>
                    <a:pt x="1249" y="34"/>
                    <a:pt x="1249" y="34"/>
                  </a:cubicBezTo>
                  <a:close/>
                  <a:moveTo>
                    <a:pt x="1298" y="35"/>
                  </a:moveTo>
                  <a:cubicBezTo>
                    <a:pt x="1299" y="35"/>
                    <a:pt x="1299" y="35"/>
                    <a:pt x="1299" y="34"/>
                  </a:cubicBezTo>
                  <a:cubicBezTo>
                    <a:pt x="1299" y="34"/>
                    <a:pt x="1299" y="34"/>
                    <a:pt x="1298" y="35"/>
                  </a:cubicBezTo>
                  <a:close/>
                  <a:moveTo>
                    <a:pt x="644" y="35"/>
                  </a:moveTo>
                  <a:cubicBezTo>
                    <a:pt x="644" y="35"/>
                    <a:pt x="644" y="35"/>
                    <a:pt x="644" y="35"/>
                  </a:cubicBezTo>
                  <a:cubicBezTo>
                    <a:pt x="644" y="35"/>
                    <a:pt x="644" y="35"/>
                    <a:pt x="644" y="35"/>
                  </a:cubicBezTo>
                  <a:close/>
                  <a:moveTo>
                    <a:pt x="656" y="35"/>
                  </a:moveTo>
                  <a:cubicBezTo>
                    <a:pt x="655" y="35"/>
                    <a:pt x="655" y="35"/>
                    <a:pt x="655" y="35"/>
                  </a:cubicBezTo>
                  <a:cubicBezTo>
                    <a:pt x="656" y="35"/>
                    <a:pt x="656" y="35"/>
                    <a:pt x="656" y="35"/>
                  </a:cubicBezTo>
                  <a:close/>
                  <a:moveTo>
                    <a:pt x="670" y="35"/>
                  </a:moveTo>
                  <a:cubicBezTo>
                    <a:pt x="670" y="35"/>
                    <a:pt x="671" y="35"/>
                    <a:pt x="671" y="35"/>
                  </a:cubicBezTo>
                  <a:cubicBezTo>
                    <a:pt x="670" y="35"/>
                    <a:pt x="670" y="35"/>
                    <a:pt x="670" y="35"/>
                  </a:cubicBezTo>
                  <a:close/>
                  <a:moveTo>
                    <a:pt x="694" y="35"/>
                  </a:moveTo>
                  <a:cubicBezTo>
                    <a:pt x="695" y="35"/>
                    <a:pt x="695" y="35"/>
                    <a:pt x="695" y="35"/>
                  </a:cubicBezTo>
                  <a:cubicBezTo>
                    <a:pt x="695" y="35"/>
                    <a:pt x="695" y="35"/>
                    <a:pt x="694" y="35"/>
                  </a:cubicBezTo>
                  <a:close/>
                  <a:moveTo>
                    <a:pt x="766" y="35"/>
                  </a:moveTo>
                  <a:cubicBezTo>
                    <a:pt x="766" y="35"/>
                    <a:pt x="767" y="35"/>
                    <a:pt x="767" y="35"/>
                  </a:cubicBezTo>
                  <a:cubicBezTo>
                    <a:pt x="767" y="35"/>
                    <a:pt x="766" y="35"/>
                    <a:pt x="766" y="35"/>
                  </a:cubicBezTo>
                  <a:close/>
                  <a:moveTo>
                    <a:pt x="790" y="35"/>
                  </a:moveTo>
                  <a:cubicBezTo>
                    <a:pt x="790" y="35"/>
                    <a:pt x="790" y="35"/>
                    <a:pt x="790" y="35"/>
                  </a:cubicBezTo>
                  <a:cubicBezTo>
                    <a:pt x="790" y="35"/>
                    <a:pt x="790" y="35"/>
                    <a:pt x="790" y="35"/>
                  </a:cubicBezTo>
                  <a:close/>
                  <a:moveTo>
                    <a:pt x="838" y="35"/>
                  </a:moveTo>
                  <a:cubicBezTo>
                    <a:pt x="838" y="35"/>
                    <a:pt x="838" y="35"/>
                    <a:pt x="839" y="35"/>
                  </a:cubicBezTo>
                  <a:cubicBezTo>
                    <a:pt x="838" y="35"/>
                    <a:pt x="838" y="35"/>
                    <a:pt x="838" y="35"/>
                  </a:cubicBezTo>
                  <a:close/>
                  <a:moveTo>
                    <a:pt x="858" y="35"/>
                  </a:moveTo>
                  <a:cubicBezTo>
                    <a:pt x="858" y="35"/>
                    <a:pt x="859" y="35"/>
                    <a:pt x="859" y="35"/>
                  </a:cubicBezTo>
                  <a:cubicBezTo>
                    <a:pt x="859" y="35"/>
                    <a:pt x="859" y="35"/>
                    <a:pt x="858" y="35"/>
                  </a:cubicBezTo>
                  <a:close/>
                  <a:moveTo>
                    <a:pt x="879" y="35"/>
                  </a:moveTo>
                  <a:cubicBezTo>
                    <a:pt x="879" y="35"/>
                    <a:pt x="880" y="35"/>
                    <a:pt x="880" y="35"/>
                  </a:cubicBezTo>
                  <a:cubicBezTo>
                    <a:pt x="879" y="35"/>
                    <a:pt x="879" y="35"/>
                    <a:pt x="879" y="35"/>
                  </a:cubicBezTo>
                  <a:close/>
                  <a:moveTo>
                    <a:pt x="901" y="35"/>
                  </a:moveTo>
                  <a:cubicBezTo>
                    <a:pt x="901" y="35"/>
                    <a:pt x="902" y="35"/>
                    <a:pt x="902" y="35"/>
                  </a:cubicBezTo>
                  <a:cubicBezTo>
                    <a:pt x="902" y="35"/>
                    <a:pt x="901" y="35"/>
                    <a:pt x="901" y="35"/>
                  </a:cubicBezTo>
                  <a:close/>
                  <a:moveTo>
                    <a:pt x="1048" y="35"/>
                  </a:moveTo>
                  <a:cubicBezTo>
                    <a:pt x="1048" y="35"/>
                    <a:pt x="1049" y="35"/>
                    <a:pt x="1049" y="35"/>
                  </a:cubicBezTo>
                  <a:cubicBezTo>
                    <a:pt x="1049" y="35"/>
                    <a:pt x="1048" y="35"/>
                    <a:pt x="1048" y="35"/>
                  </a:cubicBezTo>
                  <a:close/>
                  <a:moveTo>
                    <a:pt x="1072" y="35"/>
                  </a:moveTo>
                  <a:cubicBezTo>
                    <a:pt x="1072" y="35"/>
                    <a:pt x="1072" y="35"/>
                    <a:pt x="1073" y="35"/>
                  </a:cubicBezTo>
                  <a:cubicBezTo>
                    <a:pt x="1073" y="35"/>
                    <a:pt x="1072" y="35"/>
                    <a:pt x="1072" y="35"/>
                  </a:cubicBezTo>
                  <a:close/>
                  <a:moveTo>
                    <a:pt x="1121" y="35"/>
                  </a:moveTo>
                  <a:cubicBezTo>
                    <a:pt x="1121" y="35"/>
                    <a:pt x="1121" y="35"/>
                    <a:pt x="1122" y="35"/>
                  </a:cubicBezTo>
                  <a:cubicBezTo>
                    <a:pt x="1121" y="35"/>
                    <a:pt x="1121" y="35"/>
                    <a:pt x="1121" y="35"/>
                  </a:cubicBezTo>
                  <a:close/>
                  <a:moveTo>
                    <a:pt x="1226" y="35"/>
                  </a:moveTo>
                  <a:cubicBezTo>
                    <a:pt x="1226" y="35"/>
                    <a:pt x="1227" y="35"/>
                    <a:pt x="1227" y="35"/>
                  </a:cubicBezTo>
                  <a:cubicBezTo>
                    <a:pt x="1226" y="35"/>
                    <a:pt x="1226" y="35"/>
                    <a:pt x="1226" y="35"/>
                  </a:cubicBezTo>
                  <a:close/>
                  <a:moveTo>
                    <a:pt x="1250" y="35"/>
                  </a:moveTo>
                  <a:cubicBezTo>
                    <a:pt x="1250" y="35"/>
                    <a:pt x="1250" y="35"/>
                    <a:pt x="1250" y="35"/>
                  </a:cubicBezTo>
                  <a:cubicBezTo>
                    <a:pt x="1250" y="35"/>
                    <a:pt x="1250" y="35"/>
                    <a:pt x="1250" y="35"/>
                  </a:cubicBezTo>
                  <a:close/>
                  <a:moveTo>
                    <a:pt x="1298" y="35"/>
                  </a:moveTo>
                  <a:cubicBezTo>
                    <a:pt x="1298" y="35"/>
                    <a:pt x="1298" y="35"/>
                    <a:pt x="1298" y="35"/>
                  </a:cubicBezTo>
                  <a:cubicBezTo>
                    <a:pt x="1298" y="35"/>
                    <a:pt x="1298" y="35"/>
                    <a:pt x="1298" y="35"/>
                  </a:cubicBezTo>
                  <a:close/>
                  <a:moveTo>
                    <a:pt x="605" y="35"/>
                  </a:moveTo>
                  <a:cubicBezTo>
                    <a:pt x="605" y="35"/>
                    <a:pt x="605" y="36"/>
                    <a:pt x="605" y="36"/>
                  </a:cubicBezTo>
                  <a:cubicBezTo>
                    <a:pt x="605" y="35"/>
                    <a:pt x="605" y="35"/>
                    <a:pt x="605" y="35"/>
                  </a:cubicBezTo>
                  <a:close/>
                  <a:moveTo>
                    <a:pt x="695" y="35"/>
                  </a:moveTo>
                  <a:cubicBezTo>
                    <a:pt x="695" y="35"/>
                    <a:pt x="696" y="35"/>
                    <a:pt x="696" y="35"/>
                  </a:cubicBezTo>
                  <a:cubicBezTo>
                    <a:pt x="696" y="35"/>
                    <a:pt x="695" y="35"/>
                    <a:pt x="695" y="35"/>
                  </a:cubicBezTo>
                  <a:close/>
                  <a:moveTo>
                    <a:pt x="790" y="35"/>
                  </a:moveTo>
                  <a:cubicBezTo>
                    <a:pt x="791" y="35"/>
                    <a:pt x="791" y="35"/>
                    <a:pt x="791" y="35"/>
                  </a:cubicBezTo>
                  <a:cubicBezTo>
                    <a:pt x="791" y="35"/>
                    <a:pt x="791" y="35"/>
                    <a:pt x="790" y="35"/>
                  </a:cubicBezTo>
                  <a:close/>
                  <a:moveTo>
                    <a:pt x="837" y="35"/>
                  </a:moveTo>
                  <a:cubicBezTo>
                    <a:pt x="837" y="35"/>
                    <a:pt x="838" y="35"/>
                    <a:pt x="838" y="35"/>
                  </a:cubicBezTo>
                  <a:cubicBezTo>
                    <a:pt x="838" y="35"/>
                    <a:pt x="837" y="35"/>
                    <a:pt x="837" y="35"/>
                  </a:cubicBezTo>
                  <a:close/>
                  <a:moveTo>
                    <a:pt x="753" y="47"/>
                  </a:moveTo>
                  <a:cubicBezTo>
                    <a:pt x="753" y="46"/>
                    <a:pt x="753" y="46"/>
                    <a:pt x="753" y="46"/>
                  </a:cubicBezTo>
                  <a:cubicBezTo>
                    <a:pt x="753" y="46"/>
                    <a:pt x="753" y="46"/>
                    <a:pt x="753" y="47"/>
                  </a:cubicBezTo>
                  <a:close/>
                  <a:moveTo>
                    <a:pt x="638" y="52"/>
                  </a:moveTo>
                  <a:cubicBezTo>
                    <a:pt x="638" y="51"/>
                    <a:pt x="638" y="51"/>
                    <a:pt x="638" y="51"/>
                  </a:cubicBezTo>
                  <a:cubicBezTo>
                    <a:pt x="638" y="51"/>
                    <a:pt x="638" y="51"/>
                    <a:pt x="638" y="52"/>
                  </a:cubicBezTo>
                  <a:close/>
                  <a:moveTo>
                    <a:pt x="967" y="35"/>
                  </a:moveTo>
                  <a:cubicBezTo>
                    <a:pt x="967" y="35"/>
                    <a:pt x="967" y="35"/>
                    <a:pt x="967" y="36"/>
                  </a:cubicBezTo>
                  <a:cubicBezTo>
                    <a:pt x="967" y="36"/>
                    <a:pt x="967" y="35"/>
                    <a:pt x="967" y="35"/>
                  </a:cubicBezTo>
                  <a:close/>
                  <a:moveTo>
                    <a:pt x="1047" y="35"/>
                  </a:moveTo>
                  <a:cubicBezTo>
                    <a:pt x="1048" y="35"/>
                    <a:pt x="1048" y="35"/>
                    <a:pt x="1048" y="35"/>
                  </a:cubicBezTo>
                  <a:cubicBezTo>
                    <a:pt x="1048" y="35"/>
                    <a:pt x="1048" y="35"/>
                    <a:pt x="1047" y="35"/>
                  </a:cubicBezTo>
                  <a:close/>
                  <a:moveTo>
                    <a:pt x="1073" y="35"/>
                  </a:moveTo>
                  <a:cubicBezTo>
                    <a:pt x="1073" y="35"/>
                    <a:pt x="1073" y="35"/>
                    <a:pt x="1073" y="35"/>
                  </a:cubicBezTo>
                  <a:cubicBezTo>
                    <a:pt x="1073" y="35"/>
                    <a:pt x="1073" y="35"/>
                    <a:pt x="1073" y="35"/>
                  </a:cubicBezTo>
                  <a:close/>
                  <a:moveTo>
                    <a:pt x="1120" y="35"/>
                  </a:moveTo>
                  <a:cubicBezTo>
                    <a:pt x="1120" y="35"/>
                    <a:pt x="1121" y="35"/>
                    <a:pt x="1121" y="35"/>
                  </a:cubicBezTo>
                  <a:cubicBezTo>
                    <a:pt x="1121" y="35"/>
                    <a:pt x="1120" y="35"/>
                    <a:pt x="1120" y="35"/>
                  </a:cubicBezTo>
                  <a:close/>
                  <a:moveTo>
                    <a:pt x="1225" y="35"/>
                  </a:moveTo>
                  <a:cubicBezTo>
                    <a:pt x="1226" y="35"/>
                    <a:pt x="1226" y="35"/>
                    <a:pt x="1226" y="35"/>
                  </a:cubicBezTo>
                  <a:cubicBezTo>
                    <a:pt x="1226" y="35"/>
                    <a:pt x="1225" y="35"/>
                    <a:pt x="1225" y="35"/>
                  </a:cubicBezTo>
                  <a:close/>
                  <a:moveTo>
                    <a:pt x="1251" y="35"/>
                  </a:moveTo>
                  <a:cubicBezTo>
                    <a:pt x="1251" y="35"/>
                    <a:pt x="1251" y="35"/>
                    <a:pt x="1251" y="35"/>
                  </a:cubicBezTo>
                  <a:cubicBezTo>
                    <a:pt x="1251" y="35"/>
                    <a:pt x="1251" y="35"/>
                    <a:pt x="1251" y="35"/>
                  </a:cubicBezTo>
                  <a:close/>
                  <a:moveTo>
                    <a:pt x="549" y="35"/>
                  </a:moveTo>
                  <a:cubicBezTo>
                    <a:pt x="549" y="36"/>
                    <a:pt x="549" y="36"/>
                    <a:pt x="550" y="36"/>
                  </a:cubicBezTo>
                  <a:cubicBezTo>
                    <a:pt x="550" y="36"/>
                    <a:pt x="550" y="36"/>
                    <a:pt x="549" y="35"/>
                  </a:cubicBezTo>
                  <a:close/>
                  <a:moveTo>
                    <a:pt x="593" y="36"/>
                  </a:moveTo>
                  <a:cubicBezTo>
                    <a:pt x="593" y="36"/>
                    <a:pt x="593" y="35"/>
                    <a:pt x="592" y="35"/>
                  </a:cubicBezTo>
                  <a:cubicBezTo>
                    <a:pt x="592" y="36"/>
                    <a:pt x="592" y="36"/>
                    <a:pt x="593" y="36"/>
                  </a:cubicBezTo>
                  <a:close/>
                  <a:moveTo>
                    <a:pt x="655" y="35"/>
                  </a:moveTo>
                  <a:cubicBezTo>
                    <a:pt x="655" y="36"/>
                    <a:pt x="655" y="36"/>
                    <a:pt x="655" y="36"/>
                  </a:cubicBezTo>
                  <a:cubicBezTo>
                    <a:pt x="655" y="36"/>
                    <a:pt x="655" y="36"/>
                    <a:pt x="655" y="35"/>
                  </a:cubicBezTo>
                  <a:close/>
                  <a:moveTo>
                    <a:pt x="831" y="51"/>
                  </a:moveTo>
                  <a:cubicBezTo>
                    <a:pt x="831" y="51"/>
                    <a:pt x="830" y="51"/>
                    <a:pt x="830" y="51"/>
                  </a:cubicBezTo>
                  <a:cubicBezTo>
                    <a:pt x="831" y="51"/>
                    <a:pt x="831" y="51"/>
                    <a:pt x="831" y="51"/>
                  </a:cubicBezTo>
                  <a:close/>
                  <a:moveTo>
                    <a:pt x="696" y="35"/>
                  </a:moveTo>
                  <a:cubicBezTo>
                    <a:pt x="696" y="36"/>
                    <a:pt x="696" y="36"/>
                    <a:pt x="696" y="36"/>
                  </a:cubicBezTo>
                  <a:cubicBezTo>
                    <a:pt x="696" y="35"/>
                    <a:pt x="696" y="35"/>
                    <a:pt x="696" y="35"/>
                  </a:cubicBezTo>
                  <a:close/>
                  <a:moveTo>
                    <a:pt x="764" y="36"/>
                  </a:moveTo>
                  <a:cubicBezTo>
                    <a:pt x="765" y="36"/>
                    <a:pt x="765" y="36"/>
                    <a:pt x="765" y="35"/>
                  </a:cubicBezTo>
                  <a:cubicBezTo>
                    <a:pt x="765" y="35"/>
                    <a:pt x="765" y="35"/>
                    <a:pt x="764" y="36"/>
                  </a:cubicBezTo>
                  <a:close/>
                  <a:moveTo>
                    <a:pt x="791" y="35"/>
                  </a:moveTo>
                  <a:cubicBezTo>
                    <a:pt x="791" y="36"/>
                    <a:pt x="792" y="36"/>
                    <a:pt x="792" y="36"/>
                  </a:cubicBezTo>
                  <a:cubicBezTo>
                    <a:pt x="792" y="35"/>
                    <a:pt x="791" y="35"/>
                    <a:pt x="791" y="35"/>
                  </a:cubicBezTo>
                  <a:close/>
                  <a:moveTo>
                    <a:pt x="1084" y="46"/>
                  </a:moveTo>
                  <a:cubicBezTo>
                    <a:pt x="1084" y="46"/>
                    <a:pt x="1084" y="46"/>
                    <a:pt x="1084" y="47"/>
                  </a:cubicBezTo>
                  <a:cubicBezTo>
                    <a:pt x="1084" y="46"/>
                    <a:pt x="1084" y="46"/>
                    <a:pt x="1084" y="46"/>
                  </a:cubicBezTo>
                  <a:close/>
                  <a:moveTo>
                    <a:pt x="859" y="35"/>
                  </a:moveTo>
                  <a:cubicBezTo>
                    <a:pt x="860" y="36"/>
                    <a:pt x="860" y="36"/>
                    <a:pt x="860" y="36"/>
                  </a:cubicBezTo>
                  <a:cubicBezTo>
                    <a:pt x="860" y="35"/>
                    <a:pt x="860" y="35"/>
                    <a:pt x="859" y="35"/>
                  </a:cubicBezTo>
                  <a:close/>
                  <a:moveTo>
                    <a:pt x="1032" y="51"/>
                  </a:moveTo>
                  <a:cubicBezTo>
                    <a:pt x="1033" y="51"/>
                    <a:pt x="1033" y="51"/>
                    <a:pt x="1033" y="51"/>
                  </a:cubicBezTo>
                  <a:cubicBezTo>
                    <a:pt x="1032" y="51"/>
                    <a:pt x="1032" y="51"/>
                    <a:pt x="1032" y="51"/>
                  </a:cubicBezTo>
                  <a:close/>
                  <a:moveTo>
                    <a:pt x="954" y="36"/>
                  </a:moveTo>
                  <a:cubicBezTo>
                    <a:pt x="954" y="36"/>
                    <a:pt x="954" y="36"/>
                    <a:pt x="954" y="35"/>
                  </a:cubicBezTo>
                  <a:cubicBezTo>
                    <a:pt x="954" y="36"/>
                    <a:pt x="954" y="36"/>
                    <a:pt x="954" y="36"/>
                  </a:cubicBezTo>
                  <a:close/>
                  <a:moveTo>
                    <a:pt x="1047" y="36"/>
                  </a:moveTo>
                  <a:cubicBezTo>
                    <a:pt x="1047" y="36"/>
                    <a:pt x="1047" y="36"/>
                    <a:pt x="1047" y="35"/>
                  </a:cubicBezTo>
                  <a:cubicBezTo>
                    <a:pt x="1047" y="35"/>
                    <a:pt x="1047" y="35"/>
                    <a:pt x="1047" y="36"/>
                  </a:cubicBezTo>
                  <a:close/>
                  <a:moveTo>
                    <a:pt x="1073" y="35"/>
                  </a:moveTo>
                  <a:cubicBezTo>
                    <a:pt x="1074" y="36"/>
                    <a:pt x="1074" y="36"/>
                    <a:pt x="1074" y="36"/>
                  </a:cubicBezTo>
                  <a:cubicBezTo>
                    <a:pt x="1074" y="35"/>
                    <a:pt x="1074" y="35"/>
                    <a:pt x="1073" y="35"/>
                  </a:cubicBezTo>
                  <a:close/>
                  <a:moveTo>
                    <a:pt x="1119" y="36"/>
                  </a:moveTo>
                  <a:cubicBezTo>
                    <a:pt x="1120" y="36"/>
                    <a:pt x="1120" y="36"/>
                    <a:pt x="1120" y="35"/>
                  </a:cubicBezTo>
                  <a:cubicBezTo>
                    <a:pt x="1120" y="35"/>
                    <a:pt x="1120" y="35"/>
                    <a:pt x="1119" y="36"/>
                  </a:cubicBezTo>
                  <a:close/>
                  <a:moveTo>
                    <a:pt x="1144" y="35"/>
                  </a:moveTo>
                  <a:cubicBezTo>
                    <a:pt x="1144" y="36"/>
                    <a:pt x="1145" y="36"/>
                    <a:pt x="1145" y="36"/>
                  </a:cubicBezTo>
                  <a:cubicBezTo>
                    <a:pt x="1145" y="35"/>
                    <a:pt x="1144" y="35"/>
                    <a:pt x="1144" y="35"/>
                  </a:cubicBezTo>
                  <a:close/>
                  <a:moveTo>
                    <a:pt x="1225" y="36"/>
                  </a:moveTo>
                  <a:cubicBezTo>
                    <a:pt x="1225" y="36"/>
                    <a:pt x="1225" y="36"/>
                    <a:pt x="1225" y="35"/>
                  </a:cubicBezTo>
                  <a:cubicBezTo>
                    <a:pt x="1225" y="35"/>
                    <a:pt x="1225" y="35"/>
                    <a:pt x="1225" y="36"/>
                  </a:cubicBezTo>
                  <a:close/>
                  <a:moveTo>
                    <a:pt x="1251" y="35"/>
                  </a:moveTo>
                  <a:cubicBezTo>
                    <a:pt x="1251" y="36"/>
                    <a:pt x="1252" y="36"/>
                    <a:pt x="1252" y="36"/>
                  </a:cubicBezTo>
                  <a:cubicBezTo>
                    <a:pt x="1252" y="35"/>
                    <a:pt x="1252" y="35"/>
                    <a:pt x="1251" y="35"/>
                  </a:cubicBezTo>
                  <a:close/>
                  <a:moveTo>
                    <a:pt x="1297" y="36"/>
                  </a:moveTo>
                  <a:cubicBezTo>
                    <a:pt x="1297" y="36"/>
                    <a:pt x="1297" y="36"/>
                    <a:pt x="1297" y="35"/>
                  </a:cubicBezTo>
                  <a:cubicBezTo>
                    <a:pt x="1297" y="35"/>
                    <a:pt x="1297" y="35"/>
                    <a:pt x="1297" y="36"/>
                  </a:cubicBezTo>
                  <a:close/>
                  <a:moveTo>
                    <a:pt x="668" y="36"/>
                  </a:moveTo>
                  <a:cubicBezTo>
                    <a:pt x="668" y="36"/>
                    <a:pt x="668" y="36"/>
                    <a:pt x="669" y="36"/>
                  </a:cubicBezTo>
                  <a:cubicBezTo>
                    <a:pt x="668" y="36"/>
                    <a:pt x="668" y="36"/>
                    <a:pt x="668" y="36"/>
                  </a:cubicBezTo>
                  <a:close/>
                  <a:moveTo>
                    <a:pt x="1296" y="46"/>
                  </a:moveTo>
                  <a:cubicBezTo>
                    <a:pt x="1296" y="46"/>
                    <a:pt x="1296" y="46"/>
                    <a:pt x="1296" y="46"/>
                  </a:cubicBezTo>
                  <a:cubicBezTo>
                    <a:pt x="1296" y="46"/>
                    <a:pt x="1296" y="46"/>
                    <a:pt x="1296" y="46"/>
                  </a:cubicBezTo>
                  <a:close/>
                  <a:moveTo>
                    <a:pt x="792" y="36"/>
                  </a:moveTo>
                  <a:cubicBezTo>
                    <a:pt x="792" y="36"/>
                    <a:pt x="792" y="36"/>
                    <a:pt x="793" y="36"/>
                  </a:cubicBezTo>
                  <a:cubicBezTo>
                    <a:pt x="792" y="36"/>
                    <a:pt x="792" y="36"/>
                    <a:pt x="792" y="36"/>
                  </a:cubicBezTo>
                  <a:close/>
                  <a:moveTo>
                    <a:pt x="836" y="36"/>
                  </a:moveTo>
                  <a:cubicBezTo>
                    <a:pt x="836" y="36"/>
                    <a:pt x="837" y="36"/>
                    <a:pt x="837" y="36"/>
                  </a:cubicBezTo>
                  <a:cubicBezTo>
                    <a:pt x="836" y="36"/>
                    <a:pt x="836" y="36"/>
                    <a:pt x="836" y="36"/>
                  </a:cubicBezTo>
                  <a:close/>
                  <a:moveTo>
                    <a:pt x="860" y="36"/>
                  </a:moveTo>
                  <a:cubicBezTo>
                    <a:pt x="860" y="36"/>
                    <a:pt x="860" y="36"/>
                    <a:pt x="861" y="36"/>
                  </a:cubicBezTo>
                  <a:cubicBezTo>
                    <a:pt x="861" y="36"/>
                    <a:pt x="860" y="36"/>
                    <a:pt x="860" y="36"/>
                  </a:cubicBezTo>
                  <a:close/>
                  <a:moveTo>
                    <a:pt x="877" y="36"/>
                  </a:moveTo>
                  <a:cubicBezTo>
                    <a:pt x="877" y="36"/>
                    <a:pt x="878" y="36"/>
                    <a:pt x="878" y="36"/>
                  </a:cubicBezTo>
                  <a:cubicBezTo>
                    <a:pt x="878" y="36"/>
                    <a:pt x="877" y="36"/>
                    <a:pt x="877" y="36"/>
                  </a:cubicBezTo>
                  <a:close/>
                  <a:moveTo>
                    <a:pt x="903" y="36"/>
                  </a:moveTo>
                  <a:cubicBezTo>
                    <a:pt x="903" y="36"/>
                    <a:pt x="903" y="36"/>
                    <a:pt x="904" y="36"/>
                  </a:cubicBezTo>
                  <a:cubicBezTo>
                    <a:pt x="903" y="36"/>
                    <a:pt x="903" y="36"/>
                    <a:pt x="903" y="36"/>
                  </a:cubicBezTo>
                  <a:close/>
                  <a:moveTo>
                    <a:pt x="967" y="36"/>
                  </a:moveTo>
                  <a:cubicBezTo>
                    <a:pt x="966" y="36"/>
                    <a:pt x="966" y="36"/>
                    <a:pt x="966" y="36"/>
                  </a:cubicBezTo>
                  <a:cubicBezTo>
                    <a:pt x="967" y="36"/>
                    <a:pt x="967" y="36"/>
                    <a:pt x="967" y="36"/>
                  </a:cubicBezTo>
                  <a:close/>
                  <a:moveTo>
                    <a:pt x="1046" y="36"/>
                  </a:moveTo>
                  <a:cubicBezTo>
                    <a:pt x="1046" y="36"/>
                    <a:pt x="1047" y="36"/>
                    <a:pt x="1047" y="36"/>
                  </a:cubicBezTo>
                  <a:cubicBezTo>
                    <a:pt x="1046" y="36"/>
                    <a:pt x="1046" y="36"/>
                    <a:pt x="1046" y="36"/>
                  </a:cubicBezTo>
                  <a:close/>
                  <a:moveTo>
                    <a:pt x="1142" y="51"/>
                  </a:moveTo>
                  <a:cubicBezTo>
                    <a:pt x="1142" y="51"/>
                    <a:pt x="1142" y="51"/>
                    <a:pt x="1142" y="51"/>
                  </a:cubicBezTo>
                  <a:cubicBezTo>
                    <a:pt x="1142" y="51"/>
                    <a:pt x="1142" y="51"/>
                    <a:pt x="1142" y="51"/>
                  </a:cubicBezTo>
                  <a:close/>
                  <a:moveTo>
                    <a:pt x="1119" y="36"/>
                  </a:moveTo>
                  <a:cubicBezTo>
                    <a:pt x="1119" y="36"/>
                    <a:pt x="1119" y="36"/>
                    <a:pt x="1119" y="36"/>
                  </a:cubicBezTo>
                  <a:cubicBezTo>
                    <a:pt x="1119" y="36"/>
                    <a:pt x="1119" y="36"/>
                    <a:pt x="1119" y="36"/>
                  </a:cubicBezTo>
                  <a:close/>
                  <a:moveTo>
                    <a:pt x="1566" y="47"/>
                  </a:moveTo>
                  <a:cubicBezTo>
                    <a:pt x="1567" y="46"/>
                    <a:pt x="1567" y="46"/>
                    <a:pt x="1567" y="46"/>
                  </a:cubicBezTo>
                  <a:cubicBezTo>
                    <a:pt x="1566" y="46"/>
                    <a:pt x="1566" y="46"/>
                    <a:pt x="1566" y="47"/>
                  </a:cubicBezTo>
                  <a:close/>
                  <a:moveTo>
                    <a:pt x="1224" y="36"/>
                  </a:moveTo>
                  <a:cubicBezTo>
                    <a:pt x="1224" y="36"/>
                    <a:pt x="1224" y="36"/>
                    <a:pt x="1225" y="36"/>
                  </a:cubicBezTo>
                  <a:cubicBezTo>
                    <a:pt x="1224" y="36"/>
                    <a:pt x="1224" y="36"/>
                    <a:pt x="1224" y="36"/>
                  </a:cubicBezTo>
                  <a:close/>
                  <a:moveTo>
                    <a:pt x="1735" y="47"/>
                  </a:moveTo>
                  <a:cubicBezTo>
                    <a:pt x="1735" y="46"/>
                    <a:pt x="1735" y="46"/>
                    <a:pt x="1735" y="46"/>
                  </a:cubicBezTo>
                  <a:cubicBezTo>
                    <a:pt x="1735" y="46"/>
                    <a:pt x="1735" y="46"/>
                    <a:pt x="1735" y="47"/>
                  </a:cubicBezTo>
                  <a:close/>
                  <a:moveTo>
                    <a:pt x="593" y="37"/>
                  </a:moveTo>
                  <a:cubicBezTo>
                    <a:pt x="593" y="36"/>
                    <a:pt x="593" y="36"/>
                    <a:pt x="593" y="36"/>
                  </a:cubicBezTo>
                  <a:cubicBezTo>
                    <a:pt x="593" y="36"/>
                    <a:pt x="593" y="37"/>
                    <a:pt x="593" y="37"/>
                  </a:cubicBezTo>
                  <a:close/>
                  <a:moveTo>
                    <a:pt x="667" y="37"/>
                  </a:moveTo>
                  <a:cubicBezTo>
                    <a:pt x="668" y="36"/>
                    <a:pt x="668" y="36"/>
                    <a:pt x="668" y="36"/>
                  </a:cubicBezTo>
                  <a:cubicBezTo>
                    <a:pt x="668" y="36"/>
                    <a:pt x="667" y="36"/>
                    <a:pt x="667" y="37"/>
                  </a:cubicBezTo>
                  <a:close/>
                  <a:moveTo>
                    <a:pt x="560" y="46"/>
                  </a:moveTo>
                  <a:cubicBezTo>
                    <a:pt x="560" y="46"/>
                    <a:pt x="560" y="47"/>
                    <a:pt x="560" y="47"/>
                  </a:cubicBezTo>
                  <a:cubicBezTo>
                    <a:pt x="560" y="46"/>
                    <a:pt x="560" y="46"/>
                    <a:pt x="560" y="46"/>
                  </a:cubicBezTo>
                  <a:close/>
                  <a:moveTo>
                    <a:pt x="793" y="36"/>
                  </a:moveTo>
                  <a:cubicBezTo>
                    <a:pt x="793" y="36"/>
                    <a:pt x="793" y="36"/>
                    <a:pt x="793" y="37"/>
                  </a:cubicBezTo>
                  <a:cubicBezTo>
                    <a:pt x="793" y="36"/>
                    <a:pt x="793" y="36"/>
                    <a:pt x="793" y="36"/>
                  </a:cubicBezTo>
                  <a:close/>
                  <a:moveTo>
                    <a:pt x="1210" y="51"/>
                  </a:moveTo>
                  <a:cubicBezTo>
                    <a:pt x="1211" y="51"/>
                    <a:pt x="1211" y="51"/>
                    <a:pt x="1211" y="51"/>
                  </a:cubicBezTo>
                  <a:cubicBezTo>
                    <a:pt x="1210" y="51"/>
                    <a:pt x="1210" y="51"/>
                    <a:pt x="1210" y="51"/>
                  </a:cubicBezTo>
                  <a:close/>
                  <a:moveTo>
                    <a:pt x="1045" y="36"/>
                  </a:moveTo>
                  <a:cubicBezTo>
                    <a:pt x="1046" y="36"/>
                    <a:pt x="1046" y="36"/>
                    <a:pt x="1046" y="36"/>
                  </a:cubicBezTo>
                  <a:cubicBezTo>
                    <a:pt x="1046" y="36"/>
                    <a:pt x="1045" y="36"/>
                    <a:pt x="1045" y="36"/>
                  </a:cubicBezTo>
                  <a:close/>
                  <a:moveTo>
                    <a:pt x="696" y="47"/>
                  </a:moveTo>
                  <a:cubicBezTo>
                    <a:pt x="696" y="46"/>
                    <a:pt x="696" y="46"/>
                    <a:pt x="695" y="46"/>
                  </a:cubicBezTo>
                  <a:cubicBezTo>
                    <a:pt x="696" y="46"/>
                    <a:pt x="696" y="47"/>
                    <a:pt x="696" y="47"/>
                  </a:cubicBezTo>
                  <a:close/>
                  <a:moveTo>
                    <a:pt x="802" y="46"/>
                  </a:moveTo>
                  <a:cubicBezTo>
                    <a:pt x="802" y="46"/>
                    <a:pt x="802" y="47"/>
                    <a:pt x="802" y="47"/>
                  </a:cubicBezTo>
                  <a:cubicBezTo>
                    <a:pt x="802" y="47"/>
                    <a:pt x="802" y="46"/>
                    <a:pt x="802" y="46"/>
                  </a:cubicBezTo>
                  <a:close/>
                  <a:moveTo>
                    <a:pt x="1145" y="36"/>
                  </a:moveTo>
                  <a:cubicBezTo>
                    <a:pt x="1145" y="36"/>
                    <a:pt x="1146" y="36"/>
                    <a:pt x="1146" y="36"/>
                  </a:cubicBezTo>
                  <a:cubicBezTo>
                    <a:pt x="1146" y="36"/>
                    <a:pt x="1146" y="36"/>
                    <a:pt x="1145" y="36"/>
                  </a:cubicBezTo>
                  <a:close/>
                  <a:moveTo>
                    <a:pt x="1223" y="36"/>
                  </a:moveTo>
                  <a:cubicBezTo>
                    <a:pt x="1223" y="36"/>
                    <a:pt x="1224" y="36"/>
                    <a:pt x="1224" y="36"/>
                  </a:cubicBezTo>
                  <a:cubicBezTo>
                    <a:pt x="1224" y="36"/>
                    <a:pt x="1223" y="36"/>
                    <a:pt x="1223" y="36"/>
                  </a:cubicBezTo>
                  <a:close/>
                  <a:moveTo>
                    <a:pt x="1252" y="36"/>
                  </a:moveTo>
                  <a:cubicBezTo>
                    <a:pt x="1253" y="36"/>
                    <a:pt x="1253" y="36"/>
                    <a:pt x="1253" y="36"/>
                  </a:cubicBezTo>
                  <a:cubicBezTo>
                    <a:pt x="1253" y="36"/>
                    <a:pt x="1253" y="36"/>
                    <a:pt x="1252" y="36"/>
                  </a:cubicBezTo>
                  <a:close/>
                  <a:moveTo>
                    <a:pt x="550" y="36"/>
                  </a:moveTo>
                  <a:cubicBezTo>
                    <a:pt x="550" y="37"/>
                    <a:pt x="550" y="37"/>
                    <a:pt x="550" y="37"/>
                  </a:cubicBezTo>
                  <a:cubicBezTo>
                    <a:pt x="550" y="37"/>
                    <a:pt x="550" y="37"/>
                    <a:pt x="550" y="36"/>
                  </a:cubicBezTo>
                  <a:close/>
                  <a:moveTo>
                    <a:pt x="643" y="37"/>
                  </a:moveTo>
                  <a:cubicBezTo>
                    <a:pt x="644" y="37"/>
                    <a:pt x="644" y="37"/>
                    <a:pt x="644" y="36"/>
                  </a:cubicBezTo>
                  <a:cubicBezTo>
                    <a:pt x="643" y="37"/>
                    <a:pt x="643" y="37"/>
                    <a:pt x="643" y="37"/>
                  </a:cubicBezTo>
                  <a:close/>
                  <a:moveTo>
                    <a:pt x="655" y="36"/>
                  </a:moveTo>
                  <a:cubicBezTo>
                    <a:pt x="655" y="36"/>
                    <a:pt x="655" y="37"/>
                    <a:pt x="655" y="37"/>
                  </a:cubicBezTo>
                  <a:cubicBezTo>
                    <a:pt x="655" y="37"/>
                    <a:pt x="655" y="37"/>
                    <a:pt x="655" y="36"/>
                  </a:cubicBezTo>
                  <a:close/>
                  <a:moveTo>
                    <a:pt x="763" y="37"/>
                  </a:moveTo>
                  <a:cubicBezTo>
                    <a:pt x="763" y="37"/>
                    <a:pt x="763" y="37"/>
                    <a:pt x="763" y="36"/>
                  </a:cubicBezTo>
                  <a:cubicBezTo>
                    <a:pt x="763" y="36"/>
                    <a:pt x="763" y="36"/>
                    <a:pt x="763" y="37"/>
                  </a:cubicBezTo>
                  <a:close/>
                  <a:moveTo>
                    <a:pt x="898" y="47"/>
                  </a:moveTo>
                  <a:cubicBezTo>
                    <a:pt x="898" y="47"/>
                    <a:pt x="898" y="46"/>
                    <a:pt x="898" y="46"/>
                  </a:cubicBezTo>
                  <a:cubicBezTo>
                    <a:pt x="898" y="46"/>
                    <a:pt x="898" y="47"/>
                    <a:pt x="898" y="47"/>
                  </a:cubicBezTo>
                  <a:close/>
                  <a:moveTo>
                    <a:pt x="1035" y="47"/>
                  </a:moveTo>
                  <a:cubicBezTo>
                    <a:pt x="1035" y="47"/>
                    <a:pt x="1035" y="46"/>
                    <a:pt x="1035" y="46"/>
                  </a:cubicBezTo>
                  <a:cubicBezTo>
                    <a:pt x="1035" y="46"/>
                    <a:pt x="1035" y="47"/>
                    <a:pt x="1035" y="47"/>
                  </a:cubicBezTo>
                  <a:close/>
                  <a:moveTo>
                    <a:pt x="1392" y="51"/>
                  </a:moveTo>
                  <a:cubicBezTo>
                    <a:pt x="1391" y="51"/>
                    <a:pt x="1391" y="51"/>
                    <a:pt x="1391" y="51"/>
                  </a:cubicBezTo>
                  <a:cubicBezTo>
                    <a:pt x="1392" y="51"/>
                    <a:pt x="1392" y="51"/>
                    <a:pt x="1392" y="51"/>
                  </a:cubicBezTo>
                  <a:close/>
                  <a:moveTo>
                    <a:pt x="966" y="36"/>
                  </a:moveTo>
                  <a:cubicBezTo>
                    <a:pt x="966" y="37"/>
                    <a:pt x="966" y="37"/>
                    <a:pt x="966" y="37"/>
                  </a:cubicBezTo>
                  <a:cubicBezTo>
                    <a:pt x="966" y="37"/>
                    <a:pt x="966" y="37"/>
                    <a:pt x="966" y="36"/>
                  </a:cubicBezTo>
                  <a:close/>
                  <a:moveTo>
                    <a:pt x="568" y="51"/>
                  </a:moveTo>
                  <a:cubicBezTo>
                    <a:pt x="568" y="51"/>
                    <a:pt x="568" y="51"/>
                    <a:pt x="569" y="51"/>
                  </a:cubicBezTo>
                  <a:cubicBezTo>
                    <a:pt x="569" y="51"/>
                    <a:pt x="568" y="51"/>
                    <a:pt x="568" y="51"/>
                  </a:cubicBezTo>
                  <a:close/>
                  <a:moveTo>
                    <a:pt x="1075" y="36"/>
                  </a:moveTo>
                  <a:cubicBezTo>
                    <a:pt x="1075" y="37"/>
                    <a:pt x="1076" y="37"/>
                    <a:pt x="1076" y="37"/>
                  </a:cubicBezTo>
                  <a:cubicBezTo>
                    <a:pt x="1076" y="36"/>
                    <a:pt x="1076" y="36"/>
                    <a:pt x="1075" y="36"/>
                  </a:cubicBezTo>
                  <a:close/>
                  <a:moveTo>
                    <a:pt x="1118" y="37"/>
                  </a:moveTo>
                  <a:cubicBezTo>
                    <a:pt x="1118" y="37"/>
                    <a:pt x="1118" y="37"/>
                    <a:pt x="1118" y="36"/>
                  </a:cubicBezTo>
                  <a:cubicBezTo>
                    <a:pt x="1118" y="36"/>
                    <a:pt x="1118" y="36"/>
                    <a:pt x="1118" y="37"/>
                  </a:cubicBezTo>
                  <a:close/>
                  <a:moveTo>
                    <a:pt x="1153" y="46"/>
                  </a:moveTo>
                  <a:cubicBezTo>
                    <a:pt x="1153" y="46"/>
                    <a:pt x="1153" y="47"/>
                    <a:pt x="1153" y="47"/>
                  </a:cubicBezTo>
                  <a:cubicBezTo>
                    <a:pt x="1153" y="47"/>
                    <a:pt x="1153" y="46"/>
                    <a:pt x="1153" y="46"/>
                  </a:cubicBezTo>
                  <a:close/>
                  <a:moveTo>
                    <a:pt x="1223" y="37"/>
                  </a:moveTo>
                  <a:cubicBezTo>
                    <a:pt x="1223" y="37"/>
                    <a:pt x="1223" y="37"/>
                    <a:pt x="1223" y="36"/>
                  </a:cubicBezTo>
                  <a:cubicBezTo>
                    <a:pt x="1223" y="36"/>
                    <a:pt x="1223" y="36"/>
                    <a:pt x="1223" y="37"/>
                  </a:cubicBezTo>
                  <a:close/>
                  <a:moveTo>
                    <a:pt x="1253" y="36"/>
                  </a:moveTo>
                  <a:cubicBezTo>
                    <a:pt x="1253" y="37"/>
                    <a:pt x="1253" y="37"/>
                    <a:pt x="1254" y="37"/>
                  </a:cubicBezTo>
                  <a:cubicBezTo>
                    <a:pt x="1254" y="36"/>
                    <a:pt x="1253" y="36"/>
                    <a:pt x="1253" y="36"/>
                  </a:cubicBezTo>
                  <a:close/>
                  <a:moveTo>
                    <a:pt x="1213" y="47"/>
                  </a:moveTo>
                  <a:cubicBezTo>
                    <a:pt x="1213" y="47"/>
                    <a:pt x="1213" y="46"/>
                    <a:pt x="1213" y="46"/>
                  </a:cubicBezTo>
                  <a:cubicBezTo>
                    <a:pt x="1213" y="46"/>
                    <a:pt x="1213" y="47"/>
                    <a:pt x="1213" y="47"/>
                  </a:cubicBezTo>
                  <a:close/>
                  <a:moveTo>
                    <a:pt x="666" y="37"/>
                  </a:moveTo>
                  <a:cubicBezTo>
                    <a:pt x="667" y="37"/>
                    <a:pt x="667" y="37"/>
                    <a:pt x="667" y="37"/>
                  </a:cubicBezTo>
                  <a:cubicBezTo>
                    <a:pt x="667" y="37"/>
                    <a:pt x="666" y="37"/>
                    <a:pt x="666" y="37"/>
                  </a:cubicBezTo>
                  <a:close/>
                  <a:moveTo>
                    <a:pt x="762" y="37"/>
                  </a:moveTo>
                  <a:cubicBezTo>
                    <a:pt x="762" y="37"/>
                    <a:pt x="763" y="37"/>
                    <a:pt x="763" y="37"/>
                  </a:cubicBezTo>
                  <a:cubicBezTo>
                    <a:pt x="762" y="37"/>
                    <a:pt x="762" y="37"/>
                    <a:pt x="762" y="37"/>
                  </a:cubicBezTo>
                  <a:close/>
                  <a:moveTo>
                    <a:pt x="794" y="37"/>
                  </a:moveTo>
                  <a:cubicBezTo>
                    <a:pt x="794" y="37"/>
                    <a:pt x="794" y="37"/>
                    <a:pt x="794" y="37"/>
                  </a:cubicBezTo>
                  <a:cubicBezTo>
                    <a:pt x="794" y="37"/>
                    <a:pt x="794" y="37"/>
                    <a:pt x="794" y="37"/>
                  </a:cubicBezTo>
                  <a:close/>
                  <a:moveTo>
                    <a:pt x="750" y="52"/>
                  </a:moveTo>
                  <a:cubicBezTo>
                    <a:pt x="750" y="52"/>
                    <a:pt x="750" y="51"/>
                    <a:pt x="751" y="51"/>
                  </a:cubicBezTo>
                  <a:cubicBezTo>
                    <a:pt x="750" y="51"/>
                    <a:pt x="750" y="52"/>
                    <a:pt x="750" y="52"/>
                  </a:cubicBezTo>
                  <a:close/>
                  <a:moveTo>
                    <a:pt x="862" y="37"/>
                  </a:moveTo>
                  <a:cubicBezTo>
                    <a:pt x="862" y="37"/>
                    <a:pt x="862" y="37"/>
                    <a:pt x="862" y="37"/>
                  </a:cubicBezTo>
                  <a:cubicBezTo>
                    <a:pt x="862" y="37"/>
                    <a:pt x="862" y="37"/>
                    <a:pt x="862" y="37"/>
                  </a:cubicBezTo>
                  <a:close/>
                  <a:moveTo>
                    <a:pt x="858" y="52"/>
                  </a:moveTo>
                  <a:cubicBezTo>
                    <a:pt x="858" y="51"/>
                    <a:pt x="858" y="51"/>
                    <a:pt x="858" y="51"/>
                  </a:cubicBezTo>
                  <a:cubicBezTo>
                    <a:pt x="858" y="51"/>
                    <a:pt x="858" y="52"/>
                    <a:pt x="858" y="52"/>
                  </a:cubicBezTo>
                  <a:close/>
                  <a:moveTo>
                    <a:pt x="1044" y="37"/>
                  </a:moveTo>
                  <a:cubicBezTo>
                    <a:pt x="1045" y="37"/>
                    <a:pt x="1045" y="37"/>
                    <a:pt x="1045" y="37"/>
                  </a:cubicBezTo>
                  <a:cubicBezTo>
                    <a:pt x="1045" y="37"/>
                    <a:pt x="1044" y="37"/>
                    <a:pt x="1044" y="37"/>
                  </a:cubicBezTo>
                  <a:close/>
                  <a:moveTo>
                    <a:pt x="1382" y="47"/>
                  </a:moveTo>
                  <a:cubicBezTo>
                    <a:pt x="1382" y="47"/>
                    <a:pt x="1382" y="46"/>
                    <a:pt x="1382" y="46"/>
                  </a:cubicBezTo>
                  <a:cubicBezTo>
                    <a:pt x="1382" y="46"/>
                    <a:pt x="1382" y="47"/>
                    <a:pt x="1382" y="47"/>
                  </a:cubicBezTo>
                  <a:close/>
                  <a:moveTo>
                    <a:pt x="1394" y="46"/>
                  </a:moveTo>
                  <a:cubicBezTo>
                    <a:pt x="1394" y="46"/>
                    <a:pt x="1394" y="47"/>
                    <a:pt x="1394" y="47"/>
                  </a:cubicBezTo>
                  <a:cubicBezTo>
                    <a:pt x="1394" y="47"/>
                    <a:pt x="1394" y="46"/>
                    <a:pt x="1394" y="46"/>
                  </a:cubicBezTo>
                  <a:close/>
                  <a:moveTo>
                    <a:pt x="1579" y="46"/>
                  </a:moveTo>
                  <a:cubicBezTo>
                    <a:pt x="1578" y="46"/>
                    <a:pt x="1578" y="47"/>
                    <a:pt x="1578" y="47"/>
                  </a:cubicBezTo>
                  <a:cubicBezTo>
                    <a:pt x="1579" y="47"/>
                    <a:pt x="1579" y="46"/>
                    <a:pt x="1579" y="46"/>
                  </a:cubicBezTo>
                  <a:close/>
                  <a:moveTo>
                    <a:pt x="1681" y="46"/>
                  </a:moveTo>
                  <a:cubicBezTo>
                    <a:pt x="1681" y="46"/>
                    <a:pt x="1681" y="47"/>
                    <a:pt x="1680" y="47"/>
                  </a:cubicBezTo>
                  <a:cubicBezTo>
                    <a:pt x="1681" y="47"/>
                    <a:pt x="1681" y="46"/>
                    <a:pt x="1681" y="46"/>
                  </a:cubicBezTo>
                  <a:close/>
                  <a:moveTo>
                    <a:pt x="1747" y="46"/>
                  </a:moveTo>
                  <a:cubicBezTo>
                    <a:pt x="1746" y="46"/>
                    <a:pt x="1746" y="47"/>
                    <a:pt x="1746" y="47"/>
                  </a:cubicBezTo>
                  <a:cubicBezTo>
                    <a:pt x="1747" y="47"/>
                    <a:pt x="1747" y="46"/>
                    <a:pt x="1747" y="46"/>
                  </a:cubicBezTo>
                  <a:close/>
                  <a:moveTo>
                    <a:pt x="550" y="37"/>
                  </a:moveTo>
                  <a:cubicBezTo>
                    <a:pt x="550" y="37"/>
                    <a:pt x="550" y="38"/>
                    <a:pt x="550" y="38"/>
                  </a:cubicBezTo>
                  <a:cubicBezTo>
                    <a:pt x="550" y="38"/>
                    <a:pt x="550" y="37"/>
                    <a:pt x="550" y="37"/>
                  </a:cubicBezTo>
                  <a:close/>
                  <a:moveTo>
                    <a:pt x="593" y="38"/>
                  </a:moveTo>
                  <a:cubicBezTo>
                    <a:pt x="593" y="37"/>
                    <a:pt x="593" y="37"/>
                    <a:pt x="593" y="37"/>
                  </a:cubicBezTo>
                  <a:cubicBezTo>
                    <a:pt x="593" y="37"/>
                    <a:pt x="593" y="38"/>
                    <a:pt x="593" y="38"/>
                  </a:cubicBezTo>
                  <a:close/>
                  <a:moveTo>
                    <a:pt x="655" y="37"/>
                  </a:moveTo>
                  <a:cubicBezTo>
                    <a:pt x="654" y="37"/>
                    <a:pt x="654" y="38"/>
                    <a:pt x="654" y="38"/>
                  </a:cubicBezTo>
                  <a:cubicBezTo>
                    <a:pt x="655" y="38"/>
                    <a:pt x="655" y="37"/>
                    <a:pt x="655" y="37"/>
                  </a:cubicBezTo>
                  <a:close/>
                  <a:moveTo>
                    <a:pt x="560" y="47"/>
                  </a:moveTo>
                  <a:cubicBezTo>
                    <a:pt x="560" y="47"/>
                    <a:pt x="561" y="47"/>
                    <a:pt x="561" y="47"/>
                  </a:cubicBezTo>
                  <a:cubicBezTo>
                    <a:pt x="561" y="47"/>
                    <a:pt x="561" y="47"/>
                    <a:pt x="560" y="47"/>
                  </a:cubicBezTo>
                  <a:close/>
                  <a:moveTo>
                    <a:pt x="873" y="51"/>
                  </a:moveTo>
                  <a:cubicBezTo>
                    <a:pt x="873" y="51"/>
                    <a:pt x="873" y="51"/>
                    <a:pt x="873" y="52"/>
                  </a:cubicBezTo>
                  <a:cubicBezTo>
                    <a:pt x="873" y="52"/>
                    <a:pt x="873" y="51"/>
                    <a:pt x="873" y="51"/>
                  </a:cubicBezTo>
                  <a:close/>
                  <a:moveTo>
                    <a:pt x="753" y="47"/>
                  </a:moveTo>
                  <a:cubicBezTo>
                    <a:pt x="753" y="47"/>
                    <a:pt x="753" y="47"/>
                    <a:pt x="753" y="47"/>
                  </a:cubicBezTo>
                  <a:cubicBezTo>
                    <a:pt x="753" y="47"/>
                    <a:pt x="753" y="47"/>
                    <a:pt x="753" y="47"/>
                  </a:cubicBezTo>
                  <a:close/>
                  <a:moveTo>
                    <a:pt x="875" y="38"/>
                  </a:moveTo>
                  <a:cubicBezTo>
                    <a:pt x="875" y="38"/>
                    <a:pt x="876" y="37"/>
                    <a:pt x="876" y="37"/>
                  </a:cubicBezTo>
                  <a:cubicBezTo>
                    <a:pt x="875" y="37"/>
                    <a:pt x="875" y="37"/>
                    <a:pt x="875" y="38"/>
                  </a:cubicBezTo>
                  <a:close/>
                  <a:moveTo>
                    <a:pt x="1044" y="38"/>
                  </a:moveTo>
                  <a:cubicBezTo>
                    <a:pt x="1044" y="38"/>
                    <a:pt x="1044" y="37"/>
                    <a:pt x="1044" y="37"/>
                  </a:cubicBezTo>
                  <a:cubicBezTo>
                    <a:pt x="1044" y="37"/>
                    <a:pt x="1044" y="37"/>
                    <a:pt x="1044" y="38"/>
                  </a:cubicBezTo>
                  <a:close/>
                  <a:moveTo>
                    <a:pt x="1084" y="47"/>
                  </a:moveTo>
                  <a:cubicBezTo>
                    <a:pt x="1084" y="47"/>
                    <a:pt x="1084" y="47"/>
                    <a:pt x="1085" y="47"/>
                  </a:cubicBezTo>
                  <a:cubicBezTo>
                    <a:pt x="1085" y="47"/>
                    <a:pt x="1085" y="47"/>
                    <a:pt x="1084" y="47"/>
                  </a:cubicBezTo>
                  <a:close/>
                  <a:moveTo>
                    <a:pt x="1221" y="38"/>
                  </a:moveTo>
                  <a:cubicBezTo>
                    <a:pt x="1222" y="38"/>
                    <a:pt x="1222" y="37"/>
                    <a:pt x="1222" y="37"/>
                  </a:cubicBezTo>
                  <a:cubicBezTo>
                    <a:pt x="1222" y="37"/>
                    <a:pt x="1222" y="37"/>
                    <a:pt x="1221" y="38"/>
                  </a:cubicBezTo>
                  <a:close/>
                  <a:moveTo>
                    <a:pt x="643" y="38"/>
                  </a:moveTo>
                  <a:cubicBezTo>
                    <a:pt x="643" y="38"/>
                    <a:pt x="643" y="38"/>
                    <a:pt x="643" y="37"/>
                  </a:cubicBezTo>
                  <a:cubicBezTo>
                    <a:pt x="643" y="38"/>
                    <a:pt x="643" y="38"/>
                    <a:pt x="643" y="38"/>
                  </a:cubicBezTo>
                  <a:close/>
                  <a:moveTo>
                    <a:pt x="1113" y="51"/>
                  </a:moveTo>
                  <a:cubicBezTo>
                    <a:pt x="1113" y="51"/>
                    <a:pt x="1113" y="51"/>
                    <a:pt x="1113" y="52"/>
                  </a:cubicBezTo>
                  <a:cubicBezTo>
                    <a:pt x="1113" y="52"/>
                    <a:pt x="1113" y="51"/>
                    <a:pt x="1113" y="51"/>
                  </a:cubicBezTo>
                  <a:close/>
                  <a:moveTo>
                    <a:pt x="1292" y="51"/>
                  </a:moveTo>
                  <a:cubicBezTo>
                    <a:pt x="1291" y="51"/>
                    <a:pt x="1291" y="51"/>
                    <a:pt x="1291" y="52"/>
                  </a:cubicBezTo>
                  <a:cubicBezTo>
                    <a:pt x="1292" y="52"/>
                    <a:pt x="1292" y="51"/>
                    <a:pt x="1292" y="51"/>
                  </a:cubicBezTo>
                  <a:close/>
                  <a:moveTo>
                    <a:pt x="966" y="37"/>
                  </a:moveTo>
                  <a:cubicBezTo>
                    <a:pt x="966" y="38"/>
                    <a:pt x="966" y="38"/>
                    <a:pt x="966" y="38"/>
                  </a:cubicBezTo>
                  <a:cubicBezTo>
                    <a:pt x="966" y="38"/>
                    <a:pt x="966" y="38"/>
                    <a:pt x="966" y="37"/>
                  </a:cubicBezTo>
                  <a:close/>
                  <a:moveTo>
                    <a:pt x="597" y="48"/>
                  </a:moveTo>
                  <a:cubicBezTo>
                    <a:pt x="597" y="47"/>
                    <a:pt x="597" y="47"/>
                    <a:pt x="597" y="47"/>
                  </a:cubicBezTo>
                  <a:cubicBezTo>
                    <a:pt x="597" y="47"/>
                    <a:pt x="597" y="47"/>
                    <a:pt x="597" y="48"/>
                  </a:cubicBezTo>
                  <a:close/>
                  <a:moveTo>
                    <a:pt x="609" y="47"/>
                  </a:moveTo>
                  <a:cubicBezTo>
                    <a:pt x="609" y="47"/>
                    <a:pt x="609" y="47"/>
                    <a:pt x="609" y="48"/>
                  </a:cubicBezTo>
                  <a:cubicBezTo>
                    <a:pt x="609" y="47"/>
                    <a:pt x="609" y="47"/>
                    <a:pt x="609" y="47"/>
                  </a:cubicBezTo>
                  <a:close/>
                  <a:moveTo>
                    <a:pt x="639" y="48"/>
                  </a:moveTo>
                  <a:cubicBezTo>
                    <a:pt x="640" y="47"/>
                    <a:pt x="640" y="47"/>
                    <a:pt x="640" y="47"/>
                  </a:cubicBezTo>
                  <a:cubicBezTo>
                    <a:pt x="639" y="47"/>
                    <a:pt x="639" y="47"/>
                    <a:pt x="639" y="48"/>
                  </a:cubicBezTo>
                  <a:close/>
                  <a:moveTo>
                    <a:pt x="1255" y="37"/>
                  </a:moveTo>
                  <a:cubicBezTo>
                    <a:pt x="1255" y="38"/>
                    <a:pt x="1255" y="38"/>
                    <a:pt x="1255" y="38"/>
                  </a:cubicBezTo>
                  <a:cubicBezTo>
                    <a:pt x="1255" y="38"/>
                    <a:pt x="1255" y="37"/>
                    <a:pt x="1255" y="37"/>
                  </a:cubicBezTo>
                  <a:close/>
                  <a:moveTo>
                    <a:pt x="651" y="47"/>
                  </a:moveTo>
                  <a:cubicBezTo>
                    <a:pt x="651" y="47"/>
                    <a:pt x="651" y="47"/>
                    <a:pt x="651" y="48"/>
                  </a:cubicBezTo>
                  <a:cubicBezTo>
                    <a:pt x="651" y="47"/>
                    <a:pt x="651" y="47"/>
                    <a:pt x="651" y="47"/>
                  </a:cubicBezTo>
                  <a:close/>
                  <a:moveTo>
                    <a:pt x="594" y="39"/>
                  </a:moveTo>
                  <a:cubicBezTo>
                    <a:pt x="594" y="38"/>
                    <a:pt x="594" y="38"/>
                    <a:pt x="593" y="38"/>
                  </a:cubicBezTo>
                  <a:cubicBezTo>
                    <a:pt x="593" y="38"/>
                    <a:pt x="594" y="38"/>
                    <a:pt x="594" y="39"/>
                  </a:cubicBezTo>
                  <a:close/>
                  <a:moveTo>
                    <a:pt x="795" y="38"/>
                  </a:moveTo>
                  <a:cubicBezTo>
                    <a:pt x="795" y="38"/>
                    <a:pt x="795" y="38"/>
                    <a:pt x="796" y="38"/>
                  </a:cubicBezTo>
                  <a:cubicBezTo>
                    <a:pt x="796" y="38"/>
                    <a:pt x="795" y="38"/>
                    <a:pt x="795" y="38"/>
                  </a:cubicBezTo>
                  <a:close/>
                  <a:moveTo>
                    <a:pt x="671" y="47"/>
                  </a:moveTo>
                  <a:cubicBezTo>
                    <a:pt x="671" y="47"/>
                    <a:pt x="670" y="47"/>
                    <a:pt x="670" y="48"/>
                  </a:cubicBezTo>
                  <a:cubicBezTo>
                    <a:pt x="671" y="47"/>
                    <a:pt x="671" y="47"/>
                    <a:pt x="671" y="47"/>
                  </a:cubicBezTo>
                  <a:close/>
                  <a:moveTo>
                    <a:pt x="802" y="47"/>
                  </a:moveTo>
                  <a:cubicBezTo>
                    <a:pt x="802" y="47"/>
                    <a:pt x="802" y="47"/>
                    <a:pt x="803" y="48"/>
                  </a:cubicBezTo>
                  <a:cubicBezTo>
                    <a:pt x="803" y="47"/>
                    <a:pt x="803" y="47"/>
                    <a:pt x="802" y="47"/>
                  </a:cubicBezTo>
                  <a:close/>
                  <a:moveTo>
                    <a:pt x="1111" y="55"/>
                  </a:moveTo>
                  <a:cubicBezTo>
                    <a:pt x="1111" y="55"/>
                    <a:pt x="1111" y="56"/>
                    <a:pt x="1111" y="56"/>
                  </a:cubicBezTo>
                  <a:cubicBezTo>
                    <a:pt x="1111" y="56"/>
                    <a:pt x="1111" y="55"/>
                    <a:pt x="1111" y="55"/>
                  </a:cubicBezTo>
                  <a:close/>
                  <a:moveTo>
                    <a:pt x="1673" y="54"/>
                  </a:moveTo>
                  <a:cubicBezTo>
                    <a:pt x="1673" y="54"/>
                    <a:pt x="1673" y="55"/>
                    <a:pt x="1673" y="55"/>
                  </a:cubicBezTo>
                  <a:cubicBezTo>
                    <a:pt x="1673" y="55"/>
                    <a:pt x="1673" y="55"/>
                    <a:pt x="1673" y="54"/>
                  </a:cubicBezTo>
                  <a:close/>
                  <a:moveTo>
                    <a:pt x="1140" y="47"/>
                  </a:moveTo>
                  <a:cubicBezTo>
                    <a:pt x="1140" y="47"/>
                    <a:pt x="1140" y="47"/>
                    <a:pt x="1140" y="47"/>
                  </a:cubicBezTo>
                  <a:cubicBezTo>
                    <a:pt x="1140" y="47"/>
                    <a:pt x="1140" y="47"/>
                    <a:pt x="1140" y="47"/>
                  </a:cubicBezTo>
                  <a:close/>
                  <a:moveTo>
                    <a:pt x="551" y="38"/>
                  </a:moveTo>
                  <a:cubicBezTo>
                    <a:pt x="551" y="39"/>
                    <a:pt x="551" y="39"/>
                    <a:pt x="551" y="39"/>
                  </a:cubicBezTo>
                  <a:cubicBezTo>
                    <a:pt x="551" y="39"/>
                    <a:pt x="551" y="38"/>
                    <a:pt x="551" y="38"/>
                  </a:cubicBezTo>
                  <a:close/>
                  <a:moveTo>
                    <a:pt x="654" y="38"/>
                  </a:moveTo>
                  <a:cubicBezTo>
                    <a:pt x="654" y="38"/>
                    <a:pt x="654" y="39"/>
                    <a:pt x="654" y="39"/>
                  </a:cubicBezTo>
                  <a:cubicBezTo>
                    <a:pt x="654" y="39"/>
                    <a:pt x="654" y="38"/>
                    <a:pt x="654" y="38"/>
                  </a:cubicBezTo>
                  <a:close/>
                  <a:moveTo>
                    <a:pt x="569" y="51"/>
                  </a:moveTo>
                  <a:cubicBezTo>
                    <a:pt x="569" y="52"/>
                    <a:pt x="569" y="52"/>
                    <a:pt x="569" y="52"/>
                  </a:cubicBezTo>
                  <a:cubicBezTo>
                    <a:pt x="569" y="51"/>
                    <a:pt x="569" y="51"/>
                    <a:pt x="569" y="51"/>
                  </a:cubicBezTo>
                  <a:close/>
                  <a:moveTo>
                    <a:pt x="599" y="52"/>
                  </a:moveTo>
                  <a:cubicBezTo>
                    <a:pt x="599" y="52"/>
                    <a:pt x="599" y="51"/>
                    <a:pt x="599" y="51"/>
                  </a:cubicBezTo>
                  <a:cubicBezTo>
                    <a:pt x="599" y="52"/>
                    <a:pt x="599" y="52"/>
                    <a:pt x="599" y="52"/>
                  </a:cubicBezTo>
                  <a:close/>
                  <a:moveTo>
                    <a:pt x="649" y="51"/>
                  </a:moveTo>
                  <a:cubicBezTo>
                    <a:pt x="649" y="51"/>
                    <a:pt x="649" y="52"/>
                    <a:pt x="649" y="52"/>
                  </a:cubicBezTo>
                  <a:cubicBezTo>
                    <a:pt x="649" y="52"/>
                    <a:pt x="649" y="52"/>
                    <a:pt x="649" y="51"/>
                  </a:cubicBezTo>
                  <a:close/>
                  <a:moveTo>
                    <a:pt x="1394" y="47"/>
                  </a:moveTo>
                  <a:cubicBezTo>
                    <a:pt x="1394" y="47"/>
                    <a:pt x="1394" y="47"/>
                    <a:pt x="1394" y="48"/>
                  </a:cubicBezTo>
                  <a:cubicBezTo>
                    <a:pt x="1394" y="47"/>
                    <a:pt x="1394" y="47"/>
                    <a:pt x="1394" y="47"/>
                  </a:cubicBezTo>
                  <a:close/>
                  <a:moveTo>
                    <a:pt x="1566" y="48"/>
                  </a:moveTo>
                  <a:cubicBezTo>
                    <a:pt x="1566" y="47"/>
                    <a:pt x="1566" y="47"/>
                    <a:pt x="1566" y="47"/>
                  </a:cubicBezTo>
                  <a:cubicBezTo>
                    <a:pt x="1566" y="47"/>
                    <a:pt x="1566" y="47"/>
                    <a:pt x="1566" y="48"/>
                  </a:cubicBezTo>
                  <a:close/>
                  <a:moveTo>
                    <a:pt x="966" y="38"/>
                  </a:moveTo>
                  <a:cubicBezTo>
                    <a:pt x="965" y="38"/>
                    <a:pt x="965" y="39"/>
                    <a:pt x="965" y="39"/>
                  </a:cubicBezTo>
                  <a:cubicBezTo>
                    <a:pt x="966" y="39"/>
                    <a:pt x="966" y="38"/>
                    <a:pt x="966" y="38"/>
                  </a:cubicBezTo>
                  <a:close/>
                  <a:moveTo>
                    <a:pt x="1042" y="39"/>
                  </a:moveTo>
                  <a:cubicBezTo>
                    <a:pt x="1042" y="39"/>
                    <a:pt x="1043" y="38"/>
                    <a:pt x="1043" y="38"/>
                  </a:cubicBezTo>
                  <a:cubicBezTo>
                    <a:pt x="1043" y="38"/>
                    <a:pt x="1042" y="38"/>
                    <a:pt x="1042" y="39"/>
                  </a:cubicBezTo>
                  <a:close/>
                  <a:moveTo>
                    <a:pt x="1578" y="47"/>
                  </a:moveTo>
                  <a:cubicBezTo>
                    <a:pt x="1578" y="47"/>
                    <a:pt x="1578" y="47"/>
                    <a:pt x="1578" y="48"/>
                  </a:cubicBezTo>
                  <a:cubicBezTo>
                    <a:pt x="1578" y="47"/>
                    <a:pt x="1578" y="47"/>
                    <a:pt x="1578" y="47"/>
                  </a:cubicBezTo>
                  <a:close/>
                  <a:moveTo>
                    <a:pt x="830" y="51"/>
                  </a:moveTo>
                  <a:cubicBezTo>
                    <a:pt x="830" y="51"/>
                    <a:pt x="830" y="52"/>
                    <a:pt x="830" y="52"/>
                  </a:cubicBezTo>
                  <a:cubicBezTo>
                    <a:pt x="830" y="52"/>
                    <a:pt x="831" y="52"/>
                    <a:pt x="830" y="51"/>
                  </a:cubicBezTo>
                  <a:close/>
                  <a:moveTo>
                    <a:pt x="1734" y="48"/>
                  </a:moveTo>
                  <a:cubicBezTo>
                    <a:pt x="1734" y="47"/>
                    <a:pt x="1734" y="47"/>
                    <a:pt x="1734" y="47"/>
                  </a:cubicBezTo>
                  <a:cubicBezTo>
                    <a:pt x="1734" y="47"/>
                    <a:pt x="1734" y="47"/>
                    <a:pt x="1734" y="48"/>
                  </a:cubicBezTo>
                  <a:close/>
                  <a:moveTo>
                    <a:pt x="1746" y="47"/>
                  </a:moveTo>
                  <a:cubicBezTo>
                    <a:pt x="1746" y="47"/>
                    <a:pt x="1746" y="47"/>
                    <a:pt x="1746" y="48"/>
                  </a:cubicBezTo>
                  <a:cubicBezTo>
                    <a:pt x="1746" y="47"/>
                    <a:pt x="1746" y="47"/>
                    <a:pt x="1746" y="47"/>
                  </a:cubicBezTo>
                  <a:close/>
                  <a:moveTo>
                    <a:pt x="643" y="39"/>
                  </a:moveTo>
                  <a:cubicBezTo>
                    <a:pt x="643" y="39"/>
                    <a:pt x="643" y="39"/>
                    <a:pt x="643" y="39"/>
                  </a:cubicBezTo>
                  <a:cubicBezTo>
                    <a:pt x="643" y="39"/>
                    <a:pt x="643" y="39"/>
                    <a:pt x="643" y="39"/>
                  </a:cubicBezTo>
                  <a:close/>
                  <a:moveTo>
                    <a:pt x="561" y="47"/>
                  </a:moveTo>
                  <a:cubicBezTo>
                    <a:pt x="562" y="47"/>
                    <a:pt x="562" y="48"/>
                    <a:pt x="562" y="48"/>
                  </a:cubicBezTo>
                  <a:cubicBezTo>
                    <a:pt x="562" y="47"/>
                    <a:pt x="562" y="47"/>
                    <a:pt x="561" y="47"/>
                  </a:cubicBezTo>
                  <a:close/>
                  <a:moveTo>
                    <a:pt x="1680" y="48"/>
                  </a:moveTo>
                  <a:cubicBezTo>
                    <a:pt x="1679" y="48"/>
                    <a:pt x="1679" y="49"/>
                    <a:pt x="1679" y="49"/>
                  </a:cubicBezTo>
                  <a:cubicBezTo>
                    <a:pt x="1679" y="49"/>
                    <a:pt x="1679" y="49"/>
                    <a:pt x="1680" y="48"/>
                  </a:cubicBezTo>
                  <a:close/>
                  <a:moveTo>
                    <a:pt x="872" y="54"/>
                  </a:moveTo>
                  <a:cubicBezTo>
                    <a:pt x="872" y="54"/>
                    <a:pt x="872" y="55"/>
                    <a:pt x="872" y="55"/>
                  </a:cubicBezTo>
                  <a:cubicBezTo>
                    <a:pt x="872" y="55"/>
                    <a:pt x="872" y="54"/>
                    <a:pt x="872" y="54"/>
                  </a:cubicBezTo>
                  <a:close/>
                  <a:moveTo>
                    <a:pt x="1211" y="49"/>
                  </a:moveTo>
                  <a:cubicBezTo>
                    <a:pt x="1212" y="49"/>
                    <a:pt x="1212" y="49"/>
                    <a:pt x="1212" y="49"/>
                  </a:cubicBezTo>
                  <a:cubicBezTo>
                    <a:pt x="1211" y="49"/>
                    <a:pt x="1211" y="49"/>
                    <a:pt x="1211" y="49"/>
                  </a:cubicBezTo>
                  <a:close/>
                  <a:moveTo>
                    <a:pt x="681" y="63"/>
                  </a:moveTo>
                  <a:cubicBezTo>
                    <a:pt x="682" y="64"/>
                    <a:pt x="682" y="64"/>
                    <a:pt x="682" y="64"/>
                  </a:cubicBezTo>
                  <a:cubicBezTo>
                    <a:pt x="682" y="63"/>
                    <a:pt x="682" y="63"/>
                    <a:pt x="681" y="63"/>
                  </a:cubicBezTo>
                  <a:close/>
                  <a:moveTo>
                    <a:pt x="1379" y="63"/>
                  </a:moveTo>
                  <a:cubicBezTo>
                    <a:pt x="1379" y="63"/>
                    <a:pt x="1379" y="63"/>
                    <a:pt x="1378" y="64"/>
                  </a:cubicBezTo>
                  <a:cubicBezTo>
                    <a:pt x="1379" y="64"/>
                    <a:pt x="1379" y="63"/>
                    <a:pt x="1379" y="63"/>
                  </a:cubicBezTo>
                  <a:close/>
                  <a:moveTo>
                    <a:pt x="610" y="49"/>
                  </a:moveTo>
                  <a:cubicBezTo>
                    <a:pt x="609" y="49"/>
                    <a:pt x="610" y="50"/>
                    <a:pt x="610" y="50"/>
                  </a:cubicBezTo>
                  <a:cubicBezTo>
                    <a:pt x="610" y="49"/>
                    <a:pt x="610" y="49"/>
                    <a:pt x="610" y="49"/>
                  </a:cubicBezTo>
                  <a:close/>
                  <a:moveTo>
                    <a:pt x="644" y="64"/>
                  </a:moveTo>
                  <a:cubicBezTo>
                    <a:pt x="644" y="64"/>
                    <a:pt x="644" y="64"/>
                    <a:pt x="644" y="64"/>
                  </a:cubicBezTo>
                  <a:cubicBezTo>
                    <a:pt x="644" y="64"/>
                    <a:pt x="644" y="64"/>
                    <a:pt x="644" y="64"/>
                  </a:cubicBezTo>
                  <a:close/>
                  <a:moveTo>
                    <a:pt x="682" y="64"/>
                  </a:moveTo>
                  <a:cubicBezTo>
                    <a:pt x="682" y="64"/>
                    <a:pt x="683" y="64"/>
                    <a:pt x="683" y="64"/>
                  </a:cubicBezTo>
                  <a:cubicBezTo>
                    <a:pt x="683" y="64"/>
                    <a:pt x="683" y="64"/>
                    <a:pt x="682" y="64"/>
                  </a:cubicBezTo>
                  <a:close/>
                  <a:moveTo>
                    <a:pt x="1563" y="63"/>
                  </a:moveTo>
                  <a:cubicBezTo>
                    <a:pt x="1563" y="64"/>
                    <a:pt x="1562" y="64"/>
                    <a:pt x="1562" y="64"/>
                  </a:cubicBezTo>
                  <a:cubicBezTo>
                    <a:pt x="1563" y="64"/>
                    <a:pt x="1563" y="64"/>
                    <a:pt x="1563" y="63"/>
                  </a:cubicBezTo>
                  <a:close/>
                  <a:moveTo>
                    <a:pt x="1655" y="64"/>
                  </a:moveTo>
                  <a:cubicBezTo>
                    <a:pt x="1655" y="64"/>
                    <a:pt x="1655" y="64"/>
                    <a:pt x="1655" y="64"/>
                  </a:cubicBezTo>
                  <a:cubicBezTo>
                    <a:pt x="1655" y="64"/>
                    <a:pt x="1655" y="64"/>
                    <a:pt x="1655" y="64"/>
                  </a:cubicBezTo>
                  <a:close/>
                  <a:moveTo>
                    <a:pt x="1731" y="63"/>
                  </a:moveTo>
                  <a:cubicBezTo>
                    <a:pt x="1731" y="64"/>
                    <a:pt x="1730" y="64"/>
                    <a:pt x="1730" y="64"/>
                  </a:cubicBezTo>
                  <a:cubicBezTo>
                    <a:pt x="1731" y="64"/>
                    <a:pt x="1731" y="64"/>
                    <a:pt x="1731" y="63"/>
                  </a:cubicBezTo>
                  <a:close/>
                  <a:moveTo>
                    <a:pt x="1669" y="57"/>
                  </a:moveTo>
                  <a:cubicBezTo>
                    <a:pt x="1669" y="57"/>
                    <a:pt x="1669" y="57"/>
                    <a:pt x="1669" y="57"/>
                  </a:cubicBezTo>
                  <a:cubicBezTo>
                    <a:pt x="1669" y="57"/>
                    <a:pt x="1669" y="57"/>
                    <a:pt x="1669" y="57"/>
                  </a:cubicBezTo>
                  <a:close/>
                  <a:moveTo>
                    <a:pt x="615" y="64"/>
                  </a:moveTo>
                  <a:cubicBezTo>
                    <a:pt x="615" y="64"/>
                    <a:pt x="615" y="64"/>
                    <a:pt x="615" y="65"/>
                  </a:cubicBezTo>
                  <a:cubicBezTo>
                    <a:pt x="615" y="64"/>
                    <a:pt x="615" y="64"/>
                    <a:pt x="615" y="64"/>
                  </a:cubicBezTo>
                  <a:close/>
                  <a:moveTo>
                    <a:pt x="633" y="65"/>
                  </a:moveTo>
                  <a:cubicBezTo>
                    <a:pt x="633" y="65"/>
                    <a:pt x="634" y="64"/>
                    <a:pt x="634" y="64"/>
                  </a:cubicBezTo>
                  <a:cubicBezTo>
                    <a:pt x="633" y="64"/>
                    <a:pt x="633" y="64"/>
                    <a:pt x="633" y="65"/>
                  </a:cubicBezTo>
                  <a:close/>
                  <a:moveTo>
                    <a:pt x="683" y="64"/>
                  </a:moveTo>
                  <a:cubicBezTo>
                    <a:pt x="683" y="64"/>
                    <a:pt x="684" y="64"/>
                    <a:pt x="684" y="64"/>
                  </a:cubicBezTo>
                  <a:cubicBezTo>
                    <a:pt x="684" y="64"/>
                    <a:pt x="683" y="64"/>
                    <a:pt x="683" y="64"/>
                  </a:cubicBezTo>
                  <a:close/>
                  <a:moveTo>
                    <a:pt x="1670" y="64"/>
                  </a:moveTo>
                  <a:cubicBezTo>
                    <a:pt x="1670" y="64"/>
                    <a:pt x="1670" y="65"/>
                    <a:pt x="1670" y="65"/>
                  </a:cubicBezTo>
                  <a:cubicBezTo>
                    <a:pt x="1670" y="64"/>
                    <a:pt x="1670" y="64"/>
                    <a:pt x="1670" y="64"/>
                  </a:cubicBezTo>
                  <a:close/>
                  <a:moveTo>
                    <a:pt x="684" y="64"/>
                  </a:moveTo>
                  <a:cubicBezTo>
                    <a:pt x="684" y="65"/>
                    <a:pt x="684" y="65"/>
                    <a:pt x="685" y="65"/>
                  </a:cubicBezTo>
                  <a:cubicBezTo>
                    <a:pt x="685" y="64"/>
                    <a:pt x="684" y="64"/>
                    <a:pt x="684" y="64"/>
                  </a:cubicBezTo>
                  <a:close/>
                  <a:moveTo>
                    <a:pt x="612" y="57"/>
                  </a:moveTo>
                  <a:cubicBezTo>
                    <a:pt x="612" y="57"/>
                    <a:pt x="612" y="58"/>
                    <a:pt x="613" y="58"/>
                  </a:cubicBezTo>
                  <a:cubicBezTo>
                    <a:pt x="613" y="57"/>
                    <a:pt x="613" y="57"/>
                    <a:pt x="612" y="57"/>
                  </a:cubicBezTo>
                  <a:close/>
                  <a:moveTo>
                    <a:pt x="1362" y="65"/>
                  </a:moveTo>
                  <a:cubicBezTo>
                    <a:pt x="1362" y="65"/>
                    <a:pt x="1362" y="65"/>
                    <a:pt x="1362" y="64"/>
                  </a:cubicBezTo>
                  <a:cubicBezTo>
                    <a:pt x="1362" y="64"/>
                    <a:pt x="1362" y="64"/>
                    <a:pt x="1362" y="65"/>
                  </a:cubicBezTo>
                  <a:close/>
                  <a:moveTo>
                    <a:pt x="1378" y="64"/>
                  </a:moveTo>
                  <a:cubicBezTo>
                    <a:pt x="1377" y="64"/>
                    <a:pt x="1377" y="64"/>
                    <a:pt x="1377" y="65"/>
                  </a:cubicBezTo>
                  <a:cubicBezTo>
                    <a:pt x="1377" y="65"/>
                    <a:pt x="1378" y="65"/>
                    <a:pt x="1378" y="64"/>
                  </a:cubicBezTo>
                  <a:close/>
                  <a:moveTo>
                    <a:pt x="604" y="65"/>
                  </a:moveTo>
                  <a:cubicBezTo>
                    <a:pt x="604" y="65"/>
                    <a:pt x="604" y="65"/>
                    <a:pt x="604" y="65"/>
                  </a:cubicBezTo>
                  <a:cubicBezTo>
                    <a:pt x="604" y="65"/>
                    <a:pt x="604" y="65"/>
                    <a:pt x="604" y="65"/>
                  </a:cubicBezTo>
                  <a:close/>
                  <a:moveTo>
                    <a:pt x="685" y="65"/>
                  </a:moveTo>
                  <a:cubicBezTo>
                    <a:pt x="685" y="65"/>
                    <a:pt x="685" y="65"/>
                    <a:pt x="685" y="65"/>
                  </a:cubicBezTo>
                  <a:cubicBezTo>
                    <a:pt x="685" y="65"/>
                    <a:pt x="685" y="65"/>
                    <a:pt x="685" y="65"/>
                  </a:cubicBezTo>
                  <a:close/>
                  <a:moveTo>
                    <a:pt x="1546" y="65"/>
                  </a:moveTo>
                  <a:cubicBezTo>
                    <a:pt x="1546" y="65"/>
                    <a:pt x="1546" y="65"/>
                    <a:pt x="1546" y="65"/>
                  </a:cubicBezTo>
                  <a:cubicBezTo>
                    <a:pt x="1546" y="65"/>
                    <a:pt x="1546" y="65"/>
                    <a:pt x="1546" y="65"/>
                  </a:cubicBezTo>
                  <a:close/>
                  <a:moveTo>
                    <a:pt x="1561" y="65"/>
                  </a:moveTo>
                  <a:cubicBezTo>
                    <a:pt x="1561" y="65"/>
                    <a:pt x="1561" y="65"/>
                    <a:pt x="1561" y="65"/>
                  </a:cubicBezTo>
                  <a:cubicBezTo>
                    <a:pt x="1561" y="65"/>
                    <a:pt x="1561" y="65"/>
                    <a:pt x="1561" y="65"/>
                  </a:cubicBezTo>
                  <a:close/>
                  <a:moveTo>
                    <a:pt x="1714" y="65"/>
                  </a:moveTo>
                  <a:cubicBezTo>
                    <a:pt x="1714" y="65"/>
                    <a:pt x="1714" y="65"/>
                    <a:pt x="1714" y="65"/>
                  </a:cubicBezTo>
                  <a:cubicBezTo>
                    <a:pt x="1714" y="65"/>
                    <a:pt x="1714" y="65"/>
                    <a:pt x="1714" y="65"/>
                  </a:cubicBezTo>
                  <a:close/>
                  <a:moveTo>
                    <a:pt x="1730" y="65"/>
                  </a:moveTo>
                  <a:cubicBezTo>
                    <a:pt x="1729" y="65"/>
                    <a:pt x="1729" y="65"/>
                    <a:pt x="1729" y="65"/>
                  </a:cubicBezTo>
                  <a:cubicBezTo>
                    <a:pt x="1729" y="65"/>
                    <a:pt x="1730" y="65"/>
                    <a:pt x="1730" y="65"/>
                  </a:cubicBezTo>
                  <a:close/>
                  <a:moveTo>
                    <a:pt x="633" y="66"/>
                  </a:moveTo>
                  <a:cubicBezTo>
                    <a:pt x="633" y="66"/>
                    <a:pt x="633" y="65"/>
                    <a:pt x="633" y="65"/>
                  </a:cubicBezTo>
                  <a:cubicBezTo>
                    <a:pt x="633" y="65"/>
                    <a:pt x="633" y="65"/>
                    <a:pt x="633" y="66"/>
                  </a:cubicBezTo>
                  <a:close/>
                  <a:moveTo>
                    <a:pt x="685" y="65"/>
                  </a:moveTo>
                  <a:cubicBezTo>
                    <a:pt x="685" y="65"/>
                    <a:pt x="686" y="65"/>
                    <a:pt x="686" y="65"/>
                  </a:cubicBezTo>
                  <a:cubicBezTo>
                    <a:pt x="686" y="65"/>
                    <a:pt x="686" y="65"/>
                    <a:pt x="685" y="65"/>
                  </a:cubicBezTo>
                  <a:close/>
                  <a:moveTo>
                    <a:pt x="1683" y="40"/>
                  </a:moveTo>
                  <a:cubicBezTo>
                    <a:pt x="1683" y="41"/>
                    <a:pt x="1683" y="41"/>
                    <a:pt x="1683" y="41"/>
                  </a:cubicBezTo>
                  <a:cubicBezTo>
                    <a:pt x="1683" y="41"/>
                    <a:pt x="1683" y="41"/>
                    <a:pt x="1683" y="40"/>
                  </a:cubicBezTo>
                  <a:close/>
                  <a:moveTo>
                    <a:pt x="1670" y="65"/>
                  </a:moveTo>
                  <a:cubicBezTo>
                    <a:pt x="1670" y="65"/>
                    <a:pt x="1671" y="66"/>
                    <a:pt x="1671" y="66"/>
                  </a:cubicBezTo>
                  <a:cubicBezTo>
                    <a:pt x="1671" y="65"/>
                    <a:pt x="1671" y="65"/>
                    <a:pt x="1670" y="65"/>
                  </a:cubicBezTo>
                  <a:close/>
                  <a:moveTo>
                    <a:pt x="586" y="65"/>
                  </a:moveTo>
                  <a:cubicBezTo>
                    <a:pt x="586" y="66"/>
                    <a:pt x="586" y="66"/>
                    <a:pt x="586" y="66"/>
                  </a:cubicBezTo>
                  <a:cubicBezTo>
                    <a:pt x="586" y="66"/>
                    <a:pt x="586" y="65"/>
                    <a:pt x="586" y="65"/>
                  </a:cubicBezTo>
                  <a:close/>
                  <a:moveTo>
                    <a:pt x="644" y="65"/>
                  </a:moveTo>
                  <a:cubicBezTo>
                    <a:pt x="643" y="65"/>
                    <a:pt x="643" y="66"/>
                    <a:pt x="643" y="66"/>
                  </a:cubicBezTo>
                  <a:cubicBezTo>
                    <a:pt x="644" y="66"/>
                    <a:pt x="644" y="66"/>
                    <a:pt x="644" y="65"/>
                  </a:cubicBezTo>
                  <a:close/>
                  <a:moveTo>
                    <a:pt x="686" y="65"/>
                  </a:moveTo>
                  <a:cubicBezTo>
                    <a:pt x="686" y="66"/>
                    <a:pt x="686" y="66"/>
                    <a:pt x="687" y="66"/>
                  </a:cubicBezTo>
                  <a:cubicBezTo>
                    <a:pt x="687" y="65"/>
                    <a:pt x="686" y="65"/>
                    <a:pt x="686" y="65"/>
                  </a:cubicBezTo>
                  <a:close/>
                  <a:moveTo>
                    <a:pt x="1376" y="65"/>
                  </a:moveTo>
                  <a:cubicBezTo>
                    <a:pt x="1376" y="65"/>
                    <a:pt x="1376" y="65"/>
                    <a:pt x="1376" y="66"/>
                  </a:cubicBezTo>
                  <a:cubicBezTo>
                    <a:pt x="1376" y="66"/>
                    <a:pt x="1376" y="66"/>
                    <a:pt x="1376" y="65"/>
                  </a:cubicBezTo>
                  <a:close/>
                  <a:moveTo>
                    <a:pt x="687" y="66"/>
                  </a:moveTo>
                  <a:cubicBezTo>
                    <a:pt x="687" y="66"/>
                    <a:pt x="687" y="66"/>
                    <a:pt x="687" y="66"/>
                  </a:cubicBezTo>
                  <a:cubicBezTo>
                    <a:pt x="687" y="66"/>
                    <a:pt x="687" y="66"/>
                    <a:pt x="687" y="66"/>
                  </a:cubicBezTo>
                  <a:close/>
                  <a:moveTo>
                    <a:pt x="1560" y="66"/>
                  </a:moveTo>
                  <a:cubicBezTo>
                    <a:pt x="1560" y="66"/>
                    <a:pt x="1560" y="66"/>
                    <a:pt x="1559" y="66"/>
                  </a:cubicBezTo>
                  <a:cubicBezTo>
                    <a:pt x="1560" y="66"/>
                    <a:pt x="1560" y="66"/>
                    <a:pt x="1560" y="66"/>
                  </a:cubicBezTo>
                  <a:close/>
                  <a:moveTo>
                    <a:pt x="1671" y="66"/>
                  </a:moveTo>
                  <a:cubicBezTo>
                    <a:pt x="1671" y="66"/>
                    <a:pt x="1671" y="66"/>
                    <a:pt x="1671" y="66"/>
                  </a:cubicBezTo>
                  <a:cubicBezTo>
                    <a:pt x="1671" y="66"/>
                    <a:pt x="1671" y="66"/>
                    <a:pt x="1671" y="66"/>
                  </a:cubicBezTo>
                  <a:close/>
                  <a:moveTo>
                    <a:pt x="586" y="66"/>
                  </a:moveTo>
                  <a:cubicBezTo>
                    <a:pt x="586" y="66"/>
                    <a:pt x="586" y="67"/>
                    <a:pt x="587" y="67"/>
                  </a:cubicBezTo>
                  <a:cubicBezTo>
                    <a:pt x="587" y="66"/>
                    <a:pt x="586" y="66"/>
                    <a:pt x="586" y="66"/>
                  </a:cubicBezTo>
                  <a:close/>
                  <a:moveTo>
                    <a:pt x="687" y="66"/>
                  </a:moveTo>
                  <a:cubicBezTo>
                    <a:pt x="688" y="66"/>
                    <a:pt x="688" y="66"/>
                    <a:pt x="688" y="66"/>
                  </a:cubicBezTo>
                  <a:cubicBezTo>
                    <a:pt x="688" y="66"/>
                    <a:pt x="688" y="66"/>
                    <a:pt x="687" y="66"/>
                  </a:cubicBezTo>
                  <a:close/>
                  <a:moveTo>
                    <a:pt x="1375" y="66"/>
                  </a:moveTo>
                  <a:cubicBezTo>
                    <a:pt x="1375" y="66"/>
                    <a:pt x="1375" y="66"/>
                    <a:pt x="1375" y="66"/>
                  </a:cubicBezTo>
                  <a:cubicBezTo>
                    <a:pt x="1375" y="66"/>
                    <a:pt x="1375" y="66"/>
                    <a:pt x="1375" y="66"/>
                  </a:cubicBezTo>
                  <a:close/>
                  <a:moveTo>
                    <a:pt x="1544" y="66"/>
                  </a:moveTo>
                  <a:cubicBezTo>
                    <a:pt x="1544" y="66"/>
                    <a:pt x="1544" y="66"/>
                    <a:pt x="1544" y="66"/>
                  </a:cubicBezTo>
                  <a:cubicBezTo>
                    <a:pt x="1544" y="66"/>
                    <a:pt x="1544" y="66"/>
                    <a:pt x="1544" y="66"/>
                  </a:cubicBezTo>
                  <a:close/>
                  <a:moveTo>
                    <a:pt x="605" y="67"/>
                  </a:moveTo>
                  <a:cubicBezTo>
                    <a:pt x="605" y="67"/>
                    <a:pt x="605" y="66"/>
                    <a:pt x="605" y="66"/>
                  </a:cubicBezTo>
                  <a:cubicBezTo>
                    <a:pt x="605" y="67"/>
                    <a:pt x="605" y="67"/>
                    <a:pt x="605" y="67"/>
                  </a:cubicBezTo>
                  <a:close/>
                  <a:moveTo>
                    <a:pt x="665" y="67"/>
                  </a:moveTo>
                  <a:cubicBezTo>
                    <a:pt x="665" y="66"/>
                    <a:pt x="665" y="66"/>
                    <a:pt x="665" y="66"/>
                  </a:cubicBezTo>
                  <a:cubicBezTo>
                    <a:pt x="665" y="67"/>
                    <a:pt x="665" y="67"/>
                    <a:pt x="665" y="67"/>
                  </a:cubicBezTo>
                  <a:close/>
                  <a:moveTo>
                    <a:pt x="688" y="66"/>
                  </a:moveTo>
                  <a:cubicBezTo>
                    <a:pt x="688" y="67"/>
                    <a:pt x="689" y="67"/>
                    <a:pt x="689" y="67"/>
                  </a:cubicBezTo>
                  <a:cubicBezTo>
                    <a:pt x="689" y="66"/>
                    <a:pt x="688" y="66"/>
                    <a:pt x="688" y="66"/>
                  </a:cubicBezTo>
                  <a:close/>
                  <a:moveTo>
                    <a:pt x="1578" y="48"/>
                  </a:moveTo>
                  <a:cubicBezTo>
                    <a:pt x="1577" y="48"/>
                    <a:pt x="1577" y="49"/>
                    <a:pt x="1577" y="49"/>
                  </a:cubicBezTo>
                  <a:cubicBezTo>
                    <a:pt x="1577" y="49"/>
                    <a:pt x="1578" y="49"/>
                    <a:pt x="1578" y="48"/>
                  </a:cubicBezTo>
                  <a:close/>
                  <a:moveTo>
                    <a:pt x="1559" y="66"/>
                  </a:moveTo>
                  <a:cubicBezTo>
                    <a:pt x="1559" y="66"/>
                    <a:pt x="1559" y="66"/>
                    <a:pt x="1558" y="67"/>
                  </a:cubicBezTo>
                  <a:cubicBezTo>
                    <a:pt x="1559" y="67"/>
                    <a:pt x="1559" y="67"/>
                    <a:pt x="1559" y="66"/>
                  </a:cubicBezTo>
                  <a:close/>
                  <a:moveTo>
                    <a:pt x="1727" y="66"/>
                  </a:moveTo>
                  <a:cubicBezTo>
                    <a:pt x="1727" y="66"/>
                    <a:pt x="1727" y="66"/>
                    <a:pt x="1727" y="67"/>
                  </a:cubicBezTo>
                  <a:cubicBezTo>
                    <a:pt x="1727" y="67"/>
                    <a:pt x="1727" y="67"/>
                    <a:pt x="1727" y="66"/>
                  </a:cubicBezTo>
                  <a:close/>
                  <a:moveTo>
                    <a:pt x="636" y="58"/>
                  </a:moveTo>
                  <a:cubicBezTo>
                    <a:pt x="636" y="58"/>
                    <a:pt x="636" y="58"/>
                    <a:pt x="636" y="57"/>
                  </a:cubicBezTo>
                  <a:cubicBezTo>
                    <a:pt x="636" y="58"/>
                    <a:pt x="636" y="58"/>
                    <a:pt x="636" y="58"/>
                  </a:cubicBezTo>
                  <a:close/>
                  <a:moveTo>
                    <a:pt x="1671" y="67"/>
                  </a:moveTo>
                  <a:cubicBezTo>
                    <a:pt x="1671" y="67"/>
                    <a:pt x="1672" y="67"/>
                    <a:pt x="1672" y="67"/>
                  </a:cubicBezTo>
                  <a:cubicBezTo>
                    <a:pt x="1672" y="67"/>
                    <a:pt x="1672" y="67"/>
                    <a:pt x="1671" y="67"/>
                  </a:cubicBezTo>
                  <a:close/>
                  <a:moveTo>
                    <a:pt x="643" y="67"/>
                  </a:moveTo>
                  <a:cubicBezTo>
                    <a:pt x="643" y="67"/>
                    <a:pt x="643" y="67"/>
                    <a:pt x="643" y="68"/>
                  </a:cubicBezTo>
                  <a:cubicBezTo>
                    <a:pt x="643" y="68"/>
                    <a:pt x="643" y="67"/>
                    <a:pt x="643" y="67"/>
                  </a:cubicBezTo>
                  <a:close/>
                  <a:moveTo>
                    <a:pt x="689" y="67"/>
                  </a:moveTo>
                  <a:cubicBezTo>
                    <a:pt x="689" y="67"/>
                    <a:pt x="690" y="67"/>
                    <a:pt x="690" y="67"/>
                  </a:cubicBezTo>
                  <a:cubicBezTo>
                    <a:pt x="690" y="67"/>
                    <a:pt x="690" y="67"/>
                    <a:pt x="689" y="67"/>
                  </a:cubicBezTo>
                  <a:close/>
                  <a:moveTo>
                    <a:pt x="1374" y="67"/>
                  </a:moveTo>
                  <a:cubicBezTo>
                    <a:pt x="1374" y="67"/>
                    <a:pt x="1373" y="67"/>
                    <a:pt x="1373" y="67"/>
                  </a:cubicBezTo>
                  <a:cubicBezTo>
                    <a:pt x="1374" y="67"/>
                    <a:pt x="1374" y="67"/>
                    <a:pt x="1374" y="67"/>
                  </a:cubicBezTo>
                  <a:close/>
                  <a:moveTo>
                    <a:pt x="605" y="68"/>
                  </a:moveTo>
                  <a:cubicBezTo>
                    <a:pt x="605" y="68"/>
                    <a:pt x="605" y="67"/>
                    <a:pt x="605" y="67"/>
                  </a:cubicBezTo>
                  <a:cubicBezTo>
                    <a:pt x="605" y="68"/>
                    <a:pt x="605" y="68"/>
                    <a:pt x="605" y="68"/>
                  </a:cubicBezTo>
                  <a:close/>
                  <a:moveTo>
                    <a:pt x="667" y="68"/>
                  </a:moveTo>
                  <a:cubicBezTo>
                    <a:pt x="666" y="67"/>
                    <a:pt x="666" y="67"/>
                    <a:pt x="666" y="67"/>
                  </a:cubicBezTo>
                  <a:cubicBezTo>
                    <a:pt x="666" y="68"/>
                    <a:pt x="666" y="68"/>
                    <a:pt x="667" y="68"/>
                  </a:cubicBezTo>
                  <a:close/>
                  <a:moveTo>
                    <a:pt x="690" y="67"/>
                  </a:moveTo>
                  <a:cubicBezTo>
                    <a:pt x="690" y="68"/>
                    <a:pt x="690" y="68"/>
                    <a:pt x="691" y="68"/>
                  </a:cubicBezTo>
                  <a:cubicBezTo>
                    <a:pt x="690" y="67"/>
                    <a:pt x="690" y="67"/>
                    <a:pt x="690" y="67"/>
                  </a:cubicBezTo>
                  <a:close/>
                  <a:moveTo>
                    <a:pt x="647" y="57"/>
                  </a:moveTo>
                  <a:cubicBezTo>
                    <a:pt x="646" y="57"/>
                    <a:pt x="646" y="58"/>
                    <a:pt x="646" y="58"/>
                  </a:cubicBezTo>
                  <a:cubicBezTo>
                    <a:pt x="647" y="58"/>
                    <a:pt x="647" y="58"/>
                    <a:pt x="647" y="57"/>
                  </a:cubicBezTo>
                  <a:close/>
                  <a:moveTo>
                    <a:pt x="1558" y="67"/>
                  </a:moveTo>
                  <a:cubicBezTo>
                    <a:pt x="1557" y="67"/>
                    <a:pt x="1557" y="67"/>
                    <a:pt x="1557" y="68"/>
                  </a:cubicBezTo>
                  <a:cubicBezTo>
                    <a:pt x="1557" y="68"/>
                    <a:pt x="1558" y="68"/>
                    <a:pt x="1558" y="67"/>
                  </a:cubicBezTo>
                  <a:close/>
                  <a:moveTo>
                    <a:pt x="1672" y="67"/>
                  </a:moveTo>
                  <a:cubicBezTo>
                    <a:pt x="1672" y="68"/>
                    <a:pt x="1672" y="68"/>
                    <a:pt x="1672" y="68"/>
                  </a:cubicBezTo>
                  <a:cubicBezTo>
                    <a:pt x="1672" y="68"/>
                    <a:pt x="1672" y="68"/>
                    <a:pt x="1672" y="67"/>
                  </a:cubicBezTo>
                  <a:close/>
                  <a:moveTo>
                    <a:pt x="1710" y="68"/>
                  </a:moveTo>
                  <a:cubicBezTo>
                    <a:pt x="1711" y="68"/>
                    <a:pt x="1711" y="68"/>
                    <a:pt x="1711" y="67"/>
                  </a:cubicBezTo>
                  <a:cubicBezTo>
                    <a:pt x="1711" y="67"/>
                    <a:pt x="1710" y="68"/>
                    <a:pt x="1710" y="68"/>
                  </a:cubicBezTo>
                  <a:close/>
                  <a:moveTo>
                    <a:pt x="1726" y="67"/>
                  </a:moveTo>
                  <a:cubicBezTo>
                    <a:pt x="1725" y="67"/>
                    <a:pt x="1725" y="67"/>
                    <a:pt x="1725" y="68"/>
                  </a:cubicBezTo>
                  <a:cubicBezTo>
                    <a:pt x="1725" y="68"/>
                    <a:pt x="1726" y="68"/>
                    <a:pt x="1726" y="67"/>
                  </a:cubicBezTo>
                  <a:close/>
                  <a:moveTo>
                    <a:pt x="616" y="68"/>
                  </a:moveTo>
                  <a:cubicBezTo>
                    <a:pt x="616" y="68"/>
                    <a:pt x="616" y="68"/>
                    <a:pt x="616" y="69"/>
                  </a:cubicBezTo>
                  <a:cubicBezTo>
                    <a:pt x="616" y="68"/>
                    <a:pt x="616" y="68"/>
                    <a:pt x="616" y="68"/>
                  </a:cubicBezTo>
                  <a:close/>
                  <a:moveTo>
                    <a:pt x="632" y="69"/>
                  </a:moveTo>
                  <a:cubicBezTo>
                    <a:pt x="632" y="68"/>
                    <a:pt x="632" y="68"/>
                    <a:pt x="632" y="68"/>
                  </a:cubicBezTo>
                  <a:cubicBezTo>
                    <a:pt x="632" y="68"/>
                    <a:pt x="632" y="68"/>
                    <a:pt x="632" y="69"/>
                  </a:cubicBezTo>
                  <a:close/>
                  <a:moveTo>
                    <a:pt x="1555" y="58"/>
                  </a:moveTo>
                  <a:cubicBezTo>
                    <a:pt x="1556" y="58"/>
                    <a:pt x="1556" y="58"/>
                    <a:pt x="1556" y="57"/>
                  </a:cubicBezTo>
                  <a:cubicBezTo>
                    <a:pt x="1556" y="57"/>
                    <a:pt x="1555" y="57"/>
                    <a:pt x="1555" y="58"/>
                  </a:cubicBezTo>
                  <a:close/>
                  <a:moveTo>
                    <a:pt x="587" y="68"/>
                  </a:moveTo>
                  <a:cubicBezTo>
                    <a:pt x="587" y="68"/>
                    <a:pt x="587" y="69"/>
                    <a:pt x="588" y="69"/>
                  </a:cubicBezTo>
                  <a:cubicBezTo>
                    <a:pt x="588" y="69"/>
                    <a:pt x="587" y="68"/>
                    <a:pt x="587" y="68"/>
                  </a:cubicBezTo>
                  <a:close/>
                  <a:moveTo>
                    <a:pt x="606" y="69"/>
                  </a:moveTo>
                  <a:cubicBezTo>
                    <a:pt x="606" y="68"/>
                    <a:pt x="606" y="68"/>
                    <a:pt x="605" y="68"/>
                  </a:cubicBezTo>
                  <a:cubicBezTo>
                    <a:pt x="605" y="68"/>
                    <a:pt x="605" y="69"/>
                    <a:pt x="606" y="69"/>
                  </a:cubicBezTo>
                  <a:close/>
                  <a:moveTo>
                    <a:pt x="668" y="68"/>
                  </a:moveTo>
                  <a:cubicBezTo>
                    <a:pt x="668" y="68"/>
                    <a:pt x="667" y="68"/>
                    <a:pt x="667" y="68"/>
                  </a:cubicBezTo>
                  <a:cubicBezTo>
                    <a:pt x="667" y="68"/>
                    <a:pt x="667" y="68"/>
                    <a:pt x="668" y="68"/>
                  </a:cubicBezTo>
                  <a:close/>
                  <a:moveTo>
                    <a:pt x="691" y="68"/>
                  </a:moveTo>
                  <a:cubicBezTo>
                    <a:pt x="691" y="68"/>
                    <a:pt x="691" y="68"/>
                    <a:pt x="692" y="69"/>
                  </a:cubicBezTo>
                  <a:cubicBezTo>
                    <a:pt x="692" y="68"/>
                    <a:pt x="691" y="68"/>
                    <a:pt x="691" y="68"/>
                  </a:cubicBezTo>
                  <a:close/>
                  <a:moveTo>
                    <a:pt x="1668" y="57"/>
                  </a:moveTo>
                  <a:cubicBezTo>
                    <a:pt x="1667" y="57"/>
                    <a:pt x="1667" y="57"/>
                    <a:pt x="1667" y="58"/>
                  </a:cubicBezTo>
                  <a:cubicBezTo>
                    <a:pt x="1667" y="58"/>
                    <a:pt x="1667" y="58"/>
                    <a:pt x="1668" y="57"/>
                  </a:cubicBezTo>
                  <a:close/>
                  <a:moveTo>
                    <a:pt x="1672" y="68"/>
                  </a:moveTo>
                  <a:cubicBezTo>
                    <a:pt x="1672" y="68"/>
                    <a:pt x="1672" y="69"/>
                    <a:pt x="1673" y="69"/>
                  </a:cubicBezTo>
                  <a:cubicBezTo>
                    <a:pt x="1673" y="69"/>
                    <a:pt x="1672" y="68"/>
                    <a:pt x="1672" y="68"/>
                  </a:cubicBezTo>
                  <a:close/>
                  <a:moveTo>
                    <a:pt x="1725" y="68"/>
                  </a:moveTo>
                  <a:cubicBezTo>
                    <a:pt x="1724" y="68"/>
                    <a:pt x="1724" y="68"/>
                    <a:pt x="1724" y="68"/>
                  </a:cubicBezTo>
                  <a:cubicBezTo>
                    <a:pt x="1724" y="68"/>
                    <a:pt x="1725" y="68"/>
                    <a:pt x="1725" y="68"/>
                  </a:cubicBezTo>
                  <a:close/>
                  <a:moveTo>
                    <a:pt x="668" y="69"/>
                  </a:moveTo>
                  <a:cubicBezTo>
                    <a:pt x="668" y="69"/>
                    <a:pt x="668" y="68"/>
                    <a:pt x="668" y="68"/>
                  </a:cubicBezTo>
                  <a:cubicBezTo>
                    <a:pt x="668" y="69"/>
                    <a:pt x="668" y="69"/>
                    <a:pt x="668" y="69"/>
                  </a:cubicBezTo>
                  <a:close/>
                  <a:moveTo>
                    <a:pt x="1723" y="58"/>
                  </a:moveTo>
                  <a:cubicBezTo>
                    <a:pt x="1724" y="58"/>
                    <a:pt x="1724" y="58"/>
                    <a:pt x="1724" y="57"/>
                  </a:cubicBezTo>
                  <a:cubicBezTo>
                    <a:pt x="1724" y="57"/>
                    <a:pt x="1723" y="57"/>
                    <a:pt x="1723" y="58"/>
                  </a:cubicBezTo>
                  <a:close/>
                  <a:moveTo>
                    <a:pt x="588" y="69"/>
                  </a:moveTo>
                  <a:cubicBezTo>
                    <a:pt x="588" y="69"/>
                    <a:pt x="588" y="69"/>
                    <a:pt x="588" y="70"/>
                  </a:cubicBezTo>
                  <a:cubicBezTo>
                    <a:pt x="588" y="69"/>
                    <a:pt x="588" y="69"/>
                    <a:pt x="588" y="69"/>
                  </a:cubicBezTo>
                  <a:close/>
                  <a:moveTo>
                    <a:pt x="616" y="69"/>
                  </a:moveTo>
                  <a:cubicBezTo>
                    <a:pt x="616" y="69"/>
                    <a:pt x="616" y="69"/>
                    <a:pt x="617" y="70"/>
                  </a:cubicBezTo>
                  <a:cubicBezTo>
                    <a:pt x="617" y="69"/>
                    <a:pt x="617" y="69"/>
                    <a:pt x="616" y="69"/>
                  </a:cubicBezTo>
                  <a:close/>
                  <a:moveTo>
                    <a:pt x="631" y="70"/>
                  </a:moveTo>
                  <a:cubicBezTo>
                    <a:pt x="632" y="69"/>
                    <a:pt x="632" y="69"/>
                    <a:pt x="632" y="69"/>
                  </a:cubicBezTo>
                  <a:cubicBezTo>
                    <a:pt x="631" y="69"/>
                    <a:pt x="631" y="69"/>
                    <a:pt x="631" y="70"/>
                  </a:cubicBezTo>
                  <a:close/>
                  <a:moveTo>
                    <a:pt x="642" y="69"/>
                  </a:moveTo>
                  <a:cubicBezTo>
                    <a:pt x="642" y="69"/>
                    <a:pt x="642" y="69"/>
                    <a:pt x="642" y="69"/>
                  </a:cubicBezTo>
                  <a:cubicBezTo>
                    <a:pt x="642" y="69"/>
                    <a:pt x="642" y="69"/>
                    <a:pt x="642" y="69"/>
                  </a:cubicBezTo>
                  <a:close/>
                  <a:moveTo>
                    <a:pt x="751" y="50"/>
                  </a:moveTo>
                  <a:cubicBezTo>
                    <a:pt x="751" y="50"/>
                    <a:pt x="752" y="49"/>
                    <a:pt x="752" y="49"/>
                  </a:cubicBezTo>
                  <a:cubicBezTo>
                    <a:pt x="751" y="49"/>
                    <a:pt x="751" y="49"/>
                    <a:pt x="751" y="50"/>
                  </a:cubicBezTo>
                  <a:close/>
                  <a:moveTo>
                    <a:pt x="964" y="69"/>
                  </a:moveTo>
                  <a:cubicBezTo>
                    <a:pt x="964" y="69"/>
                    <a:pt x="964" y="69"/>
                    <a:pt x="964" y="70"/>
                  </a:cubicBezTo>
                  <a:cubicBezTo>
                    <a:pt x="965" y="69"/>
                    <a:pt x="965" y="69"/>
                    <a:pt x="964" y="69"/>
                  </a:cubicBezTo>
                  <a:close/>
                  <a:moveTo>
                    <a:pt x="1371" y="69"/>
                  </a:moveTo>
                  <a:cubicBezTo>
                    <a:pt x="1371" y="69"/>
                    <a:pt x="1371" y="69"/>
                    <a:pt x="1371" y="69"/>
                  </a:cubicBezTo>
                  <a:cubicBezTo>
                    <a:pt x="1371" y="69"/>
                    <a:pt x="1371" y="69"/>
                    <a:pt x="1371" y="69"/>
                  </a:cubicBezTo>
                  <a:close/>
                  <a:moveTo>
                    <a:pt x="1565" y="49"/>
                  </a:moveTo>
                  <a:cubicBezTo>
                    <a:pt x="1565" y="49"/>
                    <a:pt x="1565" y="49"/>
                    <a:pt x="1565" y="48"/>
                  </a:cubicBezTo>
                  <a:cubicBezTo>
                    <a:pt x="1565" y="48"/>
                    <a:pt x="1565" y="49"/>
                    <a:pt x="1565" y="49"/>
                  </a:cubicBezTo>
                  <a:close/>
                  <a:moveTo>
                    <a:pt x="1660" y="69"/>
                  </a:moveTo>
                  <a:cubicBezTo>
                    <a:pt x="1660" y="69"/>
                    <a:pt x="1660" y="69"/>
                    <a:pt x="1660" y="69"/>
                  </a:cubicBezTo>
                  <a:cubicBezTo>
                    <a:pt x="1660" y="69"/>
                    <a:pt x="1660" y="69"/>
                    <a:pt x="1660" y="69"/>
                  </a:cubicBezTo>
                  <a:close/>
                  <a:moveTo>
                    <a:pt x="1673" y="69"/>
                  </a:moveTo>
                  <a:cubicBezTo>
                    <a:pt x="1673" y="69"/>
                    <a:pt x="1673" y="69"/>
                    <a:pt x="1673" y="70"/>
                  </a:cubicBezTo>
                  <a:cubicBezTo>
                    <a:pt x="1673" y="69"/>
                    <a:pt x="1673" y="69"/>
                    <a:pt x="1673" y="69"/>
                  </a:cubicBezTo>
                  <a:close/>
                  <a:moveTo>
                    <a:pt x="606" y="70"/>
                  </a:moveTo>
                  <a:cubicBezTo>
                    <a:pt x="606" y="70"/>
                    <a:pt x="606" y="69"/>
                    <a:pt x="606" y="69"/>
                  </a:cubicBezTo>
                  <a:cubicBezTo>
                    <a:pt x="606" y="69"/>
                    <a:pt x="606" y="70"/>
                    <a:pt x="606" y="70"/>
                  </a:cubicBezTo>
                  <a:close/>
                  <a:moveTo>
                    <a:pt x="669" y="69"/>
                  </a:moveTo>
                  <a:cubicBezTo>
                    <a:pt x="669" y="69"/>
                    <a:pt x="669" y="69"/>
                    <a:pt x="669" y="69"/>
                  </a:cubicBezTo>
                  <a:cubicBezTo>
                    <a:pt x="669" y="69"/>
                    <a:pt x="669" y="69"/>
                    <a:pt x="669" y="69"/>
                  </a:cubicBezTo>
                  <a:close/>
                  <a:moveTo>
                    <a:pt x="1555" y="69"/>
                  </a:moveTo>
                  <a:cubicBezTo>
                    <a:pt x="1555" y="69"/>
                    <a:pt x="1555" y="69"/>
                    <a:pt x="1555" y="70"/>
                  </a:cubicBezTo>
                  <a:cubicBezTo>
                    <a:pt x="1555" y="69"/>
                    <a:pt x="1555" y="69"/>
                    <a:pt x="1555" y="69"/>
                  </a:cubicBezTo>
                  <a:close/>
                  <a:moveTo>
                    <a:pt x="866" y="42"/>
                  </a:moveTo>
                  <a:cubicBezTo>
                    <a:pt x="866" y="42"/>
                    <a:pt x="866" y="42"/>
                    <a:pt x="866" y="42"/>
                  </a:cubicBezTo>
                  <a:cubicBezTo>
                    <a:pt x="866" y="42"/>
                    <a:pt x="866" y="42"/>
                    <a:pt x="866" y="42"/>
                  </a:cubicBezTo>
                  <a:close/>
                  <a:moveTo>
                    <a:pt x="1723" y="69"/>
                  </a:moveTo>
                  <a:cubicBezTo>
                    <a:pt x="1723" y="69"/>
                    <a:pt x="1723" y="69"/>
                    <a:pt x="1723" y="70"/>
                  </a:cubicBezTo>
                  <a:cubicBezTo>
                    <a:pt x="1723" y="69"/>
                    <a:pt x="1723" y="69"/>
                    <a:pt x="1723" y="69"/>
                  </a:cubicBezTo>
                  <a:close/>
                  <a:moveTo>
                    <a:pt x="1112" y="52"/>
                  </a:moveTo>
                  <a:cubicBezTo>
                    <a:pt x="1112" y="53"/>
                    <a:pt x="1112" y="53"/>
                    <a:pt x="1112" y="53"/>
                  </a:cubicBezTo>
                  <a:cubicBezTo>
                    <a:pt x="1112" y="53"/>
                    <a:pt x="1112" y="53"/>
                    <a:pt x="1112" y="52"/>
                  </a:cubicBezTo>
                  <a:close/>
                  <a:moveTo>
                    <a:pt x="1504" y="7"/>
                  </a:moveTo>
                  <a:cubicBezTo>
                    <a:pt x="1504" y="7"/>
                    <a:pt x="1505" y="6"/>
                    <a:pt x="1505" y="6"/>
                  </a:cubicBezTo>
                  <a:cubicBezTo>
                    <a:pt x="1504" y="6"/>
                    <a:pt x="1504" y="6"/>
                    <a:pt x="1504" y="7"/>
                  </a:cubicBezTo>
                  <a:close/>
                  <a:moveTo>
                    <a:pt x="670" y="70"/>
                  </a:moveTo>
                  <a:cubicBezTo>
                    <a:pt x="670" y="70"/>
                    <a:pt x="670" y="69"/>
                    <a:pt x="669" y="69"/>
                  </a:cubicBezTo>
                  <a:cubicBezTo>
                    <a:pt x="669" y="70"/>
                    <a:pt x="670" y="70"/>
                    <a:pt x="670" y="70"/>
                  </a:cubicBezTo>
                  <a:close/>
                  <a:moveTo>
                    <a:pt x="1150" y="41"/>
                  </a:moveTo>
                  <a:cubicBezTo>
                    <a:pt x="1150" y="41"/>
                    <a:pt x="1150" y="41"/>
                    <a:pt x="1150" y="41"/>
                  </a:cubicBezTo>
                  <a:cubicBezTo>
                    <a:pt x="1150" y="41"/>
                    <a:pt x="1150" y="41"/>
                    <a:pt x="1150" y="41"/>
                  </a:cubicBezTo>
                  <a:close/>
                  <a:moveTo>
                    <a:pt x="1085" y="49"/>
                  </a:moveTo>
                  <a:cubicBezTo>
                    <a:pt x="1085" y="49"/>
                    <a:pt x="1085" y="50"/>
                    <a:pt x="1086" y="50"/>
                  </a:cubicBezTo>
                  <a:cubicBezTo>
                    <a:pt x="1086" y="49"/>
                    <a:pt x="1086" y="49"/>
                    <a:pt x="1085" y="49"/>
                  </a:cubicBezTo>
                  <a:close/>
                  <a:moveTo>
                    <a:pt x="749" y="56"/>
                  </a:moveTo>
                  <a:cubicBezTo>
                    <a:pt x="749" y="55"/>
                    <a:pt x="749" y="55"/>
                    <a:pt x="749" y="55"/>
                  </a:cubicBezTo>
                  <a:cubicBezTo>
                    <a:pt x="749" y="55"/>
                    <a:pt x="749" y="55"/>
                    <a:pt x="749" y="56"/>
                  </a:cubicBezTo>
                  <a:close/>
                  <a:moveTo>
                    <a:pt x="1661" y="70"/>
                  </a:moveTo>
                  <a:cubicBezTo>
                    <a:pt x="1661" y="70"/>
                    <a:pt x="1661" y="70"/>
                    <a:pt x="1660" y="69"/>
                  </a:cubicBezTo>
                  <a:cubicBezTo>
                    <a:pt x="1660" y="70"/>
                    <a:pt x="1660" y="70"/>
                    <a:pt x="1661" y="70"/>
                  </a:cubicBezTo>
                  <a:close/>
                  <a:moveTo>
                    <a:pt x="1673" y="69"/>
                  </a:moveTo>
                  <a:cubicBezTo>
                    <a:pt x="1673" y="70"/>
                    <a:pt x="1673" y="70"/>
                    <a:pt x="1673" y="70"/>
                  </a:cubicBezTo>
                  <a:cubicBezTo>
                    <a:pt x="1673" y="70"/>
                    <a:pt x="1673" y="70"/>
                    <a:pt x="1673" y="69"/>
                  </a:cubicBezTo>
                  <a:close/>
                  <a:moveTo>
                    <a:pt x="606" y="71"/>
                  </a:moveTo>
                  <a:cubicBezTo>
                    <a:pt x="606" y="70"/>
                    <a:pt x="606" y="70"/>
                    <a:pt x="606" y="70"/>
                  </a:cubicBezTo>
                  <a:cubicBezTo>
                    <a:pt x="606" y="70"/>
                    <a:pt x="606" y="70"/>
                    <a:pt x="606" y="71"/>
                  </a:cubicBezTo>
                  <a:close/>
                  <a:moveTo>
                    <a:pt x="617" y="70"/>
                  </a:moveTo>
                  <a:cubicBezTo>
                    <a:pt x="617" y="70"/>
                    <a:pt x="617" y="70"/>
                    <a:pt x="617" y="71"/>
                  </a:cubicBezTo>
                  <a:cubicBezTo>
                    <a:pt x="617" y="70"/>
                    <a:pt x="617" y="70"/>
                    <a:pt x="617" y="70"/>
                  </a:cubicBezTo>
                  <a:close/>
                  <a:moveTo>
                    <a:pt x="642" y="70"/>
                  </a:moveTo>
                  <a:cubicBezTo>
                    <a:pt x="642" y="70"/>
                    <a:pt x="641" y="70"/>
                    <a:pt x="641" y="71"/>
                  </a:cubicBezTo>
                  <a:cubicBezTo>
                    <a:pt x="642" y="70"/>
                    <a:pt x="642" y="70"/>
                    <a:pt x="642" y="70"/>
                  </a:cubicBezTo>
                  <a:close/>
                  <a:moveTo>
                    <a:pt x="671" y="70"/>
                  </a:moveTo>
                  <a:cubicBezTo>
                    <a:pt x="671" y="70"/>
                    <a:pt x="670" y="70"/>
                    <a:pt x="670" y="70"/>
                  </a:cubicBezTo>
                  <a:cubicBezTo>
                    <a:pt x="670" y="70"/>
                    <a:pt x="670" y="70"/>
                    <a:pt x="671" y="70"/>
                  </a:cubicBezTo>
                  <a:close/>
                  <a:moveTo>
                    <a:pt x="965" y="70"/>
                  </a:moveTo>
                  <a:cubicBezTo>
                    <a:pt x="965" y="70"/>
                    <a:pt x="965" y="70"/>
                    <a:pt x="965" y="71"/>
                  </a:cubicBezTo>
                  <a:cubicBezTo>
                    <a:pt x="965" y="70"/>
                    <a:pt x="965" y="70"/>
                    <a:pt x="965" y="70"/>
                  </a:cubicBezTo>
                  <a:close/>
                  <a:moveTo>
                    <a:pt x="1370" y="70"/>
                  </a:moveTo>
                  <a:cubicBezTo>
                    <a:pt x="1370" y="70"/>
                    <a:pt x="1370" y="70"/>
                    <a:pt x="1369" y="70"/>
                  </a:cubicBezTo>
                  <a:cubicBezTo>
                    <a:pt x="1370" y="70"/>
                    <a:pt x="1370" y="70"/>
                    <a:pt x="1370" y="70"/>
                  </a:cubicBezTo>
                  <a:close/>
                  <a:moveTo>
                    <a:pt x="671" y="71"/>
                  </a:moveTo>
                  <a:cubicBezTo>
                    <a:pt x="671" y="70"/>
                    <a:pt x="671" y="70"/>
                    <a:pt x="671" y="70"/>
                  </a:cubicBezTo>
                  <a:cubicBezTo>
                    <a:pt x="671" y="70"/>
                    <a:pt x="671" y="71"/>
                    <a:pt x="671" y="71"/>
                  </a:cubicBezTo>
                  <a:close/>
                  <a:moveTo>
                    <a:pt x="1263" y="48"/>
                  </a:moveTo>
                  <a:cubicBezTo>
                    <a:pt x="1263" y="49"/>
                    <a:pt x="1263" y="49"/>
                    <a:pt x="1263" y="49"/>
                  </a:cubicBezTo>
                  <a:cubicBezTo>
                    <a:pt x="1263" y="49"/>
                    <a:pt x="1263" y="48"/>
                    <a:pt x="1263" y="48"/>
                  </a:cubicBezTo>
                  <a:close/>
                  <a:moveTo>
                    <a:pt x="1554" y="70"/>
                  </a:moveTo>
                  <a:cubicBezTo>
                    <a:pt x="1554" y="70"/>
                    <a:pt x="1553" y="70"/>
                    <a:pt x="1553" y="71"/>
                  </a:cubicBezTo>
                  <a:cubicBezTo>
                    <a:pt x="1553" y="71"/>
                    <a:pt x="1554" y="70"/>
                    <a:pt x="1554" y="70"/>
                  </a:cubicBezTo>
                  <a:close/>
                  <a:moveTo>
                    <a:pt x="1673" y="70"/>
                  </a:moveTo>
                  <a:cubicBezTo>
                    <a:pt x="1673" y="70"/>
                    <a:pt x="1673" y="71"/>
                    <a:pt x="1674" y="71"/>
                  </a:cubicBezTo>
                  <a:cubicBezTo>
                    <a:pt x="1674" y="71"/>
                    <a:pt x="1674" y="70"/>
                    <a:pt x="1673" y="70"/>
                  </a:cubicBezTo>
                  <a:close/>
                  <a:moveTo>
                    <a:pt x="1722" y="70"/>
                  </a:moveTo>
                  <a:cubicBezTo>
                    <a:pt x="1722" y="70"/>
                    <a:pt x="1721" y="70"/>
                    <a:pt x="1721" y="71"/>
                  </a:cubicBezTo>
                  <a:cubicBezTo>
                    <a:pt x="1722" y="71"/>
                    <a:pt x="1722" y="70"/>
                    <a:pt x="1722" y="70"/>
                  </a:cubicBezTo>
                  <a:close/>
                  <a:moveTo>
                    <a:pt x="1432" y="7"/>
                  </a:moveTo>
                  <a:cubicBezTo>
                    <a:pt x="1432" y="7"/>
                    <a:pt x="1432" y="7"/>
                    <a:pt x="1433" y="7"/>
                  </a:cubicBezTo>
                  <a:cubicBezTo>
                    <a:pt x="1432" y="7"/>
                    <a:pt x="1432" y="7"/>
                    <a:pt x="1432" y="7"/>
                  </a:cubicBezTo>
                  <a:close/>
                  <a:moveTo>
                    <a:pt x="631" y="71"/>
                  </a:moveTo>
                  <a:cubicBezTo>
                    <a:pt x="631" y="71"/>
                    <a:pt x="631" y="71"/>
                    <a:pt x="631" y="71"/>
                  </a:cubicBezTo>
                  <a:cubicBezTo>
                    <a:pt x="631" y="71"/>
                    <a:pt x="631" y="71"/>
                    <a:pt x="631" y="71"/>
                  </a:cubicBezTo>
                  <a:close/>
                  <a:moveTo>
                    <a:pt x="641" y="70"/>
                  </a:moveTo>
                  <a:cubicBezTo>
                    <a:pt x="641" y="71"/>
                    <a:pt x="641" y="71"/>
                    <a:pt x="641" y="71"/>
                  </a:cubicBezTo>
                  <a:cubicBezTo>
                    <a:pt x="641" y="71"/>
                    <a:pt x="642" y="71"/>
                    <a:pt x="641" y="70"/>
                  </a:cubicBezTo>
                  <a:close/>
                  <a:moveTo>
                    <a:pt x="672" y="71"/>
                  </a:moveTo>
                  <a:cubicBezTo>
                    <a:pt x="672" y="71"/>
                    <a:pt x="672" y="71"/>
                    <a:pt x="671" y="71"/>
                  </a:cubicBezTo>
                  <a:cubicBezTo>
                    <a:pt x="672" y="71"/>
                    <a:pt x="672" y="71"/>
                    <a:pt x="672" y="71"/>
                  </a:cubicBezTo>
                  <a:close/>
                  <a:moveTo>
                    <a:pt x="573" y="54"/>
                  </a:moveTo>
                  <a:cubicBezTo>
                    <a:pt x="573" y="54"/>
                    <a:pt x="574" y="55"/>
                    <a:pt x="574" y="55"/>
                  </a:cubicBezTo>
                  <a:cubicBezTo>
                    <a:pt x="574" y="54"/>
                    <a:pt x="574" y="54"/>
                    <a:pt x="573" y="54"/>
                  </a:cubicBezTo>
                  <a:close/>
                  <a:moveTo>
                    <a:pt x="607" y="72"/>
                  </a:moveTo>
                  <a:cubicBezTo>
                    <a:pt x="607" y="71"/>
                    <a:pt x="607" y="71"/>
                    <a:pt x="606" y="71"/>
                  </a:cubicBezTo>
                  <a:cubicBezTo>
                    <a:pt x="606" y="71"/>
                    <a:pt x="606" y="71"/>
                    <a:pt x="607" y="72"/>
                  </a:cubicBezTo>
                  <a:close/>
                  <a:moveTo>
                    <a:pt x="617" y="71"/>
                  </a:moveTo>
                  <a:cubicBezTo>
                    <a:pt x="617" y="71"/>
                    <a:pt x="617" y="71"/>
                    <a:pt x="617" y="72"/>
                  </a:cubicBezTo>
                  <a:cubicBezTo>
                    <a:pt x="617" y="71"/>
                    <a:pt x="617" y="71"/>
                    <a:pt x="617" y="71"/>
                  </a:cubicBezTo>
                  <a:close/>
                  <a:moveTo>
                    <a:pt x="673" y="71"/>
                  </a:moveTo>
                  <a:cubicBezTo>
                    <a:pt x="673" y="71"/>
                    <a:pt x="672" y="71"/>
                    <a:pt x="672" y="71"/>
                  </a:cubicBezTo>
                  <a:cubicBezTo>
                    <a:pt x="672" y="71"/>
                    <a:pt x="673" y="71"/>
                    <a:pt x="673" y="71"/>
                  </a:cubicBezTo>
                  <a:close/>
                  <a:moveTo>
                    <a:pt x="1450" y="7"/>
                  </a:moveTo>
                  <a:cubicBezTo>
                    <a:pt x="1450" y="7"/>
                    <a:pt x="1450" y="7"/>
                    <a:pt x="1450" y="7"/>
                  </a:cubicBezTo>
                  <a:cubicBezTo>
                    <a:pt x="1450" y="7"/>
                    <a:pt x="1450" y="7"/>
                    <a:pt x="1450" y="7"/>
                  </a:cubicBezTo>
                  <a:close/>
                  <a:moveTo>
                    <a:pt x="965" y="71"/>
                  </a:moveTo>
                  <a:cubicBezTo>
                    <a:pt x="965" y="71"/>
                    <a:pt x="965" y="71"/>
                    <a:pt x="965" y="72"/>
                  </a:cubicBezTo>
                  <a:cubicBezTo>
                    <a:pt x="965" y="71"/>
                    <a:pt x="965" y="71"/>
                    <a:pt x="965" y="71"/>
                  </a:cubicBezTo>
                  <a:close/>
                  <a:moveTo>
                    <a:pt x="1151" y="42"/>
                  </a:moveTo>
                  <a:cubicBezTo>
                    <a:pt x="1151" y="42"/>
                    <a:pt x="1151" y="42"/>
                    <a:pt x="1151" y="42"/>
                  </a:cubicBezTo>
                  <a:cubicBezTo>
                    <a:pt x="1151" y="42"/>
                    <a:pt x="1151" y="42"/>
                    <a:pt x="1151" y="42"/>
                  </a:cubicBezTo>
                  <a:close/>
                  <a:moveTo>
                    <a:pt x="1369" y="71"/>
                  </a:moveTo>
                  <a:cubicBezTo>
                    <a:pt x="1368" y="71"/>
                    <a:pt x="1368" y="71"/>
                    <a:pt x="1368" y="71"/>
                  </a:cubicBezTo>
                  <a:cubicBezTo>
                    <a:pt x="1368" y="71"/>
                    <a:pt x="1369" y="71"/>
                    <a:pt x="1369" y="71"/>
                  </a:cubicBezTo>
                  <a:close/>
                  <a:moveTo>
                    <a:pt x="1154" y="48"/>
                  </a:moveTo>
                  <a:cubicBezTo>
                    <a:pt x="1154" y="49"/>
                    <a:pt x="1154" y="49"/>
                    <a:pt x="1154" y="49"/>
                  </a:cubicBezTo>
                  <a:cubicBezTo>
                    <a:pt x="1154" y="49"/>
                    <a:pt x="1154" y="48"/>
                    <a:pt x="1154" y="48"/>
                  </a:cubicBezTo>
                  <a:close/>
                  <a:moveTo>
                    <a:pt x="1674" y="71"/>
                  </a:moveTo>
                  <a:cubicBezTo>
                    <a:pt x="1674" y="71"/>
                    <a:pt x="1674" y="71"/>
                    <a:pt x="1674" y="72"/>
                  </a:cubicBezTo>
                  <a:cubicBezTo>
                    <a:pt x="1674" y="71"/>
                    <a:pt x="1674" y="71"/>
                    <a:pt x="1674" y="71"/>
                  </a:cubicBezTo>
                  <a:close/>
                  <a:moveTo>
                    <a:pt x="674" y="72"/>
                  </a:moveTo>
                  <a:cubicBezTo>
                    <a:pt x="673" y="71"/>
                    <a:pt x="673" y="71"/>
                    <a:pt x="673" y="71"/>
                  </a:cubicBezTo>
                  <a:cubicBezTo>
                    <a:pt x="673" y="72"/>
                    <a:pt x="673" y="72"/>
                    <a:pt x="674" y="72"/>
                  </a:cubicBezTo>
                  <a:close/>
                  <a:moveTo>
                    <a:pt x="1552" y="71"/>
                  </a:moveTo>
                  <a:cubicBezTo>
                    <a:pt x="1552" y="71"/>
                    <a:pt x="1552" y="71"/>
                    <a:pt x="1552" y="72"/>
                  </a:cubicBezTo>
                  <a:cubicBezTo>
                    <a:pt x="1552" y="72"/>
                    <a:pt x="1552" y="71"/>
                    <a:pt x="1552" y="71"/>
                  </a:cubicBezTo>
                  <a:close/>
                  <a:moveTo>
                    <a:pt x="1662" y="72"/>
                  </a:moveTo>
                  <a:cubicBezTo>
                    <a:pt x="1662" y="72"/>
                    <a:pt x="1662" y="71"/>
                    <a:pt x="1661" y="71"/>
                  </a:cubicBezTo>
                  <a:cubicBezTo>
                    <a:pt x="1661" y="72"/>
                    <a:pt x="1661" y="72"/>
                    <a:pt x="1662" y="72"/>
                  </a:cubicBezTo>
                  <a:close/>
                  <a:moveTo>
                    <a:pt x="1721" y="71"/>
                  </a:moveTo>
                  <a:cubicBezTo>
                    <a:pt x="1720" y="71"/>
                    <a:pt x="1720" y="71"/>
                    <a:pt x="1720" y="72"/>
                  </a:cubicBezTo>
                  <a:cubicBezTo>
                    <a:pt x="1720" y="72"/>
                    <a:pt x="1720" y="71"/>
                    <a:pt x="1721" y="71"/>
                  </a:cubicBezTo>
                  <a:close/>
                  <a:moveTo>
                    <a:pt x="1564" y="7"/>
                  </a:moveTo>
                  <a:cubicBezTo>
                    <a:pt x="1564" y="7"/>
                    <a:pt x="1564" y="7"/>
                    <a:pt x="1565" y="7"/>
                  </a:cubicBezTo>
                  <a:cubicBezTo>
                    <a:pt x="1564" y="7"/>
                    <a:pt x="1564" y="7"/>
                    <a:pt x="1564" y="7"/>
                  </a:cubicBezTo>
                  <a:close/>
                  <a:moveTo>
                    <a:pt x="1732" y="7"/>
                  </a:moveTo>
                  <a:cubicBezTo>
                    <a:pt x="1732" y="7"/>
                    <a:pt x="1732" y="7"/>
                    <a:pt x="1733" y="7"/>
                  </a:cubicBezTo>
                  <a:cubicBezTo>
                    <a:pt x="1733" y="7"/>
                    <a:pt x="1732" y="7"/>
                    <a:pt x="1732" y="7"/>
                  </a:cubicBezTo>
                  <a:close/>
                  <a:moveTo>
                    <a:pt x="630" y="72"/>
                  </a:moveTo>
                  <a:cubicBezTo>
                    <a:pt x="631" y="72"/>
                    <a:pt x="631" y="72"/>
                    <a:pt x="631" y="72"/>
                  </a:cubicBezTo>
                  <a:cubicBezTo>
                    <a:pt x="630" y="72"/>
                    <a:pt x="630" y="72"/>
                    <a:pt x="630" y="72"/>
                  </a:cubicBezTo>
                  <a:close/>
                  <a:moveTo>
                    <a:pt x="641" y="71"/>
                  </a:moveTo>
                  <a:cubicBezTo>
                    <a:pt x="641" y="72"/>
                    <a:pt x="641" y="72"/>
                    <a:pt x="641" y="72"/>
                  </a:cubicBezTo>
                  <a:cubicBezTo>
                    <a:pt x="641" y="72"/>
                    <a:pt x="641" y="72"/>
                    <a:pt x="641" y="71"/>
                  </a:cubicBezTo>
                  <a:close/>
                  <a:moveTo>
                    <a:pt x="674" y="72"/>
                  </a:moveTo>
                  <a:cubicBezTo>
                    <a:pt x="674" y="72"/>
                    <a:pt x="674" y="72"/>
                    <a:pt x="674" y="72"/>
                  </a:cubicBezTo>
                  <a:cubicBezTo>
                    <a:pt x="674" y="72"/>
                    <a:pt x="674" y="72"/>
                    <a:pt x="674" y="72"/>
                  </a:cubicBezTo>
                  <a:close/>
                  <a:moveTo>
                    <a:pt x="1674" y="72"/>
                  </a:moveTo>
                  <a:cubicBezTo>
                    <a:pt x="1674" y="72"/>
                    <a:pt x="1674" y="72"/>
                    <a:pt x="1674" y="72"/>
                  </a:cubicBezTo>
                  <a:cubicBezTo>
                    <a:pt x="1674" y="72"/>
                    <a:pt x="1674" y="72"/>
                    <a:pt x="1674" y="72"/>
                  </a:cubicBezTo>
                  <a:close/>
                  <a:moveTo>
                    <a:pt x="1358" y="7"/>
                  </a:moveTo>
                  <a:cubicBezTo>
                    <a:pt x="1359" y="8"/>
                    <a:pt x="1359" y="7"/>
                    <a:pt x="1359" y="7"/>
                  </a:cubicBezTo>
                  <a:cubicBezTo>
                    <a:pt x="1359" y="7"/>
                    <a:pt x="1358" y="7"/>
                    <a:pt x="1358" y="7"/>
                  </a:cubicBezTo>
                  <a:close/>
                  <a:moveTo>
                    <a:pt x="675" y="72"/>
                  </a:moveTo>
                  <a:cubicBezTo>
                    <a:pt x="675" y="72"/>
                    <a:pt x="675" y="72"/>
                    <a:pt x="675" y="72"/>
                  </a:cubicBezTo>
                  <a:cubicBezTo>
                    <a:pt x="675" y="72"/>
                    <a:pt x="675" y="72"/>
                    <a:pt x="675" y="72"/>
                  </a:cubicBezTo>
                  <a:close/>
                  <a:moveTo>
                    <a:pt x="1381" y="7"/>
                  </a:moveTo>
                  <a:cubicBezTo>
                    <a:pt x="1381" y="8"/>
                    <a:pt x="1381" y="8"/>
                    <a:pt x="1382" y="8"/>
                  </a:cubicBezTo>
                  <a:cubicBezTo>
                    <a:pt x="1381" y="7"/>
                    <a:pt x="1381" y="7"/>
                    <a:pt x="1381" y="7"/>
                  </a:cubicBezTo>
                  <a:close/>
                  <a:moveTo>
                    <a:pt x="965" y="72"/>
                  </a:moveTo>
                  <a:cubicBezTo>
                    <a:pt x="965" y="72"/>
                    <a:pt x="965" y="72"/>
                    <a:pt x="966" y="73"/>
                  </a:cubicBezTo>
                  <a:cubicBezTo>
                    <a:pt x="966" y="72"/>
                    <a:pt x="966" y="72"/>
                    <a:pt x="965" y="72"/>
                  </a:cubicBezTo>
                  <a:close/>
                  <a:moveTo>
                    <a:pt x="908" y="41"/>
                  </a:moveTo>
                  <a:cubicBezTo>
                    <a:pt x="908" y="42"/>
                    <a:pt x="909" y="42"/>
                    <a:pt x="909" y="42"/>
                  </a:cubicBezTo>
                  <a:cubicBezTo>
                    <a:pt x="909" y="42"/>
                    <a:pt x="909" y="41"/>
                    <a:pt x="908" y="41"/>
                  </a:cubicBezTo>
                  <a:close/>
                  <a:moveTo>
                    <a:pt x="865" y="41"/>
                  </a:moveTo>
                  <a:cubicBezTo>
                    <a:pt x="865" y="41"/>
                    <a:pt x="865" y="41"/>
                    <a:pt x="866" y="41"/>
                  </a:cubicBezTo>
                  <a:cubicBezTo>
                    <a:pt x="866" y="41"/>
                    <a:pt x="866" y="41"/>
                    <a:pt x="865" y="41"/>
                  </a:cubicBezTo>
                  <a:close/>
                  <a:moveTo>
                    <a:pt x="1662" y="73"/>
                  </a:moveTo>
                  <a:cubicBezTo>
                    <a:pt x="1662" y="72"/>
                    <a:pt x="1662" y="72"/>
                    <a:pt x="1662" y="72"/>
                  </a:cubicBezTo>
                  <a:cubicBezTo>
                    <a:pt x="1662" y="72"/>
                    <a:pt x="1662" y="72"/>
                    <a:pt x="1662" y="73"/>
                  </a:cubicBezTo>
                  <a:close/>
                  <a:moveTo>
                    <a:pt x="641" y="72"/>
                  </a:moveTo>
                  <a:cubicBezTo>
                    <a:pt x="641" y="72"/>
                    <a:pt x="640" y="73"/>
                    <a:pt x="640" y="73"/>
                  </a:cubicBezTo>
                  <a:cubicBezTo>
                    <a:pt x="641" y="73"/>
                    <a:pt x="641" y="73"/>
                    <a:pt x="641" y="72"/>
                  </a:cubicBezTo>
                  <a:close/>
                  <a:moveTo>
                    <a:pt x="676" y="73"/>
                  </a:moveTo>
                  <a:cubicBezTo>
                    <a:pt x="676" y="72"/>
                    <a:pt x="676" y="72"/>
                    <a:pt x="675" y="72"/>
                  </a:cubicBezTo>
                  <a:cubicBezTo>
                    <a:pt x="675" y="73"/>
                    <a:pt x="676" y="73"/>
                    <a:pt x="676" y="73"/>
                  </a:cubicBezTo>
                  <a:close/>
                  <a:moveTo>
                    <a:pt x="648" y="55"/>
                  </a:moveTo>
                  <a:cubicBezTo>
                    <a:pt x="647" y="55"/>
                    <a:pt x="647" y="55"/>
                    <a:pt x="647" y="56"/>
                  </a:cubicBezTo>
                  <a:cubicBezTo>
                    <a:pt x="648" y="55"/>
                    <a:pt x="648" y="55"/>
                    <a:pt x="648" y="55"/>
                  </a:cubicBezTo>
                  <a:close/>
                  <a:moveTo>
                    <a:pt x="871" y="42"/>
                  </a:moveTo>
                  <a:cubicBezTo>
                    <a:pt x="871" y="42"/>
                    <a:pt x="871" y="42"/>
                    <a:pt x="871" y="41"/>
                  </a:cubicBezTo>
                  <a:cubicBezTo>
                    <a:pt x="871" y="41"/>
                    <a:pt x="871" y="42"/>
                    <a:pt x="871" y="42"/>
                  </a:cubicBezTo>
                  <a:close/>
                  <a:moveTo>
                    <a:pt x="1674" y="72"/>
                  </a:moveTo>
                  <a:cubicBezTo>
                    <a:pt x="1674" y="73"/>
                    <a:pt x="1674" y="73"/>
                    <a:pt x="1675" y="73"/>
                  </a:cubicBezTo>
                  <a:cubicBezTo>
                    <a:pt x="1675" y="73"/>
                    <a:pt x="1675" y="72"/>
                    <a:pt x="1674" y="72"/>
                  </a:cubicBezTo>
                  <a:close/>
                  <a:moveTo>
                    <a:pt x="1032" y="53"/>
                  </a:moveTo>
                  <a:cubicBezTo>
                    <a:pt x="1032" y="53"/>
                    <a:pt x="1032" y="53"/>
                    <a:pt x="1032" y="52"/>
                  </a:cubicBezTo>
                  <a:cubicBezTo>
                    <a:pt x="1032" y="53"/>
                    <a:pt x="1032" y="53"/>
                    <a:pt x="1032" y="53"/>
                  </a:cubicBezTo>
                  <a:close/>
                  <a:moveTo>
                    <a:pt x="607" y="73"/>
                  </a:moveTo>
                  <a:cubicBezTo>
                    <a:pt x="607" y="73"/>
                    <a:pt x="607" y="73"/>
                    <a:pt x="607" y="73"/>
                  </a:cubicBezTo>
                  <a:cubicBezTo>
                    <a:pt x="607" y="73"/>
                    <a:pt x="607" y="73"/>
                    <a:pt x="607" y="73"/>
                  </a:cubicBezTo>
                  <a:close/>
                  <a:moveTo>
                    <a:pt x="1431" y="8"/>
                  </a:moveTo>
                  <a:cubicBezTo>
                    <a:pt x="1431" y="8"/>
                    <a:pt x="1431" y="8"/>
                    <a:pt x="1431" y="7"/>
                  </a:cubicBezTo>
                  <a:cubicBezTo>
                    <a:pt x="1431" y="7"/>
                    <a:pt x="1431" y="7"/>
                    <a:pt x="1431" y="8"/>
                  </a:cubicBezTo>
                  <a:close/>
                  <a:moveTo>
                    <a:pt x="630" y="73"/>
                  </a:moveTo>
                  <a:cubicBezTo>
                    <a:pt x="630" y="73"/>
                    <a:pt x="630" y="73"/>
                    <a:pt x="630" y="73"/>
                  </a:cubicBezTo>
                  <a:cubicBezTo>
                    <a:pt x="630" y="73"/>
                    <a:pt x="630" y="73"/>
                    <a:pt x="630" y="73"/>
                  </a:cubicBezTo>
                  <a:close/>
                  <a:moveTo>
                    <a:pt x="677" y="73"/>
                  </a:moveTo>
                  <a:cubicBezTo>
                    <a:pt x="677" y="73"/>
                    <a:pt x="676" y="73"/>
                    <a:pt x="676" y="73"/>
                  </a:cubicBezTo>
                  <a:cubicBezTo>
                    <a:pt x="676" y="73"/>
                    <a:pt x="676" y="73"/>
                    <a:pt x="677" y="73"/>
                  </a:cubicBezTo>
                  <a:close/>
                  <a:moveTo>
                    <a:pt x="966" y="73"/>
                  </a:moveTo>
                  <a:cubicBezTo>
                    <a:pt x="966" y="73"/>
                    <a:pt x="966" y="73"/>
                    <a:pt x="966" y="73"/>
                  </a:cubicBezTo>
                  <a:cubicBezTo>
                    <a:pt x="966" y="73"/>
                    <a:pt x="966" y="73"/>
                    <a:pt x="966" y="73"/>
                  </a:cubicBezTo>
                  <a:close/>
                  <a:moveTo>
                    <a:pt x="677" y="73"/>
                  </a:moveTo>
                  <a:cubicBezTo>
                    <a:pt x="677" y="73"/>
                    <a:pt x="677" y="73"/>
                    <a:pt x="677" y="73"/>
                  </a:cubicBezTo>
                  <a:cubicBezTo>
                    <a:pt x="677" y="73"/>
                    <a:pt x="677" y="73"/>
                    <a:pt x="677" y="73"/>
                  </a:cubicBezTo>
                  <a:close/>
                  <a:moveTo>
                    <a:pt x="1451" y="7"/>
                  </a:moveTo>
                  <a:cubicBezTo>
                    <a:pt x="1451" y="8"/>
                    <a:pt x="1451" y="8"/>
                    <a:pt x="1452" y="8"/>
                  </a:cubicBezTo>
                  <a:cubicBezTo>
                    <a:pt x="1451" y="7"/>
                    <a:pt x="1451" y="7"/>
                    <a:pt x="1451" y="7"/>
                  </a:cubicBezTo>
                  <a:close/>
                  <a:moveTo>
                    <a:pt x="1663" y="74"/>
                  </a:moveTo>
                  <a:cubicBezTo>
                    <a:pt x="1663" y="73"/>
                    <a:pt x="1662" y="73"/>
                    <a:pt x="1662" y="73"/>
                  </a:cubicBezTo>
                  <a:cubicBezTo>
                    <a:pt x="1662" y="73"/>
                    <a:pt x="1662" y="73"/>
                    <a:pt x="1663" y="74"/>
                  </a:cubicBezTo>
                  <a:close/>
                  <a:moveTo>
                    <a:pt x="1085" y="48"/>
                  </a:moveTo>
                  <a:cubicBezTo>
                    <a:pt x="1085" y="49"/>
                    <a:pt x="1085" y="49"/>
                    <a:pt x="1085" y="49"/>
                  </a:cubicBezTo>
                  <a:cubicBezTo>
                    <a:pt x="1085" y="49"/>
                    <a:pt x="1085" y="48"/>
                    <a:pt x="1085" y="48"/>
                  </a:cubicBezTo>
                  <a:close/>
                  <a:moveTo>
                    <a:pt x="1542" y="8"/>
                  </a:moveTo>
                  <a:cubicBezTo>
                    <a:pt x="1543" y="8"/>
                    <a:pt x="1543" y="8"/>
                    <a:pt x="1543" y="7"/>
                  </a:cubicBezTo>
                  <a:cubicBezTo>
                    <a:pt x="1543" y="7"/>
                    <a:pt x="1543" y="7"/>
                    <a:pt x="1542" y="8"/>
                  </a:cubicBezTo>
                  <a:close/>
                  <a:moveTo>
                    <a:pt x="1565" y="7"/>
                  </a:moveTo>
                  <a:cubicBezTo>
                    <a:pt x="1565" y="7"/>
                    <a:pt x="1565" y="8"/>
                    <a:pt x="1566" y="7"/>
                  </a:cubicBezTo>
                  <a:cubicBezTo>
                    <a:pt x="1565" y="7"/>
                    <a:pt x="1565" y="7"/>
                    <a:pt x="1565" y="7"/>
                  </a:cubicBezTo>
                  <a:close/>
                  <a:moveTo>
                    <a:pt x="640" y="73"/>
                  </a:moveTo>
                  <a:cubicBezTo>
                    <a:pt x="640" y="73"/>
                    <a:pt x="640" y="74"/>
                    <a:pt x="640" y="74"/>
                  </a:cubicBezTo>
                  <a:cubicBezTo>
                    <a:pt x="640" y="74"/>
                    <a:pt x="640" y="74"/>
                    <a:pt x="640" y="73"/>
                  </a:cubicBezTo>
                  <a:close/>
                  <a:moveTo>
                    <a:pt x="678" y="74"/>
                  </a:moveTo>
                  <a:cubicBezTo>
                    <a:pt x="678" y="73"/>
                    <a:pt x="678" y="73"/>
                    <a:pt x="677" y="73"/>
                  </a:cubicBezTo>
                  <a:cubicBezTo>
                    <a:pt x="678" y="74"/>
                    <a:pt x="678" y="74"/>
                    <a:pt x="678" y="74"/>
                  </a:cubicBezTo>
                  <a:close/>
                  <a:moveTo>
                    <a:pt x="697" y="73"/>
                  </a:moveTo>
                  <a:cubicBezTo>
                    <a:pt x="697" y="74"/>
                    <a:pt x="697" y="74"/>
                    <a:pt x="697" y="74"/>
                  </a:cubicBezTo>
                  <a:cubicBezTo>
                    <a:pt x="697" y="74"/>
                    <a:pt x="697" y="73"/>
                    <a:pt x="697" y="73"/>
                  </a:cubicBezTo>
                  <a:close/>
                  <a:moveTo>
                    <a:pt x="953" y="74"/>
                  </a:moveTo>
                  <a:cubicBezTo>
                    <a:pt x="953" y="74"/>
                    <a:pt x="953" y="73"/>
                    <a:pt x="953" y="73"/>
                  </a:cubicBezTo>
                  <a:cubicBezTo>
                    <a:pt x="953" y="74"/>
                    <a:pt x="953" y="74"/>
                    <a:pt x="953" y="74"/>
                  </a:cubicBezTo>
                  <a:close/>
                  <a:moveTo>
                    <a:pt x="966" y="73"/>
                  </a:moveTo>
                  <a:cubicBezTo>
                    <a:pt x="966" y="74"/>
                    <a:pt x="966" y="74"/>
                    <a:pt x="966" y="74"/>
                  </a:cubicBezTo>
                  <a:cubicBezTo>
                    <a:pt x="966" y="74"/>
                    <a:pt x="966" y="74"/>
                    <a:pt x="966" y="73"/>
                  </a:cubicBezTo>
                  <a:close/>
                  <a:moveTo>
                    <a:pt x="662" y="41"/>
                  </a:moveTo>
                  <a:cubicBezTo>
                    <a:pt x="662" y="41"/>
                    <a:pt x="662" y="41"/>
                    <a:pt x="663" y="41"/>
                  </a:cubicBezTo>
                  <a:cubicBezTo>
                    <a:pt x="662" y="41"/>
                    <a:pt x="662" y="41"/>
                    <a:pt x="662" y="41"/>
                  </a:cubicBezTo>
                  <a:close/>
                  <a:moveTo>
                    <a:pt x="1365" y="73"/>
                  </a:moveTo>
                  <a:cubicBezTo>
                    <a:pt x="1365" y="73"/>
                    <a:pt x="1365" y="73"/>
                    <a:pt x="1365" y="74"/>
                  </a:cubicBezTo>
                  <a:cubicBezTo>
                    <a:pt x="1365" y="74"/>
                    <a:pt x="1365" y="74"/>
                    <a:pt x="1365" y="73"/>
                  </a:cubicBezTo>
                  <a:close/>
                  <a:moveTo>
                    <a:pt x="1710" y="8"/>
                  </a:moveTo>
                  <a:cubicBezTo>
                    <a:pt x="1711" y="8"/>
                    <a:pt x="1711" y="8"/>
                    <a:pt x="1711" y="7"/>
                  </a:cubicBezTo>
                  <a:cubicBezTo>
                    <a:pt x="1711" y="7"/>
                    <a:pt x="1711" y="7"/>
                    <a:pt x="1710" y="8"/>
                  </a:cubicBezTo>
                  <a:close/>
                  <a:moveTo>
                    <a:pt x="679" y="74"/>
                  </a:moveTo>
                  <a:cubicBezTo>
                    <a:pt x="679" y="74"/>
                    <a:pt x="678" y="74"/>
                    <a:pt x="678" y="74"/>
                  </a:cubicBezTo>
                  <a:cubicBezTo>
                    <a:pt x="678" y="74"/>
                    <a:pt x="678" y="74"/>
                    <a:pt x="679" y="74"/>
                  </a:cubicBezTo>
                  <a:close/>
                  <a:moveTo>
                    <a:pt x="1733" y="7"/>
                  </a:moveTo>
                  <a:cubicBezTo>
                    <a:pt x="1733" y="7"/>
                    <a:pt x="1734" y="8"/>
                    <a:pt x="1734" y="7"/>
                  </a:cubicBezTo>
                  <a:cubicBezTo>
                    <a:pt x="1734" y="7"/>
                    <a:pt x="1733" y="7"/>
                    <a:pt x="1733" y="7"/>
                  </a:cubicBezTo>
                  <a:close/>
                  <a:moveTo>
                    <a:pt x="1667" y="58"/>
                  </a:moveTo>
                  <a:cubicBezTo>
                    <a:pt x="1666" y="58"/>
                    <a:pt x="1666" y="58"/>
                    <a:pt x="1666" y="58"/>
                  </a:cubicBezTo>
                  <a:cubicBezTo>
                    <a:pt x="1666" y="58"/>
                    <a:pt x="1666" y="58"/>
                    <a:pt x="1667" y="58"/>
                  </a:cubicBezTo>
                  <a:close/>
                  <a:moveTo>
                    <a:pt x="1663" y="74"/>
                  </a:moveTo>
                  <a:cubicBezTo>
                    <a:pt x="1663" y="74"/>
                    <a:pt x="1663" y="74"/>
                    <a:pt x="1662" y="74"/>
                  </a:cubicBezTo>
                  <a:cubicBezTo>
                    <a:pt x="1662" y="74"/>
                    <a:pt x="1663" y="74"/>
                    <a:pt x="1663" y="74"/>
                  </a:cubicBezTo>
                  <a:close/>
                  <a:moveTo>
                    <a:pt x="1717" y="74"/>
                  </a:moveTo>
                  <a:cubicBezTo>
                    <a:pt x="1717" y="74"/>
                    <a:pt x="1717" y="74"/>
                    <a:pt x="1717" y="74"/>
                  </a:cubicBezTo>
                  <a:cubicBezTo>
                    <a:pt x="1717" y="74"/>
                    <a:pt x="1717" y="74"/>
                    <a:pt x="1717" y="74"/>
                  </a:cubicBezTo>
                  <a:close/>
                  <a:moveTo>
                    <a:pt x="640" y="74"/>
                  </a:moveTo>
                  <a:cubicBezTo>
                    <a:pt x="640" y="74"/>
                    <a:pt x="640" y="74"/>
                    <a:pt x="640" y="75"/>
                  </a:cubicBezTo>
                  <a:cubicBezTo>
                    <a:pt x="640" y="75"/>
                    <a:pt x="640" y="74"/>
                    <a:pt x="640" y="74"/>
                  </a:cubicBezTo>
                  <a:close/>
                  <a:moveTo>
                    <a:pt x="679" y="74"/>
                  </a:moveTo>
                  <a:cubicBezTo>
                    <a:pt x="679" y="74"/>
                    <a:pt x="679" y="74"/>
                    <a:pt x="679" y="74"/>
                  </a:cubicBezTo>
                  <a:cubicBezTo>
                    <a:pt x="679" y="74"/>
                    <a:pt x="679" y="74"/>
                    <a:pt x="679" y="74"/>
                  </a:cubicBezTo>
                  <a:close/>
                  <a:moveTo>
                    <a:pt x="697" y="74"/>
                  </a:moveTo>
                  <a:cubicBezTo>
                    <a:pt x="697" y="74"/>
                    <a:pt x="697" y="75"/>
                    <a:pt x="698" y="75"/>
                  </a:cubicBezTo>
                  <a:cubicBezTo>
                    <a:pt x="698" y="74"/>
                    <a:pt x="697" y="74"/>
                    <a:pt x="697" y="74"/>
                  </a:cubicBezTo>
                  <a:close/>
                  <a:moveTo>
                    <a:pt x="582" y="8"/>
                  </a:moveTo>
                  <a:cubicBezTo>
                    <a:pt x="582" y="8"/>
                    <a:pt x="582" y="8"/>
                    <a:pt x="583" y="8"/>
                  </a:cubicBezTo>
                  <a:cubicBezTo>
                    <a:pt x="582" y="8"/>
                    <a:pt x="582" y="8"/>
                    <a:pt x="582" y="8"/>
                  </a:cubicBezTo>
                  <a:close/>
                  <a:moveTo>
                    <a:pt x="1675" y="74"/>
                  </a:moveTo>
                  <a:cubicBezTo>
                    <a:pt x="1675" y="74"/>
                    <a:pt x="1675" y="75"/>
                    <a:pt x="1675" y="75"/>
                  </a:cubicBezTo>
                  <a:cubicBezTo>
                    <a:pt x="1675" y="74"/>
                    <a:pt x="1675" y="74"/>
                    <a:pt x="1675" y="74"/>
                  </a:cubicBezTo>
                  <a:close/>
                  <a:moveTo>
                    <a:pt x="608" y="75"/>
                  </a:moveTo>
                  <a:cubicBezTo>
                    <a:pt x="608" y="75"/>
                    <a:pt x="608" y="74"/>
                    <a:pt x="608" y="74"/>
                  </a:cubicBezTo>
                  <a:cubicBezTo>
                    <a:pt x="608" y="75"/>
                    <a:pt x="608" y="75"/>
                    <a:pt x="608" y="75"/>
                  </a:cubicBezTo>
                  <a:close/>
                  <a:moveTo>
                    <a:pt x="629" y="75"/>
                  </a:moveTo>
                  <a:cubicBezTo>
                    <a:pt x="630" y="75"/>
                    <a:pt x="630" y="75"/>
                    <a:pt x="630" y="74"/>
                  </a:cubicBezTo>
                  <a:cubicBezTo>
                    <a:pt x="629" y="75"/>
                    <a:pt x="629" y="75"/>
                    <a:pt x="629" y="75"/>
                  </a:cubicBezTo>
                  <a:close/>
                  <a:moveTo>
                    <a:pt x="680" y="75"/>
                  </a:moveTo>
                  <a:cubicBezTo>
                    <a:pt x="680" y="74"/>
                    <a:pt x="680" y="74"/>
                    <a:pt x="679" y="74"/>
                  </a:cubicBezTo>
                  <a:cubicBezTo>
                    <a:pt x="680" y="75"/>
                    <a:pt x="680" y="75"/>
                    <a:pt x="680" y="75"/>
                  </a:cubicBezTo>
                  <a:close/>
                  <a:moveTo>
                    <a:pt x="954" y="75"/>
                  </a:moveTo>
                  <a:cubicBezTo>
                    <a:pt x="954" y="75"/>
                    <a:pt x="954" y="74"/>
                    <a:pt x="953" y="74"/>
                  </a:cubicBezTo>
                  <a:cubicBezTo>
                    <a:pt x="953" y="75"/>
                    <a:pt x="953" y="75"/>
                    <a:pt x="954" y="75"/>
                  </a:cubicBezTo>
                  <a:close/>
                  <a:moveTo>
                    <a:pt x="966" y="74"/>
                  </a:moveTo>
                  <a:cubicBezTo>
                    <a:pt x="966" y="75"/>
                    <a:pt x="966" y="75"/>
                    <a:pt x="967" y="75"/>
                  </a:cubicBezTo>
                  <a:cubicBezTo>
                    <a:pt x="967" y="75"/>
                    <a:pt x="967" y="75"/>
                    <a:pt x="966" y="74"/>
                  </a:cubicBezTo>
                  <a:close/>
                  <a:moveTo>
                    <a:pt x="595" y="41"/>
                  </a:moveTo>
                  <a:cubicBezTo>
                    <a:pt x="595" y="41"/>
                    <a:pt x="595" y="41"/>
                    <a:pt x="595" y="41"/>
                  </a:cubicBezTo>
                  <a:cubicBezTo>
                    <a:pt x="595" y="41"/>
                    <a:pt x="595" y="41"/>
                    <a:pt x="595" y="41"/>
                  </a:cubicBezTo>
                  <a:close/>
                  <a:moveTo>
                    <a:pt x="1663" y="75"/>
                  </a:moveTo>
                  <a:cubicBezTo>
                    <a:pt x="1663" y="75"/>
                    <a:pt x="1663" y="75"/>
                    <a:pt x="1663" y="74"/>
                  </a:cubicBezTo>
                  <a:cubicBezTo>
                    <a:pt x="1663" y="75"/>
                    <a:pt x="1663" y="75"/>
                    <a:pt x="1663" y="75"/>
                  </a:cubicBezTo>
                  <a:close/>
                  <a:moveTo>
                    <a:pt x="619" y="75"/>
                  </a:moveTo>
                  <a:cubicBezTo>
                    <a:pt x="619" y="75"/>
                    <a:pt x="619" y="75"/>
                    <a:pt x="619" y="76"/>
                  </a:cubicBezTo>
                  <a:cubicBezTo>
                    <a:pt x="619" y="75"/>
                    <a:pt x="619" y="75"/>
                    <a:pt x="619" y="75"/>
                  </a:cubicBezTo>
                  <a:close/>
                  <a:moveTo>
                    <a:pt x="681" y="75"/>
                  </a:moveTo>
                  <a:cubicBezTo>
                    <a:pt x="681" y="75"/>
                    <a:pt x="680" y="75"/>
                    <a:pt x="680" y="75"/>
                  </a:cubicBezTo>
                  <a:cubicBezTo>
                    <a:pt x="680" y="75"/>
                    <a:pt x="681" y="75"/>
                    <a:pt x="681" y="75"/>
                  </a:cubicBezTo>
                  <a:close/>
                  <a:moveTo>
                    <a:pt x="1357" y="8"/>
                  </a:moveTo>
                  <a:cubicBezTo>
                    <a:pt x="1357" y="8"/>
                    <a:pt x="1358" y="8"/>
                    <a:pt x="1358" y="8"/>
                  </a:cubicBezTo>
                  <a:cubicBezTo>
                    <a:pt x="1358" y="8"/>
                    <a:pt x="1357" y="8"/>
                    <a:pt x="1357" y="8"/>
                  </a:cubicBezTo>
                  <a:close/>
                  <a:moveTo>
                    <a:pt x="799" y="41"/>
                  </a:moveTo>
                  <a:cubicBezTo>
                    <a:pt x="799" y="42"/>
                    <a:pt x="799" y="42"/>
                    <a:pt x="799" y="42"/>
                  </a:cubicBezTo>
                  <a:cubicBezTo>
                    <a:pt x="799" y="42"/>
                    <a:pt x="799" y="41"/>
                    <a:pt x="799" y="41"/>
                  </a:cubicBezTo>
                  <a:close/>
                  <a:moveTo>
                    <a:pt x="1382" y="8"/>
                  </a:moveTo>
                  <a:cubicBezTo>
                    <a:pt x="1382" y="8"/>
                    <a:pt x="1382" y="8"/>
                    <a:pt x="1383" y="8"/>
                  </a:cubicBezTo>
                  <a:cubicBezTo>
                    <a:pt x="1382" y="8"/>
                    <a:pt x="1382" y="8"/>
                    <a:pt x="1382" y="8"/>
                  </a:cubicBezTo>
                  <a:close/>
                  <a:moveTo>
                    <a:pt x="1675" y="75"/>
                  </a:moveTo>
                  <a:cubicBezTo>
                    <a:pt x="1675" y="75"/>
                    <a:pt x="1675" y="75"/>
                    <a:pt x="1676" y="75"/>
                  </a:cubicBezTo>
                  <a:cubicBezTo>
                    <a:pt x="1676" y="75"/>
                    <a:pt x="1676" y="75"/>
                    <a:pt x="1675" y="75"/>
                  </a:cubicBezTo>
                  <a:close/>
                  <a:moveTo>
                    <a:pt x="640" y="75"/>
                  </a:moveTo>
                  <a:cubicBezTo>
                    <a:pt x="639" y="75"/>
                    <a:pt x="639" y="75"/>
                    <a:pt x="639" y="76"/>
                  </a:cubicBezTo>
                  <a:cubicBezTo>
                    <a:pt x="640" y="76"/>
                    <a:pt x="640" y="75"/>
                    <a:pt x="640" y="75"/>
                  </a:cubicBezTo>
                  <a:close/>
                  <a:moveTo>
                    <a:pt x="682" y="75"/>
                  </a:moveTo>
                  <a:cubicBezTo>
                    <a:pt x="681" y="75"/>
                    <a:pt x="681" y="75"/>
                    <a:pt x="681" y="75"/>
                  </a:cubicBezTo>
                  <a:cubicBezTo>
                    <a:pt x="681" y="75"/>
                    <a:pt x="681" y="75"/>
                    <a:pt x="682" y="75"/>
                  </a:cubicBezTo>
                  <a:close/>
                  <a:moveTo>
                    <a:pt x="1502" y="8"/>
                  </a:moveTo>
                  <a:cubicBezTo>
                    <a:pt x="1503" y="8"/>
                    <a:pt x="1503" y="8"/>
                    <a:pt x="1503" y="8"/>
                  </a:cubicBezTo>
                  <a:cubicBezTo>
                    <a:pt x="1503" y="8"/>
                    <a:pt x="1502" y="8"/>
                    <a:pt x="1502" y="8"/>
                  </a:cubicBezTo>
                  <a:close/>
                  <a:moveTo>
                    <a:pt x="967" y="75"/>
                  </a:moveTo>
                  <a:cubicBezTo>
                    <a:pt x="967" y="75"/>
                    <a:pt x="967" y="76"/>
                    <a:pt x="967" y="76"/>
                  </a:cubicBezTo>
                  <a:cubicBezTo>
                    <a:pt x="967" y="75"/>
                    <a:pt x="967" y="75"/>
                    <a:pt x="967" y="75"/>
                  </a:cubicBezTo>
                  <a:close/>
                  <a:moveTo>
                    <a:pt x="1370" y="58"/>
                  </a:moveTo>
                  <a:cubicBezTo>
                    <a:pt x="1370" y="58"/>
                    <a:pt x="1371" y="58"/>
                    <a:pt x="1371" y="58"/>
                  </a:cubicBezTo>
                  <a:cubicBezTo>
                    <a:pt x="1370" y="58"/>
                    <a:pt x="1370" y="58"/>
                    <a:pt x="1370" y="58"/>
                  </a:cubicBezTo>
                  <a:close/>
                  <a:moveTo>
                    <a:pt x="875" y="48"/>
                  </a:moveTo>
                  <a:cubicBezTo>
                    <a:pt x="875" y="48"/>
                    <a:pt x="875" y="49"/>
                    <a:pt x="875" y="49"/>
                  </a:cubicBezTo>
                  <a:cubicBezTo>
                    <a:pt x="875" y="49"/>
                    <a:pt x="875" y="49"/>
                    <a:pt x="875" y="48"/>
                  </a:cubicBezTo>
                  <a:close/>
                  <a:moveTo>
                    <a:pt x="1033" y="49"/>
                  </a:moveTo>
                  <a:cubicBezTo>
                    <a:pt x="1034" y="49"/>
                    <a:pt x="1034" y="49"/>
                    <a:pt x="1034" y="49"/>
                  </a:cubicBezTo>
                  <a:cubicBezTo>
                    <a:pt x="1034" y="49"/>
                    <a:pt x="1033" y="49"/>
                    <a:pt x="1033" y="49"/>
                  </a:cubicBezTo>
                  <a:close/>
                  <a:moveTo>
                    <a:pt x="832" y="48"/>
                  </a:moveTo>
                  <a:cubicBezTo>
                    <a:pt x="832" y="48"/>
                    <a:pt x="832" y="49"/>
                    <a:pt x="832" y="49"/>
                  </a:cubicBezTo>
                  <a:cubicBezTo>
                    <a:pt x="832" y="49"/>
                    <a:pt x="832" y="49"/>
                    <a:pt x="832" y="48"/>
                  </a:cubicBezTo>
                  <a:close/>
                  <a:moveTo>
                    <a:pt x="608" y="76"/>
                  </a:moveTo>
                  <a:cubicBezTo>
                    <a:pt x="608" y="76"/>
                    <a:pt x="608" y="75"/>
                    <a:pt x="608" y="75"/>
                  </a:cubicBezTo>
                  <a:cubicBezTo>
                    <a:pt x="608" y="76"/>
                    <a:pt x="608" y="76"/>
                    <a:pt x="608" y="76"/>
                  </a:cubicBezTo>
                  <a:close/>
                  <a:moveTo>
                    <a:pt x="629" y="76"/>
                  </a:moveTo>
                  <a:cubicBezTo>
                    <a:pt x="629" y="76"/>
                    <a:pt x="629" y="76"/>
                    <a:pt x="629" y="75"/>
                  </a:cubicBezTo>
                  <a:cubicBezTo>
                    <a:pt x="629" y="76"/>
                    <a:pt x="629" y="76"/>
                    <a:pt x="629" y="76"/>
                  </a:cubicBezTo>
                  <a:close/>
                  <a:moveTo>
                    <a:pt x="752" y="49"/>
                  </a:moveTo>
                  <a:cubicBezTo>
                    <a:pt x="752" y="49"/>
                    <a:pt x="752" y="49"/>
                    <a:pt x="752" y="48"/>
                  </a:cubicBezTo>
                  <a:cubicBezTo>
                    <a:pt x="752" y="48"/>
                    <a:pt x="752" y="49"/>
                    <a:pt x="752" y="49"/>
                  </a:cubicBezTo>
                  <a:close/>
                  <a:moveTo>
                    <a:pt x="954" y="76"/>
                  </a:moveTo>
                  <a:cubicBezTo>
                    <a:pt x="954" y="76"/>
                    <a:pt x="954" y="75"/>
                    <a:pt x="954" y="75"/>
                  </a:cubicBezTo>
                  <a:cubicBezTo>
                    <a:pt x="954" y="76"/>
                    <a:pt x="954" y="76"/>
                    <a:pt x="954" y="76"/>
                  </a:cubicBezTo>
                  <a:close/>
                  <a:moveTo>
                    <a:pt x="1664" y="76"/>
                  </a:moveTo>
                  <a:cubicBezTo>
                    <a:pt x="1664" y="76"/>
                    <a:pt x="1664" y="75"/>
                    <a:pt x="1663" y="75"/>
                  </a:cubicBezTo>
                  <a:cubicBezTo>
                    <a:pt x="1663" y="76"/>
                    <a:pt x="1663" y="76"/>
                    <a:pt x="1664" y="76"/>
                  </a:cubicBezTo>
                  <a:close/>
                  <a:moveTo>
                    <a:pt x="1676" y="75"/>
                  </a:moveTo>
                  <a:cubicBezTo>
                    <a:pt x="1676" y="76"/>
                    <a:pt x="1676" y="76"/>
                    <a:pt x="1676" y="76"/>
                  </a:cubicBezTo>
                  <a:cubicBezTo>
                    <a:pt x="1676" y="76"/>
                    <a:pt x="1676" y="76"/>
                    <a:pt x="1676" y="75"/>
                  </a:cubicBezTo>
                  <a:close/>
                  <a:moveTo>
                    <a:pt x="619" y="76"/>
                  </a:moveTo>
                  <a:cubicBezTo>
                    <a:pt x="619" y="76"/>
                    <a:pt x="619" y="76"/>
                    <a:pt x="619" y="77"/>
                  </a:cubicBezTo>
                  <a:cubicBezTo>
                    <a:pt x="619" y="76"/>
                    <a:pt x="619" y="76"/>
                    <a:pt x="619" y="76"/>
                  </a:cubicBezTo>
                  <a:close/>
                  <a:moveTo>
                    <a:pt x="639" y="76"/>
                  </a:moveTo>
                  <a:cubicBezTo>
                    <a:pt x="639" y="76"/>
                    <a:pt x="639" y="76"/>
                    <a:pt x="639" y="76"/>
                  </a:cubicBezTo>
                  <a:cubicBezTo>
                    <a:pt x="639" y="76"/>
                    <a:pt x="639" y="76"/>
                    <a:pt x="639" y="76"/>
                  </a:cubicBezTo>
                  <a:close/>
                  <a:moveTo>
                    <a:pt x="683" y="76"/>
                  </a:moveTo>
                  <a:cubicBezTo>
                    <a:pt x="682" y="76"/>
                    <a:pt x="682" y="76"/>
                    <a:pt x="682" y="76"/>
                  </a:cubicBezTo>
                  <a:cubicBezTo>
                    <a:pt x="682" y="76"/>
                    <a:pt x="682" y="76"/>
                    <a:pt x="683" y="76"/>
                  </a:cubicBezTo>
                  <a:close/>
                  <a:moveTo>
                    <a:pt x="967" y="76"/>
                  </a:moveTo>
                  <a:cubicBezTo>
                    <a:pt x="967" y="76"/>
                    <a:pt x="967" y="76"/>
                    <a:pt x="967" y="76"/>
                  </a:cubicBezTo>
                  <a:cubicBezTo>
                    <a:pt x="967" y="76"/>
                    <a:pt x="967" y="76"/>
                    <a:pt x="967" y="76"/>
                  </a:cubicBezTo>
                  <a:close/>
                  <a:moveTo>
                    <a:pt x="1349" y="76"/>
                  </a:moveTo>
                  <a:cubicBezTo>
                    <a:pt x="1349" y="76"/>
                    <a:pt x="1350" y="76"/>
                    <a:pt x="1350" y="76"/>
                  </a:cubicBezTo>
                  <a:cubicBezTo>
                    <a:pt x="1349" y="76"/>
                    <a:pt x="1349" y="76"/>
                    <a:pt x="1349" y="76"/>
                  </a:cubicBezTo>
                  <a:close/>
                  <a:moveTo>
                    <a:pt x="1541" y="8"/>
                  </a:moveTo>
                  <a:cubicBezTo>
                    <a:pt x="1542" y="8"/>
                    <a:pt x="1542" y="8"/>
                    <a:pt x="1542" y="8"/>
                  </a:cubicBezTo>
                  <a:cubicBezTo>
                    <a:pt x="1542" y="8"/>
                    <a:pt x="1542" y="8"/>
                    <a:pt x="1541" y="8"/>
                  </a:cubicBezTo>
                  <a:close/>
                  <a:moveTo>
                    <a:pt x="609" y="77"/>
                  </a:moveTo>
                  <a:cubicBezTo>
                    <a:pt x="609" y="77"/>
                    <a:pt x="609" y="76"/>
                    <a:pt x="608" y="76"/>
                  </a:cubicBezTo>
                  <a:cubicBezTo>
                    <a:pt x="608" y="76"/>
                    <a:pt x="608" y="77"/>
                    <a:pt x="609" y="77"/>
                  </a:cubicBezTo>
                  <a:close/>
                  <a:moveTo>
                    <a:pt x="1566" y="8"/>
                  </a:moveTo>
                  <a:cubicBezTo>
                    <a:pt x="1566" y="8"/>
                    <a:pt x="1566" y="8"/>
                    <a:pt x="1567" y="8"/>
                  </a:cubicBezTo>
                  <a:cubicBezTo>
                    <a:pt x="1567" y="8"/>
                    <a:pt x="1566" y="8"/>
                    <a:pt x="1566" y="8"/>
                  </a:cubicBezTo>
                  <a:close/>
                  <a:moveTo>
                    <a:pt x="683" y="76"/>
                  </a:moveTo>
                  <a:cubicBezTo>
                    <a:pt x="683" y="76"/>
                    <a:pt x="683" y="76"/>
                    <a:pt x="683" y="76"/>
                  </a:cubicBezTo>
                  <a:cubicBezTo>
                    <a:pt x="683" y="76"/>
                    <a:pt x="683" y="76"/>
                    <a:pt x="683" y="76"/>
                  </a:cubicBezTo>
                  <a:close/>
                  <a:moveTo>
                    <a:pt x="698" y="76"/>
                  </a:moveTo>
                  <a:cubicBezTo>
                    <a:pt x="698" y="76"/>
                    <a:pt x="698" y="77"/>
                    <a:pt x="699" y="77"/>
                  </a:cubicBezTo>
                  <a:cubicBezTo>
                    <a:pt x="699" y="77"/>
                    <a:pt x="699" y="76"/>
                    <a:pt x="698" y="76"/>
                  </a:cubicBezTo>
                  <a:close/>
                  <a:moveTo>
                    <a:pt x="1709" y="8"/>
                  </a:moveTo>
                  <a:cubicBezTo>
                    <a:pt x="1710" y="8"/>
                    <a:pt x="1710" y="8"/>
                    <a:pt x="1710" y="8"/>
                  </a:cubicBezTo>
                  <a:cubicBezTo>
                    <a:pt x="1710" y="8"/>
                    <a:pt x="1710" y="8"/>
                    <a:pt x="1709" y="8"/>
                  </a:cubicBezTo>
                  <a:close/>
                  <a:moveTo>
                    <a:pt x="563" y="48"/>
                  </a:moveTo>
                  <a:cubicBezTo>
                    <a:pt x="563" y="49"/>
                    <a:pt x="564" y="49"/>
                    <a:pt x="564" y="49"/>
                  </a:cubicBezTo>
                  <a:cubicBezTo>
                    <a:pt x="564" y="48"/>
                    <a:pt x="563" y="48"/>
                    <a:pt x="563" y="48"/>
                  </a:cubicBezTo>
                  <a:close/>
                  <a:moveTo>
                    <a:pt x="1734" y="8"/>
                  </a:moveTo>
                  <a:cubicBezTo>
                    <a:pt x="1734" y="8"/>
                    <a:pt x="1735" y="8"/>
                    <a:pt x="1735" y="8"/>
                  </a:cubicBezTo>
                  <a:cubicBezTo>
                    <a:pt x="1735" y="8"/>
                    <a:pt x="1734" y="8"/>
                    <a:pt x="1734" y="8"/>
                  </a:cubicBezTo>
                  <a:close/>
                  <a:moveTo>
                    <a:pt x="1664" y="77"/>
                  </a:moveTo>
                  <a:cubicBezTo>
                    <a:pt x="1664" y="76"/>
                    <a:pt x="1664" y="76"/>
                    <a:pt x="1664" y="76"/>
                  </a:cubicBezTo>
                  <a:cubicBezTo>
                    <a:pt x="1664" y="76"/>
                    <a:pt x="1664" y="77"/>
                    <a:pt x="1664" y="77"/>
                  </a:cubicBezTo>
                  <a:close/>
                  <a:moveTo>
                    <a:pt x="1676" y="76"/>
                  </a:moveTo>
                  <a:cubicBezTo>
                    <a:pt x="1676" y="76"/>
                    <a:pt x="1676" y="77"/>
                    <a:pt x="1676" y="77"/>
                  </a:cubicBezTo>
                  <a:cubicBezTo>
                    <a:pt x="1676" y="77"/>
                    <a:pt x="1676" y="76"/>
                    <a:pt x="1676" y="76"/>
                  </a:cubicBezTo>
                  <a:close/>
                  <a:moveTo>
                    <a:pt x="602" y="59"/>
                  </a:moveTo>
                  <a:cubicBezTo>
                    <a:pt x="602" y="59"/>
                    <a:pt x="602" y="58"/>
                    <a:pt x="602" y="58"/>
                  </a:cubicBezTo>
                  <a:cubicBezTo>
                    <a:pt x="601" y="59"/>
                    <a:pt x="602" y="59"/>
                    <a:pt x="602" y="59"/>
                  </a:cubicBezTo>
                  <a:close/>
                  <a:moveTo>
                    <a:pt x="965" y="40"/>
                  </a:moveTo>
                  <a:cubicBezTo>
                    <a:pt x="965" y="40"/>
                    <a:pt x="965" y="41"/>
                    <a:pt x="965" y="41"/>
                  </a:cubicBezTo>
                  <a:cubicBezTo>
                    <a:pt x="965" y="41"/>
                    <a:pt x="965" y="40"/>
                    <a:pt x="965" y="40"/>
                  </a:cubicBezTo>
                  <a:close/>
                  <a:moveTo>
                    <a:pt x="619" y="77"/>
                  </a:moveTo>
                  <a:cubicBezTo>
                    <a:pt x="619" y="77"/>
                    <a:pt x="619" y="77"/>
                    <a:pt x="620" y="78"/>
                  </a:cubicBezTo>
                  <a:cubicBezTo>
                    <a:pt x="620" y="77"/>
                    <a:pt x="620" y="77"/>
                    <a:pt x="619" y="77"/>
                  </a:cubicBezTo>
                  <a:close/>
                  <a:moveTo>
                    <a:pt x="639" y="77"/>
                  </a:moveTo>
                  <a:cubicBezTo>
                    <a:pt x="639" y="77"/>
                    <a:pt x="639" y="77"/>
                    <a:pt x="639" y="77"/>
                  </a:cubicBezTo>
                  <a:cubicBezTo>
                    <a:pt x="639" y="77"/>
                    <a:pt x="639" y="77"/>
                    <a:pt x="639" y="77"/>
                  </a:cubicBezTo>
                  <a:close/>
                  <a:moveTo>
                    <a:pt x="684" y="77"/>
                  </a:moveTo>
                  <a:cubicBezTo>
                    <a:pt x="684" y="77"/>
                    <a:pt x="684" y="77"/>
                    <a:pt x="684" y="77"/>
                  </a:cubicBezTo>
                  <a:cubicBezTo>
                    <a:pt x="684" y="77"/>
                    <a:pt x="684" y="77"/>
                    <a:pt x="684" y="77"/>
                  </a:cubicBezTo>
                  <a:close/>
                  <a:moveTo>
                    <a:pt x="553" y="8"/>
                  </a:moveTo>
                  <a:cubicBezTo>
                    <a:pt x="553" y="8"/>
                    <a:pt x="553" y="8"/>
                    <a:pt x="553" y="8"/>
                  </a:cubicBezTo>
                  <a:cubicBezTo>
                    <a:pt x="553" y="8"/>
                    <a:pt x="553" y="8"/>
                    <a:pt x="553" y="8"/>
                  </a:cubicBezTo>
                  <a:close/>
                  <a:moveTo>
                    <a:pt x="968" y="77"/>
                  </a:moveTo>
                  <a:cubicBezTo>
                    <a:pt x="968" y="77"/>
                    <a:pt x="968" y="77"/>
                    <a:pt x="968" y="78"/>
                  </a:cubicBezTo>
                  <a:cubicBezTo>
                    <a:pt x="968" y="77"/>
                    <a:pt x="968" y="77"/>
                    <a:pt x="968" y="77"/>
                  </a:cubicBezTo>
                  <a:close/>
                  <a:moveTo>
                    <a:pt x="635" y="59"/>
                  </a:moveTo>
                  <a:cubicBezTo>
                    <a:pt x="636" y="59"/>
                    <a:pt x="636" y="59"/>
                    <a:pt x="636" y="58"/>
                  </a:cubicBezTo>
                  <a:cubicBezTo>
                    <a:pt x="635" y="59"/>
                    <a:pt x="635" y="59"/>
                    <a:pt x="635" y="59"/>
                  </a:cubicBezTo>
                  <a:close/>
                  <a:moveTo>
                    <a:pt x="1533" y="77"/>
                  </a:moveTo>
                  <a:cubicBezTo>
                    <a:pt x="1533" y="77"/>
                    <a:pt x="1533" y="77"/>
                    <a:pt x="1533" y="77"/>
                  </a:cubicBezTo>
                  <a:cubicBezTo>
                    <a:pt x="1533" y="77"/>
                    <a:pt x="1533" y="77"/>
                    <a:pt x="1533" y="77"/>
                  </a:cubicBezTo>
                  <a:close/>
                  <a:moveTo>
                    <a:pt x="1664" y="77"/>
                  </a:moveTo>
                  <a:cubicBezTo>
                    <a:pt x="1664" y="77"/>
                    <a:pt x="1664" y="77"/>
                    <a:pt x="1664" y="77"/>
                  </a:cubicBezTo>
                  <a:cubicBezTo>
                    <a:pt x="1664" y="77"/>
                    <a:pt x="1664" y="77"/>
                    <a:pt x="1664" y="77"/>
                  </a:cubicBezTo>
                  <a:close/>
                  <a:moveTo>
                    <a:pt x="1676" y="77"/>
                  </a:moveTo>
                  <a:cubicBezTo>
                    <a:pt x="1676" y="77"/>
                    <a:pt x="1676" y="77"/>
                    <a:pt x="1677" y="78"/>
                  </a:cubicBezTo>
                  <a:cubicBezTo>
                    <a:pt x="1677" y="77"/>
                    <a:pt x="1677" y="77"/>
                    <a:pt x="1676" y="77"/>
                  </a:cubicBezTo>
                  <a:close/>
                  <a:moveTo>
                    <a:pt x="1701" y="77"/>
                  </a:moveTo>
                  <a:cubicBezTo>
                    <a:pt x="1701" y="77"/>
                    <a:pt x="1701" y="77"/>
                    <a:pt x="1701" y="77"/>
                  </a:cubicBezTo>
                  <a:cubicBezTo>
                    <a:pt x="1701" y="77"/>
                    <a:pt x="1701" y="77"/>
                    <a:pt x="1701" y="77"/>
                  </a:cubicBezTo>
                  <a:close/>
                  <a:moveTo>
                    <a:pt x="609" y="78"/>
                  </a:moveTo>
                  <a:cubicBezTo>
                    <a:pt x="609" y="78"/>
                    <a:pt x="609" y="77"/>
                    <a:pt x="609" y="77"/>
                  </a:cubicBezTo>
                  <a:cubicBezTo>
                    <a:pt x="609" y="77"/>
                    <a:pt x="609" y="78"/>
                    <a:pt x="609" y="78"/>
                  </a:cubicBezTo>
                  <a:close/>
                  <a:moveTo>
                    <a:pt x="628" y="78"/>
                  </a:moveTo>
                  <a:cubicBezTo>
                    <a:pt x="629" y="78"/>
                    <a:pt x="629" y="77"/>
                    <a:pt x="629" y="77"/>
                  </a:cubicBezTo>
                  <a:cubicBezTo>
                    <a:pt x="628" y="77"/>
                    <a:pt x="628" y="78"/>
                    <a:pt x="628" y="78"/>
                  </a:cubicBezTo>
                  <a:close/>
                  <a:moveTo>
                    <a:pt x="955" y="78"/>
                  </a:moveTo>
                  <a:cubicBezTo>
                    <a:pt x="955" y="78"/>
                    <a:pt x="955" y="77"/>
                    <a:pt x="954" y="77"/>
                  </a:cubicBezTo>
                  <a:cubicBezTo>
                    <a:pt x="954" y="77"/>
                    <a:pt x="954" y="78"/>
                    <a:pt x="955" y="78"/>
                  </a:cubicBezTo>
                  <a:close/>
                  <a:moveTo>
                    <a:pt x="1348" y="78"/>
                  </a:moveTo>
                  <a:cubicBezTo>
                    <a:pt x="1348" y="78"/>
                    <a:pt x="1349" y="77"/>
                    <a:pt x="1349" y="77"/>
                  </a:cubicBezTo>
                  <a:cubicBezTo>
                    <a:pt x="1348" y="77"/>
                    <a:pt x="1348" y="78"/>
                    <a:pt x="1348" y="78"/>
                  </a:cubicBezTo>
                  <a:close/>
                  <a:moveTo>
                    <a:pt x="646" y="58"/>
                  </a:moveTo>
                  <a:cubicBezTo>
                    <a:pt x="646" y="58"/>
                    <a:pt x="646" y="59"/>
                    <a:pt x="646" y="59"/>
                  </a:cubicBezTo>
                  <a:cubicBezTo>
                    <a:pt x="646" y="59"/>
                    <a:pt x="646" y="59"/>
                    <a:pt x="646" y="58"/>
                  </a:cubicBezTo>
                  <a:close/>
                  <a:moveTo>
                    <a:pt x="639" y="77"/>
                  </a:moveTo>
                  <a:cubicBezTo>
                    <a:pt x="638" y="78"/>
                    <a:pt x="638" y="78"/>
                    <a:pt x="638" y="78"/>
                  </a:cubicBezTo>
                  <a:cubicBezTo>
                    <a:pt x="639" y="78"/>
                    <a:pt x="639" y="78"/>
                    <a:pt x="639" y="77"/>
                  </a:cubicBezTo>
                  <a:close/>
                  <a:moveTo>
                    <a:pt x="570" y="52"/>
                  </a:moveTo>
                  <a:cubicBezTo>
                    <a:pt x="571" y="53"/>
                    <a:pt x="571" y="53"/>
                    <a:pt x="571" y="53"/>
                  </a:cubicBezTo>
                  <a:cubicBezTo>
                    <a:pt x="571" y="53"/>
                    <a:pt x="571" y="52"/>
                    <a:pt x="570" y="52"/>
                  </a:cubicBezTo>
                  <a:close/>
                  <a:moveTo>
                    <a:pt x="1671" y="55"/>
                  </a:moveTo>
                  <a:cubicBezTo>
                    <a:pt x="1671" y="56"/>
                    <a:pt x="1671" y="56"/>
                    <a:pt x="1671" y="56"/>
                  </a:cubicBezTo>
                  <a:cubicBezTo>
                    <a:pt x="1671" y="56"/>
                    <a:pt x="1671" y="56"/>
                    <a:pt x="1671" y="55"/>
                  </a:cubicBezTo>
                  <a:close/>
                  <a:moveTo>
                    <a:pt x="583" y="8"/>
                  </a:moveTo>
                  <a:cubicBezTo>
                    <a:pt x="583" y="8"/>
                    <a:pt x="583" y="8"/>
                    <a:pt x="584" y="8"/>
                  </a:cubicBezTo>
                  <a:cubicBezTo>
                    <a:pt x="584" y="8"/>
                    <a:pt x="583" y="8"/>
                    <a:pt x="583" y="8"/>
                  </a:cubicBezTo>
                  <a:close/>
                  <a:moveTo>
                    <a:pt x="968" y="78"/>
                  </a:moveTo>
                  <a:cubicBezTo>
                    <a:pt x="968" y="78"/>
                    <a:pt x="968" y="78"/>
                    <a:pt x="968" y="78"/>
                  </a:cubicBezTo>
                  <a:cubicBezTo>
                    <a:pt x="968" y="78"/>
                    <a:pt x="968" y="78"/>
                    <a:pt x="968" y="78"/>
                  </a:cubicBezTo>
                  <a:close/>
                  <a:moveTo>
                    <a:pt x="1016" y="8"/>
                  </a:moveTo>
                  <a:cubicBezTo>
                    <a:pt x="1016" y="8"/>
                    <a:pt x="1017" y="8"/>
                    <a:pt x="1017" y="8"/>
                  </a:cubicBezTo>
                  <a:cubicBezTo>
                    <a:pt x="1017" y="8"/>
                    <a:pt x="1017" y="8"/>
                    <a:pt x="1016" y="8"/>
                  </a:cubicBezTo>
                  <a:close/>
                  <a:moveTo>
                    <a:pt x="1665" y="78"/>
                  </a:moveTo>
                  <a:cubicBezTo>
                    <a:pt x="1665" y="78"/>
                    <a:pt x="1664" y="78"/>
                    <a:pt x="1664" y="77"/>
                  </a:cubicBezTo>
                  <a:cubicBezTo>
                    <a:pt x="1664" y="78"/>
                    <a:pt x="1664" y="78"/>
                    <a:pt x="1665" y="78"/>
                  </a:cubicBezTo>
                  <a:close/>
                  <a:moveTo>
                    <a:pt x="1677" y="78"/>
                  </a:moveTo>
                  <a:cubicBezTo>
                    <a:pt x="1677" y="78"/>
                    <a:pt x="1677" y="78"/>
                    <a:pt x="1677" y="78"/>
                  </a:cubicBezTo>
                  <a:cubicBezTo>
                    <a:pt x="1677" y="78"/>
                    <a:pt x="1677" y="78"/>
                    <a:pt x="1677" y="78"/>
                  </a:cubicBezTo>
                  <a:close/>
                  <a:moveTo>
                    <a:pt x="609" y="79"/>
                  </a:moveTo>
                  <a:cubicBezTo>
                    <a:pt x="609" y="78"/>
                    <a:pt x="609" y="78"/>
                    <a:pt x="609" y="78"/>
                  </a:cubicBezTo>
                  <a:cubicBezTo>
                    <a:pt x="609" y="78"/>
                    <a:pt x="609" y="78"/>
                    <a:pt x="609" y="79"/>
                  </a:cubicBezTo>
                  <a:close/>
                  <a:moveTo>
                    <a:pt x="620" y="78"/>
                  </a:moveTo>
                  <a:cubicBezTo>
                    <a:pt x="620" y="78"/>
                    <a:pt x="620" y="78"/>
                    <a:pt x="620" y="79"/>
                  </a:cubicBezTo>
                  <a:cubicBezTo>
                    <a:pt x="620" y="78"/>
                    <a:pt x="620" y="78"/>
                    <a:pt x="620" y="78"/>
                  </a:cubicBezTo>
                  <a:close/>
                  <a:moveTo>
                    <a:pt x="1356" y="8"/>
                  </a:moveTo>
                  <a:cubicBezTo>
                    <a:pt x="1356" y="8"/>
                    <a:pt x="1357" y="8"/>
                    <a:pt x="1357" y="8"/>
                  </a:cubicBezTo>
                  <a:cubicBezTo>
                    <a:pt x="1357" y="8"/>
                    <a:pt x="1356" y="8"/>
                    <a:pt x="1356" y="8"/>
                  </a:cubicBezTo>
                  <a:close/>
                  <a:moveTo>
                    <a:pt x="955" y="79"/>
                  </a:moveTo>
                  <a:cubicBezTo>
                    <a:pt x="955" y="78"/>
                    <a:pt x="955" y="78"/>
                    <a:pt x="955" y="78"/>
                  </a:cubicBezTo>
                  <a:cubicBezTo>
                    <a:pt x="955" y="78"/>
                    <a:pt x="955" y="78"/>
                    <a:pt x="955" y="79"/>
                  </a:cubicBezTo>
                  <a:close/>
                  <a:moveTo>
                    <a:pt x="1532" y="79"/>
                  </a:moveTo>
                  <a:cubicBezTo>
                    <a:pt x="1532" y="78"/>
                    <a:pt x="1532" y="78"/>
                    <a:pt x="1532" y="78"/>
                  </a:cubicBezTo>
                  <a:cubicBezTo>
                    <a:pt x="1532" y="78"/>
                    <a:pt x="1532" y="78"/>
                    <a:pt x="1532" y="79"/>
                  </a:cubicBezTo>
                  <a:close/>
                  <a:moveTo>
                    <a:pt x="1700" y="79"/>
                  </a:moveTo>
                  <a:cubicBezTo>
                    <a:pt x="1700" y="78"/>
                    <a:pt x="1700" y="78"/>
                    <a:pt x="1700" y="78"/>
                  </a:cubicBezTo>
                  <a:cubicBezTo>
                    <a:pt x="1700" y="78"/>
                    <a:pt x="1700" y="78"/>
                    <a:pt x="1700" y="79"/>
                  </a:cubicBezTo>
                  <a:close/>
                  <a:moveTo>
                    <a:pt x="628" y="79"/>
                  </a:moveTo>
                  <a:cubicBezTo>
                    <a:pt x="628" y="79"/>
                    <a:pt x="628" y="79"/>
                    <a:pt x="628" y="78"/>
                  </a:cubicBezTo>
                  <a:cubicBezTo>
                    <a:pt x="628" y="78"/>
                    <a:pt x="628" y="79"/>
                    <a:pt x="628" y="79"/>
                  </a:cubicBezTo>
                  <a:close/>
                  <a:moveTo>
                    <a:pt x="1554" y="59"/>
                  </a:moveTo>
                  <a:cubicBezTo>
                    <a:pt x="1554" y="59"/>
                    <a:pt x="1554" y="59"/>
                    <a:pt x="1555" y="58"/>
                  </a:cubicBezTo>
                  <a:cubicBezTo>
                    <a:pt x="1554" y="58"/>
                    <a:pt x="1554" y="58"/>
                    <a:pt x="1554" y="59"/>
                  </a:cubicBezTo>
                  <a:close/>
                  <a:moveTo>
                    <a:pt x="1383" y="8"/>
                  </a:moveTo>
                  <a:cubicBezTo>
                    <a:pt x="1383" y="8"/>
                    <a:pt x="1383" y="8"/>
                    <a:pt x="1383" y="8"/>
                  </a:cubicBezTo>
                  <a:cubicBezTo>
                    <a:pt x="1383" y="8"/>
                    <a:pt x="1383" y="8"/>
                    <a:pt x="1383" y="8"/>
                  </a:cubicBezTo>
                  <a:close/>
                  <a:moveTo>
                    <a:pt x="1429" y="8"/>
                  </a:moveTo>
                  <a:cubicBezTo>
                    <a:pt x="1429" y="8"/>
                    <a:pt x="1429" y="8"/>
                    <a:pt x="1430" y="8"/>
                  </a:cubicBezTo>
                  <a:cubicBezTo>
                    <a:pt x="1429" y="8"/>
                    <a:pt x="1429" y="8"/>
                    <a:pt x="1429" y="8"/>
                  </a:cubicBezTo>
                  <a:close/>
                  <a:moveTo>
                    <a:pt x="1347" y="79"/>
                  </a:moveTo>
                  <a:cubicBezTo>
                    <a:pt x="1348" y="79"/>
                    <a:pt x="1348" y="79"/>
                    <a:pt x="1348" y="78"/>
                  </a:cubicBezTo>
                  <a:cubicBezTo>
                    <a:pt x="1348" y="78"/>
                    <a:pt x="1347" y="79"/>
                    <a:pt x="1347" y="79"/>
                  </a:cubicBezTo>
                  <a:close/>
                  <a:moveTo>
                    <a:pt x="1677" y="78"/>
                  </a:moveTo>
                  <a:cubicBezTo>
                    <a:pt x="1677" y="79"/>
                    <a:pt x="1677" y="79"/>
                    <a:pt x="1677" y="79"/>
                  </a:cubicBezTo>
                  <a:cubicBezTo>
                    <a:pt x="1677" y="79"/>
                    <a:pt x="1677" y="78"/>
                    <a:pt x="1677" y="78"/>
                  </a:cubicBezTo>
                  <a:close/>
                  <a:moveTo>
                    <a:pt x="1452" y="8"/>
                  </a:moveTo>
                  <a:cubicBezTo>
                    <a:pt x="1453" y="8"/>
                    <a:pt x="1453" y="8"/>
                    <a:pt x="1453" y="8"/>
                  </a:cubicBezTo>
                  <a:cubicBezTo>
                    <a:pt x="1453" y="8"/>
                    <a:pt x="1453" y="8"/>
                    <a:pt x="1452" y="8"/>
                  </a:cubicBezTo>
                  <a:close/>
                  <a:moveTo>
                    <a:pt x="638" y="78"/>
                  </a:moveTo>
                  <a:cubicBezTo>
                    <a:pt x="638" y="79"/>
                    <a:pt x="638" y="79"/>
                    <a:pt x="638" y="79"/>
                  </a:cubicBezTo>
                  <a:cubicBezTo>
                    <a:pt x="638" y="79"/>
                    <a:pt x="638" y="79"/>
                    <a:pt x="638" y="78"/>
                  </a:cubicBezTo>
                  <a:close/>
                  <a:moveTo>
                    <a:pt x="969" y="79"/>
                  </a:moveTo>
                  <a:cubicBezTo>
                    <a:pt x="969" y="79"/>
                    <a:pt x="969" y="79"/>
                    <a:pt x="969" y="79"/>
                  </a:cubicBezTo>
                  <a:cubicBezTo>
                    <a:pt x="969" y="79"/>
                    <a:pt x="969" y="79"/>
                    <a:pt x="969" y="79"/>
                  </a:cubicBezTo>
                  <a:close/>
                  <a:moveTo>
                    <a:pt x="642" y="42"/>
                  </a:moveTo>
                  <a:cubicBezTo>
                    <a:pt x="642" y="42"/>
                    <a:pt x="642" y="42"/>
                    <a:pt x="642" y="41"/>
                  </a:cubicBezTo>
                  <a:cubicBezTo>
                    <a:pt x="642" y="41"/>
                    <a:pt x="642" y="42"/>
                    <a:pt x="642" y="42"/>
                  </a:cubicBezTo>
                  <a:close/>
                  <a:moveTo>
                    <a:pt x="1541" y="8"/>
                  </a:moveTo>
                  <a:cubicBezTo>
                    <a:pt x="1541" y="8"/>
                    <a:pt x="1541" y="8"/>
                    <a:pt x="1541" y="8"/>
                  </a:cubicBezTo>
                  <a:cubicBezTo>
                    <a:pt x="1541" y="8"/>
                    <a:pt x="1541" y="8"/>
                    <a:pt x="1541" y="8"/>
                  </a:cubicBezTo>
                  <a:close/>
                  <a:moveTo>
                    <a:pt x="1709" y="8"/>
                  </a:moveTo>
                  <a:cubicBezTo>
                    <a:pt x="1709" y="8"/>
                    <a:pt x="1709" y="8"/>
                    <a:pt x="1709" y="8"/>
                  </a:cubicBezTo>
                  <a:cubicBezTo>
                    <a:pt x="1709" y="8"/>
                    <a:pt x="1709" y="8"/>
                    <a:pt x="1709" y="8"/>
                  </a:cubicBezTo>
                  <a:close/>
                  <a:moveTo>
                    <a:pt x="1665" y="79"/>
                  </a:moveTo>
                  <a:cubicBezTo>
                    <a:pt x="1665" y="79"/>
                    <a:pt x="1665" y="79"/>
                    <a:pt x="1665" y="78"/>
                  </a:cubicBezTo>
                  <a:cubicBezTo>
                    <a:pt x="1665" y="79"/>
                    <a:pt x="1665" y="79"/>
                    <a:pt x="1665" y="79"/>
                  </a:cubicBezTo>
                  <a:close/>
                  <a:moveTo>
                    <a:pt x="610" y="80"/>
                  </a:moveTo>
                  <a:cubicBezTo>
                    <a:pt x="610" y="79"/>
                    <a:pt x="610" y="79"/>
                    <a:pt x="610" y="79"/>
                  </a:cubicBezTo>
                  <a:cubicBezTo>
                    <a:pt x="609" y="79"/>
                    <a:pt x="610" y="79"/>
                    <a:pt x="610" y="80"/>
                  </a:cubicBezTo>
                  <a:close/>
                  <a:moveTo>
                    <a:pt x="584" y="8"/>
                  </a:moveTo>
                  <a:cubicBezTo>
                    <a:pt x="584" y="9"/>
                    <a:pt x="584" y="9"/>
                    <a:pt x="584" y="9"/>
                  </a:cubicBezTo>
                  <a:cubicBezTo>
                    <a:pt x="584" y="8"/>
                    <a:pt x="584" y="8"/>
                    <a:pt x="584" y="8"/>
                  </a:cubicBezTo>
                  <a:close/>
                  <a:moveTo>
                    <a:pt x="956" y="80"/>
                  </a:moveTo>
                  <a:cubicBezTo>
                    <a:pt x="956" y="79"/>
                    <a:pt x="955" y="79"/>
                    <a:pt x="955" y="79"/>
                  </a:cubicBezTo>
                  <a:cubicBezTo>
                    <a:pt x="955" y="79"/>
                    <a:pt x="955" y="79"/>
                    <a:pt x="956" y="80"/>
                  </a:cubicBezTo>
                  <a:close/>
                  <a:moveTo>
                    <a:pt x="1531" y="80"/>
                  </a:moveTo>
                  <a:cubicBezTo>
                    <a:pt x="1532" y="79"/>
                    <a:pt x="1532" y="79"/>
                    <a:pt x="1532" y="79"/>
                  </a:cubicBezTo>
                  <a:cubicBezTo>
                    <a:pt x="1531" y="79"/>
                    <a:pt x="1531" y="79"/>
                    <a:pt x="1531" y="80"/>
                  </a:cubicBezTo>
                  <a:close/>
                  <a:moveTo>
                    <a:pt x="1677" y="79"/>
                  </a:moveTo>
                  <a:cubicBezTo>
                    <a:pt x="1677" y="79"/>
                    <a:pt x="1677" y="79"/>
                    <a:pt x="1678" y="80"/>
                  </a:cubicBezTo>
                  <a:cubicBezTo>
                    <a:pt x="1678" y="79"/>
                    <a:pt x="1678" y="79"/>
                    <a:pt x="1677" y="79"/>
                  </a:cubicBezTo>
                  <a:close/>
                  <a:moveTo>
                    <a:pt x="1699" y="80"/>
                  </a:moveTo>
                  <a:cubicBezTo>
                    <a:pt x="1700" y="79"/>
                    <a:pt x="1700" y="79"/>
                    <a:pt x="1700" y="79"/>
                  </a:cubicBezTo>
                  <a:cubicBezTo>
                    <a:pt x="1699" y="79"/>
                    <a:pt x="1699" y="79"/>
                    <a:pt x="1699" y="80"/>
                  </a:cubicBezTo>
                  <a:close/>
                  <a:moveTo>
                    <a:pt x="628" y="80"/>
                  </a:moveTo>
                  <a:cubicBezTo>
                    <a:pt x="628" y="80"/>
                    <a:pt x="628" y="80"/>
                    <a:pt x="628" y="79"/>
                  </a:cubicBezTo>
                  <a:cubicBezTo>
                    <a:pt x="628" y="79"/>
                    <a:pt x="628" y="80"/>
                    <a:pt x="628" y="80"/>
                  </a:cubicBezTo>
                  <a:close/>
                  <a:moveTo>
                    <a:pt x="638" y="79"/>
                  </a:moveTo>
                  <a:cubicBezTo>
                    <a:pt x="638" y="79"/>
                    <a:pt x="638" y="80"/>
                    <a:pt x="638" y="80"/>
                  </a:cubicBezTo>
                  <a:cubicBezTo>
                    <a:pt x="638" y="80"/>
                    <a:pt x="638" y="80"/>
                    <a:pt x="638" y="79"/>
                  </a:cubicBezTo>
                  <a:close/>
                  <a:moveTo>
                    <a:pt x="687" y="80"/>
                  </a:moveTo>
                  <a:cubicBezTo>
                    <a:pt x="687" y="80"/>
                    <a:pt x="687" y="79"/>
                    <a:pt x="687" y="79"/>
                  </a:cubicBezTo>
                  <a:cubicBezTo>
                    <a:pt x="687" y="80"/>
                    <a:pt x="687" y="80"/>
                    <a:pt x="687" y="80"/>
                  </a:cubicBezTo>
                  <a:close/>
                  <a:moveTo>
                    <a:pt x="908" y="40"/>
                  </a:moveTo>
                  <a:cubicBezTo>
                    <a:pt x="908" y="41"/>
                    <a:pt x="908" y="41"/>
                    <a:pt x="908" y="41"/>
                  </a:cubicBezTo>
                  <a:cubicBezTo>
                    <a:pt x="908" y="41"/>
                    <a:pt x="908" y="40"/>
                    <a:pt x="908" y="40"/>
                  </a:cubicBezTo>
                  <a:close/>
                  <a:moveTo>
                    <a:pt x="1355" y="9"/>
                  </a:moveTo>
                  <a:cubicBezTo>
                    <a:pt x="1356" y="9"/>
                    <a:pt x="1356" y="9"/>
                    <a:pt x="1356" y="8"/>
                  </a:cubicBezTo>
                  <a:cubicBezTo>
                    <a:pt x="1356" y="8"/>
                    <a:pt x="1356" y="8"/>
                    <a:pt x="1355" y="9"/>
                  </a:cubicBezTo>
                  <a:close/>
                  <a:moveTo>
                    <a:pt x="1383" y="8"/>
                  </a:moveTo>
                  <a:cubicBezTo>
                    <a:pt x="1383" y="8"/>
                    <a:pt x="1384" y="9"/>
                    <a:pt x="1384" y="9"/>
                  </a:cubicBezTo>
                  <a:cubicBezTo>
                    <a:pt x="1384" y="8"/>
                    <a:pt x="1384" y="8"/>
                    <a:pt x="1383" y="8"/>
                  </a:cubicBezTo>
                  <a:close/>
                  <a:moveTo>
                    <a:pt x="1347" y="80"/>
                  </a:moveTo>
                  <a:cubicBezTo>
                    <a:pt x="1347" y="80"/>
                    <a:pt x="1347" y="80"/>
                    <a:pt x="1347" y="79"/>
                  </a:cubicBezTo>
                  <a:cubicBezTo>
                    <a:pt x="1347" y="79"/>
                    <a:pt x="1347" y="80"/>
                    <a:pt x="1347" y="80"/>
                  </a:cubicBezTo>
                  <a:close/>
                  <a:moveTo>
                    <a:pt x="1722" y="59"/>
                  </a:moveTo>
                  <a:cubicBezTo>
                    <a:pt x="1722" y="59"/>
                    <a:pt x="1723" y="59"/>
                    <a:pt x="1723" y="58"/>
                  </a:cubicBezTo>
                  <a:cubicBezTo>
                    <a:pt x="1722" y="58"/>
                    <a:pt x="1722" y="58"/>
                    <a:pt x="1722" y="59"/>
                  </a:cubicBezTo>
                  <a:close/>
                  <a:moveTo>
                    <a:pt x="1665" y="80"/>
                  </a:moveTo>
                  <a:cubicBezTo>
                    <a:pt x="1665" y="80"/>
                    <a:pt x="1665" y="79"/>
                    <a:pt x="1665" y="79"/>
                  </a:cubicBezTo>
                  <a:cubicBezTo>
                    <a:pt x="1665" y="79"/>
                    <a:pt x="1665" y="80"/>
                    <a:pt x="1665" y="80"/>
                  </a:cubicBezTo>
                  <a:close/>
                  <a:moveTo>
                    <a:pt x="1428" y="9"/>
                  </a:moveTo>
                  <a:cubicBezTo>
                    <a:pt x="1428" y="9"/>
                    <a:pt x="1429" y="9"/>
                    <a:pt x="1429" y="8"/>
                  </a:cubicBezTo>
                  <a:cubicBezTo>
                    <a:pt x="1429" y="8"/>
                    <a:pt x="1428" y="8"/>
                    <a:pt x="1428" y="9"/>
                  </a:cubicBezTo>
                  <a:close/>
                  <a:moveTo>
                    <a:pt x="1453" y="8"/>
                  </a:moveTo>
                  <a:cubicBezTo>
                    <a:pt x="1453" y="9"/>
                    <a:pt x="1454" y="9"/>
                    <a:pt x="1454" y="9"/>
                  </a:cubicBezTo>
                  <a:cubicBezTo>
                    <a:pt x="1454" y="8"/>
                    <a:pt x="1454" y="8"/>
                    <a:pt x="1453" y="8"/>
                  </a:cubicBezTo>
                  <a:close/>
                  <a:moveTo>
                    <a:pt x="1501" y="9"/>
                  </a:moveTo>
                  <a:cubicBezTo>
                    <a:pt x="1502" y="9"/>
                    <a:pt x="1502" y="9"/>
                    <a:pt x="1502" y="8"/>
                  </a:cubicBezTo>
                  <a:cubicBezTo>
                    <a:pt x="1502" y="8"/>
                    <a:pt x="1501" y="8"/>
                    <a:pt x="1501" y="9"/>
                  </a:cubicBezTo>
                  <a:close/>
                  <a:moveTo>
                    <a:pt x="956" y="80"/>
                  </a:moveTo>
                  <a:cubicBezTo>
                    <a:pt x="956" y="80"/>
                    <a:pt x="956" y="80"/>
                    <a:pt x="956" y="80"/>
                  </a:cubicBezTo>
                  <a:cubicBezTo>
                    <a:pt x="956" y="80"/>
                    <a:pt x="956" y="80"/>
                    <a:pt x="956" y="80"/>
                  </a:cubicBezTo>
                  <a:close/>
                  <a:moveTo>
                    <a:pt x="969" y="80"/>
                  </a:moveTo>
                  <a:cubicBezTo>
                    <a:pt x="969" y="80"/>
                    <a:pt x="969" y="80"/>
                    <a:pt x="970" y="80"/>
                  </a:cubicBezTo>
                  <a:cubicBezTo>
                    <a:pt x="970" y="80"/>
                    <a:pt x="970" y="80"/>
                    <a:pt x="969" y="80"/>
                  </a:cubicBezTo>
                  <a:close/>
                  <a:moveTo>
                    <a:pt x="1220" y="80"/>
                  </a:moveTo>
                  <a:cubicBezTo>
                    <a:pt x="1220" y="80"/>
                    <a:pt x="1220" y="80"/>
                    <a:pt x="1220" y="80"/>
                  </a:cubicBezTo>
                  <a:cubicBezTo>
                    <a:pt x="1220" y="80"/>
                    <a:pt x="1220" y="80"/>
                    <a:pt x="1220" y="80"/>
                  </a:cubicBezTo>
                  <a:close/>
                  <a:moveTo>
                    <a:pt x="1678" y="80"/>
                  </a:moveTo>
                  <a:cubicBezTo>
                    <a:pt x="1678" y="80"/>
                    <a:pt x="1678" y="80"/>
                    <a:pt x="1678" y="80"/>
                  </a:cubicBezTo>
                  <a:cubicBezTo>
                    <a:pt x="1678" y="80"/>
                    <a:pt x="1678" y="80"/>
                    <a:pt x="1678" y="80"/>
                  </a:cubicBezTo>
                  <a:close/>
                  <a:moveTo>
                    <a:pt x="1540" y="9"/>
                  </a:moveTo>
                  <a:cubicBezTo>
                    <a:pt x="1540" y="9"/>
                    <a:pt x="1540" y="9"/>
                    <a:pt x="1540" y="8"/>
                  </a:cubicBezTo>
                  <a:cubicBezTo>
                    <a:pt x="1540" y="8"/>
                    <a:pt x="1540" y="8"/>
                    <a:pt x="1540" y="9"/>
                  </a:cubicBezTo>
                  <a:close/>
                  <a:moveTo>
                    <a:pt x="1568" y="8"/>
                  </a:moveTo>
                  <a:cubicBezTo>
                    <a:pt x="1568" y="9"/>
                    <a:pt x="1568" y="9"/>
                    <a:pt x="1568" y="9"/>
                  </a:cubicBezTo>
                  <a:cubicBezTo>
                    <a:pt x="1568" y="8"/>
                    <a:pt x="1568" y="8"/>
                    <a:pt x="1568" y="8"/>
                  </a:cubicBezTo>
                  <a:close/>
                  <a:moveTo>
                    <a:pt x="1708" y="9"/>
                  </a:moveTo>
                  <a:cubicBezTo>
                    <a:pt x="1708" y="9"/>
                    <a:pt x="1708" y="9"/>
                    <a:pt x="1709" y="8"/>
                  </a:cubicBezTo>
                  <a:cubicBezTo>
                    <a:pt x="1708" y="8"/>
                    <a:pt x="1708" y="8"/>
                    <a:pt x="1708" y="9"/>
                  </a:cubicBezTo>
                  <a:close/>
                  <a:moveTo>
                    <a:pt x="1346" y="81"/>
                  </a:moveTo>
                  <a:cubicBezTo>
                    <a:pt x="1347" y="80"/>
                    <a:pt x="1347" y="80"/>
                    <a:pt x="1347" y="80"/>
                  </a:cubicBezTo>
                  <a:cubicBezTo>
                    <a:pt x="1346" y="80"/>
                    <a:pt x="1346" y="80"/>
                    <a:pt x="1346" y="81"/>
                  </a:cubicBezTo>
                  <a:close/>
                  <a:moveTo>
                    <a:pt x="1358" y="80"/>
                  </a:moveTo>
                  <a:cubicBezTo>
                    <a:pt x="1358" y="80"/>
                    <a:pt x="1358" y="80"/>
                    <a:pt x="1358" y="81"/>
                  </a:cubicBezTo>
                  <a:cubicBezTo>
                    <a:pt x="1358" y="81"/>
                    <a:pt x="1358" y="80"/>
                    <a:pt x="1358" y="80"/>
                  </a:cubicBezTo>
                  <a:close/>
                  <a:moveTo>
                    <a:pt x="1736" y="8"/>
                  </a:moveTo>
                  <a:cubicBezTo>
                    <a:pt x="1736" y="9"/>
                    <a:pt x="1736" y="9"/>
                    <a:pt x="1737" y="9"/>
                  </a:cubicBezTo>
                  <a:cubicBezTo>
                    <a:pt x="1736" y="8"/>
                    <a:pt x="1736" y="8"/>
                    <a:pt x="1736" y="8"/>
                  </a:cubicBezTo>
                  <a:close/>
                  <a:moveTo>
                    <a:pt x="1467" y="80"/>
                  </a:moveTo>
                  <a:cubicBezTo>
                    <a:pt x="1467" y="80"/>
                    <a:pt x="1467" y="80"/>
                    <a:pt x="1467" y="81"/>
                  </a:cubicBezTo>
                  <a:cubicBezTo>
                    <a:pt x="1468" y="80"/>
                    <a:pt x="1468" y="80"/>
                    <a:pt x="1467" y="80"/>
                  </a:cubicBezTo>
                  <a:close/>
                  <a:moveTo>
                    <a:pt x="1666" y="81"/>
                  </a:moveTo>
                  <a:cubicBezTo>
                    <a:pt x="1666" y="80"/>
                    <a:pt x="1665" y="80"/>
                    <a:pt x="1665" y="80"/>
                  </a:cubicBezTo>
                  <a:cubicBezTo>
                    <a:pt x="1665" y="80"/>
                    <a:pt x="1665" y="80"/>
                    <a:pt x="1666" y="81"/>
                  </a:cubicBezTo>
                  <a:close/>
                  <a:moveTo>
                    <a:pt x="551" y="9"/>
                  </a:moveTo>
                  <a:cubicBezTo>
                    <a:pt x="551" y="9"/>
                    <a:pt x="552" y="9"/>
                    <a:pt x="552" y="9"/>
                  </a:cubicBezTo>
                  <a:cubicBezTo>
                    <a:pt x="551" y="9"/>
                    <a:pt x="551" y="9"/>
                    <a:pt x="551" y="9"/>
                  </a:cubicBezTo>
                  <a:close/>
                  <a:moveTo>
                    <a:pt x="638" y="80"/>
                  </a:moveTo>
                  <a:cubicBezTo>
                    <a:pt x="637" y="80"/>
                    <a:pt x="637" y="81"/>
                    <a:pt x="637" y="81"/>
                  </a:cubicBezTo>
                  <a:cubicBezTo>
                    <a:pt x="638" y="81"/>
                    <a:pt x="638" y="80"/>
                    <a:pt x="638" y="80"/>
                  </a:cubicBezTo>
                  <a:close/>
                  <a:moveTo>
                    <a:pt x="956" y="81"/>
                  </a:moveTo>
                  <a:cubicBezTo>
                    <a:pt x="956" y="81"/>
                    <a:pt x="956" y="80"/>
                    <a:pt x="956" y="80"/>
                  </a:cubicBezTo>
                  <a:cubicBezTo>
                    <a:pt x="956" y="81"/>
                    <a:pt x="956" y="81"/>
                    <a:pt x="956" y="81"/>
                  </a:cubicBezTo>
                  <a:close/>
                  <a:moveTo>
                    <a:pt x="584" y="9"/>
                  </a:moveTo>
                  <a:cubicBezTo>
                    <a:pt x="585" y="9"/>
                    <a:pt x="585" y="9"/>
                    <a:pt x="585" y="9"/>
                  </a:cubicBezTo>
                  <a:cubicBezTo>
                    <a:pt x="585" y="9"/>
                    <a:pt x="585" y="9"/>
                    <a:pt x="584" y="9"/>
                  </a:cubicBezTo>
                  <a:close/>
                  <a:moveTo>
                    <a:pt x="611" y="81"/>
                  </a:moveTo>
                  <a:cubicBezTo>
                    <a:pt x="611" y="81"/>
                    <a:pt x="611" y="81"/>
                    <a:pt x="610" y="81"/>
                  </a:cubicBezTo>
                  <a:cubicBezTo>
                    <a:pt x="610" y="81"/>
                    <a:pt x="610" y="81"/>
                    <a:pt x="611" y="81"/>
                  </a:cubicBezTo>
                  <a:close/>
                  <a:moveTo>
                    <a:pt x="1018" y="9"/>
                  </a:moveTo>
                  <a:cubicBezTo>
                    <a:pt x="1019" y="9"/>
                    <a:pt x="1019" y="9"/>
                    <a:pt x="1019" y="9"/>
                  </a:cubicBezTo>
                  <a:cubicBezTo>
                    <a:pt x="1019" y="9"/>
                    <a:pt x="1019" y="9"/>
                    <a:pt x="1018" y="9"/>
                  </a:cubicBezTo>
                  <a:close/>
                  <a:moveTo>
                    <a:pt x="1355" y="9"/>
                  </a:moveTo>
                  <a:cubicBezTo>
                    <a:pt x="1355" y="9"/>
                    <a:pt x="1355" y="9"/>
                    <a:pt x="1355" y="9"/>
                  </a:cubicBezTo>
                  <a:cubicBezTo>
                    <a:pt x="1355" y="9"/>
                    <a:pt x="1355" y="9"/>
                    <a:pt x="1355" y="9"/>
                  </a:cubicBezTo>
                  <a:close/>
                  <a:moveTo>
                    <a:pt x="1042" y="81"/>
                  </a:moveTo>
                  <a:cubicBezTo>
                    <a:pt x="1042" y="81"/>
                    <a:pt x="1042" y="81"/>
                    <a:pt x="1042" y="81"/>
                  </a:cubicBezTo>
                  <a:cubicBezTo>
                    <a:pt x="1043" y="81"/>
                    <a:pt x="1042" y="81"/>
                    <a:pt x="1042" y="81"/>
                  </a:cubicBezTo>
                  <a:close/>
                  <a:moveTo>
                    <a:pt x="1220" y="81"/>
                  </a:moveTo>
                  <a:cubicBezTo>
                    <a:pt x="1220" y="81"/>
                    <a:pt x="1220" y="81"/>
                    <a:pt x="1220" y="81"/>
                  </a:cubicBezTo>
                  <a:cubicBezTo>
                    <a:pt x="1220" y="81"/>
                    <a:pt x="1220" y="81"/>
                    <a:pt x="1220" y="81"/>
                  </a:cubicBezTo>
                  <a:close/>
                  <a:moveTo>
                    <a:pt x="1346" y="81"/>
                  </a:moveTo>
                  <a:cubicBezTo>
                    <a:pt x="1346" y="81"/>
                    <a:pt x="1346" y="81"/>
                    <a:pt x="1346" y="81"/>
                  </a:cubicBezTo>
                  <a:cubicBezTo>
                    <a:pt x="1346" y="81"/>
                    <a:pt x="1346" y="81"/>
                    <a:pt x="1346" y="81"/>
                  </a:cubicBezTo>
                  <a:close/>
                  <a:moveTo>
                    <a:pt x="1530" y="81"/>
                  </a:moveTo>
                  <a:cubicBezTo>
                    <a:pt x="1531" y="81"/>
                    <a:pt x="1531" y="81"/>
                    <a:pt x="1531" y="81"/>
                  </a:cubicBezTo>
                  <a:cubicBezTo>
                    <a:pt x="1530" y="81"/>
                    <a:pt x="1530" y="81"/>
                    <a:pt x="1530" y="81"/>
                  </a:cubicBezTo>
                  <a:close/>
                  <a:moveTo>
                    <a:pt x="1698" y="81"/>
                  </a:moveTo>
                  <a:cubicBezTo>
                    <a:pt x="1699" y="81"/>
                    <a:pt x="1699" y="81"/>
                    <a:pt x="1699" y="81"/>
                  </a:cubicBezTo>
                  <a:cubicBezTo>
                    <a:pt x="1698" y="81"/>
                    <a:pt x="1698" y="81"/>
                    <a:pt x="1698" y="81"/>
                  </a:cubicBezTo>
                  <a:close/>
                  <a:moveTo>
                    <a:pt x="627" y="82"/>
                  </a:moveTo>
                  <a:cubicBezTo>
                    <a:pt x="627" y="82"/>
                    <a:pt x="627" y="81"/>
                    <a:pt x="627" y="81"/>
                  </a:cubicBezTo>
                  <a:cubicBezTo>
                    <a:pt x="627" y="81"/>
                    <a:pt x="627" y="81"/>
                    <a:pt x="627" y="82"/>
                  </a:cubicBezTo>
                  <a:close/>
                  <a:moveTo>
                    <a:pt x="1210" y="53"/>
                  </a:moveTo>
                  <a:cubicBezTo>
                    <a:pt x="1210" y="53"/>
                    <a:pt x="1210" y="53"/>
                    <a:pt x="1210" y="52"/>
                  </a:cubicBezTo>
                  <a:cubicBezTo>
                    <a:pt x="1210" y="53"/>
                    <a:pt x="1210" y="53"/>
                    <a:pt x="1210" y="53"/>
                  </a:cubicBezTo>
                  <a:close/>
                  <a:moveTo>
                    <a:pt x="760" y="81"/>
                  </a:moveTo>
                  <a:cubicBezTo>
                    <a:pt x="760" y="81"/>
                    <a:pt x="760" y="82"/>
                    <a:pt x="761" y="82"/>
                  </a:cubicBezTo>
                  <a:cubicBezTo>
                    <a:pt x="761" y="81"/>
                    <a:pt x="761" y="81"/>
                    <a:pt x="760" y="81"/>
                  </a:cubicBezTo>
                  <a:close/>
                  <a:moveTo>
                    <a:pt x="957" y="82"/>
                  </a:moveTo>
                  <a:cubicBezTo>
                    <a:pt x="957" y="81"/>
                    <a:pt x="957" y="81"/>
                    <a:pt x="956" y="81"/>
                  </a:cubicBezTo>
                  <a:cubicBezTo>
                    <a:pt x="956" y="81"/>
                    <a:pt x="956" y="82"/>
                    <a:pt x="957" y="82"/>
                  </a:cubicBezTo>
                  <a:close/>
                  <a:moveTo>
                    <a:pt x="673" y="59"/>
                  </a:moveTo>
                  <a:cubicBezTo>
                    <a:pt x="673" y="59"/>
                    <a:pt x="673" y="59"/>
                    <a:pt x="673" y="59"/>
                  </a:cubicBezTo>
                  <a:cubicBezTo>
                    <a:pt x="673" y="59"/>
                    <a:pt x="673" y="59"/>
                    <a:pt x="673" y="59"/>
                  </a:cubicBezTo>
                  <a:close/>
                  <a:moveTo>
                    <a:pt x="1428" y="9"/>
                  </a:moveTo>
                  <a:cubicBezTo>
                    <a:pt x="1428" y="9"/>
                    <a:pt x="1428" y="9"/>
                    <a:pt x="1428" y="9"/>
                  </a:cubicBezTo>
                  <a:cubicBezTo>
                    <a:pt x="1428" y="9"/>
                    <a:pt x="1428" y="9"/>
                    <a:pt x="1428" y="9"/>
                  </a:cubicBezTo>
                  <a:close/>
                  <a:moveTo>
                    <a:pt x="1467" y="81"/>
                  </a:moveTo>
                  <a:cubicBezTo>
                    <a:pt x="1467" y="81"/>
                    <a:pt x="1467" y="81"/>
                    <a:pt x="1467" y="82"/>
                  </a:cubicBezTo>
                  <a:cubicBezTo>
                    <a:pt x="1467" y="81"/>
                    <a:pt x="1467" y="81"/>
                    <a:pt x="1467" y="81"/>
                  </a:cubicBezTo>
                  <a:close/>
                  <a:moveTo>
                    <a:pt x="1542" y="81"/>
                  </a:moveTo>
                  <a:cubicBezTo>
                    <a:pt x="1541" y="81"/>
                    <a:pt x="1541" y="81"/>
                    <a:pt x="1541" y="82"/>
                  </a:cubicBezTo>
                  <a:cubicBezTo>
                    <a:pt x="1542" y="82"/>
                    <a:pt x="1542" y="81"/>
                    <a:pt x="1542" y="81"/>
                  </a:cubicBezTo>
                  <a:close/>
                  <a:moveTo>
                    <a:pt x="1666" y="82"/>
                  </a:moveTo>
                  <a:cubicBezTo>
                    <a:pt x="1666" y="81"/>
                    <a:pt x="1666" y="81"/>
                    <a:pt x="1666" y="81"/>
                  </a:cubicBezTo>
                  <a:cubicBezTo>
                    <a:pt x="1666" y="81"/>
                    <a:pt x="1666" y="81"/>
                    <a:pt x="1666" y="82"/>
                  </a:cubicBezTo>
                  <a:close/>
                  <a:moveTo>
                    <a:pt x="1710" y="81"/>
                  </a:moveTo>
                  <a:cubicBezTo>
                    <a:pt x="1710" y="81"/>
                    <a:pt x="1709" y="81"/>
                    <a:pt x="1709" y="82"/>
                  </a:cubicBezTo>
                  <a:cubicBezTo>
                    <a:pt x="1710" y="82"/>
                    <a:pt x="1710" y="81"/>
                    <a:pt x="1710" y="81"/>
                  </a:cubicBezTo>
                  <a:close/>
                  <a:moveTo>
                    <a:pt x="1454" y="9"/>
                  </a:moveTo>
                  <a:cubicBezTo>
                    <a:pt x="1454" y="9"/>
                    <a:pt x="1454" y="9"/>
                    <a:pt x="1455" y="9"/>
                  </a:cubicBezTo>
                  <a:cubicBezTo>
                    <a:pt x="1455" y="9"/>
                    <a:pt x="1454" y="9"/>
                    <a:pt x="1454" y="9"/>
                  </a:cubicBezTo>
                  <a:close/>
                  <a:moveTo>
                    <a:pt x="688" y="82"/>
                  </a:moveTo>
                  <a:cubicBezTo>
                    <a:pt x="688" y="82"/>
                    <a:pt x="688" y="81"/>
                    <a:pt x="688" y="81"/>
                  </a:cubicBezTo>
                  <a:cubicBezTo>
                    <a:pt x="688" y="82"/>
                    <a:pt x="688" y="82"/>
                    <a:pt x="688" y="82"/>
                  </a:cubicBezTo>
                  <a:close/>
                  <a:moveTo>
                    <a:pt x="1569" y="42"/>
                  </a:moveTo>
                  <a:cubicBezTo>
                    <a:pt x="1569" y="42"/>
                    <a:pt x="1569" y="42"/>
                    <a:pt x="1569" y="42"/>
                  </a:cubicBezTo>
                  <a:cubicBezTo>
                    <a:pt x="1569" y="42"/>
                    <a:pt x="1568" y="42"/>
                    <a:pt x="1569" y="42"/>
                  </a:cubicBezTo>
                  <a:close/>
                  <a:moveTo>
                    <a:pt x="1042" y="81"/>
                  </a:moveTo>
                  <a:cubicBezTo>
                    <a:pt x="1042" y="82"/>
                    <a:pt x="1043" y="82"/>
                    <a:pt x="1043" y="82"/>
                  </a:cubicBezTo>
                  <a:cubicBezTo>
                    <a:pt x="1043" y="82"/>
                    <a:pt x="1043" y="82"/>
                    <a:pt x="1042" y="81"/>
                  </a:cubicBezTo>
                  <a:close/>
                  <a:moveTo>
                    <a:pt x="1357" y="81"/>
                  </a:moveTo>
                  <a:cubicBezTo>
                    <a:pt x="1357" y="81"/>
                    <a:pt x="1357" y="82"/>
                    <a:pt x="1357" y="82"/>
                  </a:cubicBezTo>
                  <a:cubicBezTo>
                    <a:pt x="1357" y="82"/>
                    <a:pt x="1357" y="82"/>
                    <a:pt x="1357" y="81"/>
                  </a:cubicBezTo>
                  <a:close/>
                  <a:moveTo>
                    <a:pt x="1530" y="82"/>
                  </a:moveTo>
                  <a:cubicBezTo>
                    <a:pt x="1530" y="82"/>
                    <a:pt x="1530" y="82"/>
                    <a:pt x="1530" y="81"/>
                  </a:cubicBezTo>
                  <a:cubicBezTo>
                    <a:pt x="1530" y="81"/>
                    <a:pt x="1530" y="82"/>
                    <a:pt x="1530" y="82"/>
                  </a:cubicBezTo>
                  <a:close/>
                  <a:moveTo>
                    <a:pt x="1679" y="81"/>
                  </a:moveTo>
                  <a:cubicBezTo>
                    <a:pt x="1678" y="82"/>
                    <a:pt x="1679" y="82"/>
                    <a:pt x="1679" y="82"/>
                  </a:cubicBezTo>
                  <a:cubicBezTo>
                    <a:pt x="1679" y="82"/>
                    <a:pt x="1679" y="81"/>
                    <a:pt x="1679" y="81"/>
                  </a:cubicBezTo>
                  <a:close/>
                  <a:moveTo>
                    <a:pt x="1698" y="82"/>
                  </a:moveTo>
                  <a:cubicBezTo>
                    <a:pt x="1698" y="82"/>
                    <a:pt x="1698" y="82"/>
                    <a:pt x="1698" y="81"/>
                  </a:cubicBezTo>
                  <a:cubicBezTo>
                    <a:pt x="1698" y="81"/>
                    <a:pt x="1698" y="82"/>
                    <a:pt x="1698" y="82"/>
                  </a:cubicBezTo>
                  <a:close/>
                  <a:moveTo>
                    <a:pt x="621" y="82"/>
                  </a:moveTo>
                  <a:cubicBezTo>
                    <a:pt x="621" y="82"/>
                    <a:pt x="621" y="82"/>
                    <a:pt x="621" y="83"/>
                  </a:cubicBezTo>
                  <a:cubicBezTo>
                    <a:pt x="621" y="82"/>
                    <a:pt x="621" y="82"/>
                    <a:pt x="621" y="82"/>
                  </a:cubicBezTo>
                  <a:close/>
                  <a:moveTo>
                    <a:pt x="760" y="82"/>
                  </a:moveTo>
                  <a:cubicBezTo>
                    <a:pt x="760" y="82"/>
                    <a:pt x="761" y="82"/>
                    <a:pt x="761" y="83"/>
                  </a:cubicBezTo>
                  <a:cubicBezTo>
                    <a:pt x="761" y="82"/>
                    <a:pt x="761" y="82"/>
                    <a:pt x="760" y="82"/>
                  </a:cubicBezTo>
                  <a:close/>
                  <a:moveTo>
                    <a:pt x="1209" y="82"/>
                  </a:moveTo>
                  <a:cubicBezTo>
                    <a:pt x="1209" y="82"/>
                    <a:pt x="1209" y="82"/>
                    <a:pt x="1209" y="82"/>
                  </a:cubicBezTo>
                  <a:cubicBezTo>
                    <a:pt x="1209" y="82"/>
                    <a:pt x="1209" y="82"/>
                    <a:pt x="1209" y="82"/>
                  </a:cubicBezTo>
                  <a:close/>
                  <a:moveTo>
                    <a:pt x="1220" y="82"/>
                  </a:moveTo>
                  <a:cubicBezTo>
                    <a:pt x="1220" y="82"/>
                    <a:pt x="1220" y="82"/>
                    <a:pt x="1221" y="82"/>
                  </a:cubicBezTo>
                  <a:cubicBezTo>
                    <a:pt x="1221" y="82"/>
                    <a:pt x="1221" y="82"/>
                    <a:pt x="1220" y="82"/>
                  </a:cubicBezTo>
                  <a:close/>
                  <a:moveTo>
                    <a:pt x="1539" y="9"/>
                  </a:moveTo>
                  <a:cubicBezTo>
                    <a:pt x="1539" y="9"/>
                    <a:pt x="1539" y="9"/>
                    <a:pt x="1540" y="9"/>
                  </a:cubicBezTo>
                  <a:cubicBezTo>
                    <a:pt x="1539" y="9"/>
                    <a:pt x="1539" y="9"/>
                    <a:pt x="1539" y="9"/>
                  </a:cubicBezTo>
                  <a:close/>
                  <a:moveTo>
                    <a:pt x="1666" y="82"/>
                  </a:moveTo>
                  <a:cubicBezTo>
                    <a:pt x="1666" y="82"/>
                    <a:pt x="1666" y="82"/>
                    <a:pt x="1666" y="82"/>
                  </a:cubicBezTo>
                  <a:cubicBezTo>
                    <a:pt x="1666" y="82"/>
                    <a:pt x="1666" y="82"/>
                    <a:pt x="1666" y="82"/>
                  </a:cubicBezTo>
                  <a:close/>
                  <a:moveTo>
                    <a:pt x="627" y="83"/>
                  </a:moveTo>
                  <a:cubicBezTo>
                    <a:pt x="627" y="83"/>
                    <a:pt x="627" y="82"/>
                    <a:pt x="627" y="82"/>
                  </a:cubicBezTo>
                  <a:cubicBezTo>
                    <a:pt x="627" y="82"/>
                    <a:pt x="627" y="82"/>
                    <a:pt x="627" y="83"/>
                  </a:cubicBezTo>
                  <a:close/>
                  <a:moveTo>
                    <a:pt x="637" y="82"/>
                  </a:moveTo>
                  <a:cubicBezTo>
                    <a:pt x="637" y="82"/>
                    <a:pt x="637" y="82"/>
                    <a:pt x="637" y="83"/>
                  </a:cubicBezTo>
                  <a:cubicBezTo>
                    <a:pt x="637" y="83"/>
                    <a:pt x="637" y="82"/>
                    <a:pt x="637" y="82"/>
                  </a:cubicBezTo>
                  <a:close/>
                  <a:moveTo>
                    <a:pt x="1568" y="9"/>
                  </a:moveTo>
                  <a:cubicBezTo>
                    <a:pt x="1569" y="9"/>
                    <a:pt x="1569" y="9"/>
                    <a:pt x="1569" y="9"/>
                  </a:cubicBezTo>
                  <a:cubicBezTo>
                    <a:pt x="1569" y="9"/>
                    <a:pt x="1569" y="9"/>
                    <a:pt x="1568" y="9"/>
                  </a:cubicBezTo>
                  <a:close/>
                  <a:moveTo>
                    <a:pt x="1707" y="9"/>
                  </a:moveTo>
                  <a:cubicBezTo>
                    <a:pt x="1707" y="9"/>
                    <a:pt x="1708" y="9"/>
                    <a:pt x="1708" y="9"/>
                  </a:cubicBezTo>
                  <a:cubicBezTo>
                    <a:pt x="1707" y="9"/>
                    <a:pt x="1707" y="9"/>
                    <a:pt x="1707" y="9"/>
                  </a:cubicBezTo>
                  <a:close/>
                  <a:moveTo>
                    <a:pt x="1345" y="83"/>
                  </a:moveTo>
                  <a:cubicBezTo>
                    <a:pt x="1346" y="83"/>
                    <a:pt x="1346" y="82"/>
                    <a:pt x="1346" y="82"/>
                  </a:cubicBezTo>
                  <a:cubicBezTo>
                    <a:pt x="1345" y="82"/>
                    <a:pt x="1345" y="82"/>
                    <a:pt x="1345" y="83"/>
                  </a:cubicBezTo>
                  <a:close/>
                  <a:moveTo>
                    <a:pt x="1737" y="9"/>
                  </a:moveTo>
                  <a:cubicBezTo>
                    <a:pt x="1737" y="9"/>
                    <a:pt x="1737" y="9"/>
                    <a:pt x="1737" y="9"/>
                  </a:cubicBezTo>
                  <a:cubicBezTo>
                    <a:pt x="1737" y="9"/>
                    <a:pt x="1737" y="9"/>
                    <a:pt x="1737" y="9"/>
                  </a:cubicBezTo>
                  <a:close/>
                  <a:moveTo>
                    <a:pt x="1530" y="83"/>
                  </a:moveTo>
                  <a:cubicBezTo>
                    <a:pt x="1530" y="83"/>
                    <a:pt x="1530" y="82"/>
                    <a:pt x="1530" y="82"/>
                  </a:cubicBezTo>
                  <a:cubicBezTo>
                    <a:pt x="1530" y="82"/>
                    <a:pt x="1530" y="83"/>
                    <a:pt x="1530" y="83"/>
                  </a:cubicBezTo>
                  <a:close/>
                  <a:moveTo>
                    <a:pt x="1541" y="82"/>
                  </a:moveTo>
                  <a:cubicBezTo>
                    <a:pt x="1541" y="82"/>
                    <a:pt x="1541" y="82"/>
                    <a:pt x="1541" y="83"/>
                  </a:cubicBezTo>
                  <a:cubicBezTo>
                    <a:pt x="1541" y="83"/>
                    <a:pt x="1541" y="82"/>
                    <a:pt x="1541" y="82"/>
                  </a:cubicBezTo>
                  <a:close/>
                  <a:moveTo>
                    <a:pt x="1679" y="82"/>
                  </a:moveTo>
                  <a:cubicBezTo>
                    <a:pt x="1679" y="82"/>
                    <a:pt x="1679" y="83"/>
                    <a:pt x="1679" y="83"/>
                  </a:cubicBezTo>
                  <a:cubicBezTo>
                    <a:pt x="1679" y="82"/>
                    <a:pt x="1679" y="82"/>
                    <a:pt x="1679" y="82"/>
                  </a:cubicBezTo>
                  <a:close/>
                  <a:moveTo>
                    <a:pt x="1698" y="83"/>
                  </a:moveTo>
                  <a:cubicBezTo>
                    <a:pt x="1698" y="83"/>
                    <a:pt x="1698" y="82"/>
                    <a:pt x="1698" y="82"/>
                  </a:cubicBezTo>
                  <a:cubicBezTo>
                    <a:pt x="1698" y="82"/>
                    <a:pt x="1698" y="82"/>
                    <a:pt x="1698" y="83"/>
                  </a:cubicBezTo>
                  <a:close/>
                  <a:moveTo>
                    <a:pt x="1709" y="82"/>
                  </a:moveTo>
                  <a:cubicBezTo>
                    <a:pt x="1709" y="82"/>
                    <a:pt x="1709" y="82"/>
                    <a:pt x="1709" y="83"/>
                  </a:cubicBezTo>
                  <a:cubicBezTo>
                    <a:pt x="1709" y="83"/>
                    <a:pt x="1709" y="82"/>
                    <a:pt x="1709" y="82"/>
                  </a:cubicBezTo>
                  <a:close/>
                  <a:moveTo>
                    <a:pt x="611" y="83"/>
                  </a:moveTo>
                  <a:cubicBezTo>
                    <a:pt x="611" y="83"/>
                    <a:pt x="611" y="83"/>
                    <a:pt x="611" y="82"/>
                  </a:cubicBezTo>
                  <a:cubicBezTo>
                    <a:pt x="611" y="83"/>
                    <a:pt x="611" y="83"/>
                    <a:pt x="611" y="83"/>
                  </a:cubicBezTo>
                  <a:close/>
                  <a:moveTo>
                    <a:pt x="830" y="52"/>
                  </a:moveTo>
                  <a:cubicBezTo>
                    <a:pt x="830" y="52"/>
                    <a:pt x="830" y="52"/>
                    <a:pt x="830" y="53"/>
                  </a:cubicBezTo>
                  <a:cubicBezTo>
                    <a:pt x="830" y="53"/>
                    <a:pt x="830" y="52"/>
                    <a:pt x="830" y="52"/>
                  </a:cubicBezTo>
                  <a:close/>
                  <a:moveTo>
                    <a:pt x="1043" y="82"/>
                  </a:moveTo>
                  <a:cubicBezTo>
                    <a:pt x="1043" y="83"/>
                    <a:pt x="1043" y="83"/>
                    <a:pt x="1043" y="83"/>
                  </a:cubicBezTo>
                  <a:cubicBezTo>
                    <a:pt x="1043" y="83"/>
                    <a:pt x="1043" y="83"/>
                    <a:pt x="1043" y="82"/>
                  </a:cubicBezTo>
                  <a:close/>
                  <a:moveTo>
                    <a:pt x="1221" y="82"/>
                  </a:moveTo>
                  <a:cubicBezTo>
                    <a:pt x="1221" y="83"/>
                    <a:pt x="1221" y="83"/>
                    <a:pt x="1221" y="83"/>
                  </a:cubicBezTo>
                  <a:cubicBezTo>
                    <a:pt x="1221" y="83"/>
                    <a:pt x="1221" y="83"/>
                    <a:pt x="1221" y="82"/>
                  </a:cubicBezTo>
                  <a:close/>
                  <a:moveTo>
                    <a:pt x="1667" y="83"/>
                  </a:moveTo>
                  <a:cubicBezTo>
                    <a:pt x="1667" y="83"/>
                    <a:pt x="1667" y="83"/>
                    <a:pt x="1666" y="82"/>
                  </a:cubicBezTo>
                  <a:cubicBezTo>
                    <a:pt x="1666" y="83"/>
                    <a:pt x="1666" y="83"/>
                    <a:pt x="1667" y="83"/>
                  </a:cubicBezTo>
                  <a:close/>
                  <a:moveTo>
                    <a:pt x="621" y="83"/>
                  </a:moveTo>
                  <a:cubicBezTo>
                    <a:pt x="621" y="83"/>
                    <a:pt x="621" y="83"/>
                    <a:pt x="622" y="84"/>
                  </a:cubicBezTo>
                  <a:cubicBezTo>
                    <a:pt x="622" y="83"/>
                    <a:pt x="622" y="83"/>
                    <a:pt x="621" y="83"/>
                  </a:cubicBezTo>
                  <a:close/>
                  <a:moveTo>
                    <a:pt x="550" y="9"/>
                  </a:moveTo>
                  <a:cubicBezTo>
                    <a:pt x="551" y="9"/>
                    <a:pt x="551" y="9"/>
                    <a:pt x="551" y="9"/>
                  </a:cubicBezTo>
                  <a:cubicBezTo>
                    <a:pt x="551" y="9"/>
                    <a:pt x="550" y="9"/>
                    <a:pt x="550" y="9"/>
                  </a:cubicBezTo>
                  <a:close/>
                  <a:moveTo>
                    <a:pt x="761" y="83"/>
                  </a:moveTo>
                  <a:cubicBezTo>
                    <a:pt x="761" y="83"/>
                    <a:pt x="761" y="83"/>
                    <a:pt x="761" y="83"/>
                  </a:cubicBezTo>
                  <a:cubicBezTo>
                    <a:pt x="761" y="83"/>
                    <a:pt x="761" y="83"/>
                    <a:pt x="761" y="83"/>
                  </a:cubicBezTo>
                  <a:close/>
                  <a:moveTo>
                    <a:pt x="958" y="83"/>
                  </a:moveTo>
                  <a:cubicBezTo>
                    <a:pt x="958" y="83"/>
                    <a:pt x="957" y="83"/>
                    <a:pt x="957" y="83"/>
                  </a:cubicBezTo>
                  <a:cubicBezTo>
                    <a:pt x="957" y="83"/>
                    <a:pt x="957" y="83"/>
                    <a:pt x="958" y="83"/>
                  </a:cubicBezTo>
                  <a:close/>
                  <a:moveTo>
                    <a:pt x="1031" y="83"/>
                  </a:moveTo>
                  <a:cubicBezTo>
                    <a:pt x="1031" y="83"/>
                    <a:pt x="1031" y="83"/>
                    <a:pt x="1031" y="83"/>
                  </a:cubicBezTo>
                  <a:cubicBezTo>
                    <a:pt x="1031" y="83"/>
                    <a:pt x="1031" y="83"/>
                    <a:pt x="1031" y="83"/>
                  </a:cubicBezTo>
                  <a:close/>
                  <a:moveTo>
                    <a:pt x="980" y="9"/>
                  </a:moveTo>
                  <a:cubicBezTo>
                    <a:pt x="980" y="9"/>
                    <a:pt x="980" y="9"/>
                    <a:pt x="981" y="9"/>
                  </a:cubicBezTo>
                  <a:cubicBezTo>
                    <a:pt x="980" y="9"/>
                    <a:pt x="980" y="9"/>
                    <a:pt x="980" y="9"/>
                  </a:cubicBezTo>
                  <a:close/>
                  <a:moveTo>
                    <a:pt x="1345" y="83"/>
                  </a:moveTo>
                  <a:cubicBezTo>
                    <a:pt x="1345" y="83"/>
                    <a:pt x="1345" y="83"/>
                    <a:pt x="1345" y="83"/>
                  </a:cubicBezTo>
                  <a:cubicBezTo>
                    <a:pt x="1345" y="83"/>
                    <a:pt x="1345" y="83"/>
                    <a:pt x="1345" y="83"/>
                  </a:cubicBezTo>
                  <a:close/>
                  <a:moveTo>
                    <a:pt x="1466" y="83"/>
                  </a:moveTo>
                  <a:cubicBezTo>
                    <a:pt x="1466" y="83"/>
                    <a:pt x="1466" y="83"/>
                    <a:pt x="1466" y="83"/>
                  </a:cubicBezTo>
                  <a:cubicBezTo>
                    <a:pt x="1466" y="83"/>
                    <a:pt x="1466" y="83"/>
                    <a:pt x="1466" y="83"/>
                  </a:cubicBezTo>
                  <a:close/>
                  <a:moveTo>
                    <a:pt x="1541" y="83"/>
                  </a:moveTo>
                  <a:cubicBezTo>
                    <a:pt x="1540" y="83"/>
                    <a:pt x="1540" y="83"/>
                    <a:pt x="1540" y="83"/>
                  </a:cubicBezTo>
                  <a:cubicBezTo>
                    <a:pt x="1541" y="83"/>
                    <a:pt x="1541" y="83"/>
                    <a:pt x="1541" y="83"/>
                  </a:cubicBezTo>
                  <a:close/>
                  <a:moveTo>
                    <a:pt x="1679" y="83"/>
                  </a:moveTo>
                  <a:cubicBezTo>
                    <a:pt x="1679" y="83"/>
                    <a:pt x="1679" y="83"/>
                    <a:pt x="1680" y="83"/>
                  </a:cubicBezTo>
                  <a:cubicBezTo>
                    <a:pt x="1680" y="83"/>
                    <a:pt x="1679" y="83"/>
                    <a:pt x="1679" y="83"/>
                  </a:cubicBezTo>
                  <a:close/>
                  <a:moveTo>
                    <a:pt x="1709" y="83"/>
                  </a:moveTo>
                  <a:cubicBezTo>
                    <a:pt x="1708" y="83"/>
                    <a:pt x="1708" y="83"/>
                    <a:pt x="1708" y="83"/>
                  </a:cubicBezTo>
                  <a:cubicBezTo>
                    <a:pt x="1709" y="83"/>
                    <a:pt x="1709" y="83"/>
                    <a:pt x="1709" y="83"/>
                  </a:cubicBezTo>
                  <a:close/>
                  <a:moveTo>
                    <a:pt x="1019" y="9"/>
                  </a:moveTo>
                  <a:cubicBezTo>
                    <a:pt x="1020" y="9"/>
                    <a:pt x="1020" y="9"/>
                    <a:pt x="1020" y="9"/>
                  </a:cubicBezTo>
                  <a:cubicBezTo>
                    <a:pt x="1020" y="9"/>
                    <a:pt x="1020" y="9"/>
                    <a:pt x="1019" y="9"/>
                  </a:cubicBezTo>
                  <a:close/>
                  <a:moveTo>
                    <a:pt x="626" y="84"/>
                  </a:moveTo>
                  <a:cubicBezTo>
                    <a:pt x="626" y="84"/>
                    <a:pt x="627" y="83"/>
                    <a:pt x="626" y="83"/>
                  </a:cubicBezTo>
                  <a:cubicBezTo>
                    <a:pt x="626" y="83"/>
                    <a:pt x="626" y="84"/>
                    <a:pt x="626" y="84"/>
                  </a:cubicBezTo>
                  <a:close/>
                  <a:moveTo>
                    <a:pt x="750" y="53"/>
                  </a:moveTo>
                  <a:cubicBezTo>
                    <a:pt x="750" y="53"/>
                    <a:pt x="750" y="52"/>
                    <a:pt x="750" y="52"/>
                  </a:cubicBezTo>
                  <a:cubicBezTo>
                    <a:pt x="750" y="52"/>
                    <a:pt x="750" y="53"/>
                    <a:pt x="750" y="53"/>
                  </a:cubicBezTo>
                  <a:close/>
                  <a:moveTo>
                    <a:pt x="1354" y="9"/>
                  </a:moveTo>
                  <a:cubicBezTo>
                    <a:pt x="1354" y="9"/>
                    <a:pt x="1355" y="9"/>
                    <a:pt x="1355" y="9"/>
                  </a:cubicBezTo>
                  <a:cubicBezTo>
                    <a:pt x="1354" y="9"/>
                    <a:pt x="1354" y="9"/>
                    <a:pt x="1354" y="9"/>
                  </a:cubicBezTo>
                  <a:close/>
                  <a:moveTo>
                    <a:pt x="1043" y="83"/>
                  </a:moveTo>
                  <a:cubicBezTo>
                    <a:pt x="1043" y="83"/>
                    <a:pt x="1043" y="84"/>
                    <a:pt x="1044" y="84"/>
                  </a:cubicBezTo>
                  <a:cubicBezTo>
                    <a:pt x="1044" y="83"/>
                    <a:pt x="1043" y="83"/>
                    <a:pt x="1043" y="83"/>
                  </a:cubicBezTo>
                  <a:close/>
                  <a:moveTo>
                    <a:pt x="1221" y="83"/>
                  </a:moveTo>
                  <a:cubicBezTo>
                    <a:pt x="1221" y="83"/>
                    <a:pt x="1221" y="84"/>
                    <a:pt x="1221" y="84"/>
                  </a:cubicBezTo>
                  <a:cubicBezTo>
                    <a:pt x="1221" y="83"/>
                    <a:pt x="1221" y="83"/>
                    <a:pt x="1221" y="83"/>
                  </a:cubicBezTo>
                  <a:close/>
                  <a:moveTo>
                    <a:pt x="1356" y="83"/>
                  </a:moveTo>
                  <a:cubicBezTo>
                    <a:pt x="1356" y="83"/>
                    <a:pt x="1356" y="83"/>
                    <a:pt x="1356" y="84"/>
                  </a:cubicBezTo>
                  <a:cubicBezTo>
                    <a:pt x="1356" y="84"/>
                    <a:pt x="1356" y="83"/>
                    <a:pt x="1356" y="83"/>
                  </a:cubicBezTo>
                  <a:close/>
                  <a:moveTo>
                    <a:pt x="1414" y="84"/>
                  </a:moveTo>
                  <a:cubicBezTo>
                    <a:pt x="1414" y="83"/>
                    <a:pt x="1414" y="83"/>
                    <a:pt x="1413" y="83"/>
                  </a:cubicBezTo>
                  <a:cubicBezTo>
                    <a:pt x="1413" y="83"/>
                    <a:pt x="1413" y="84"/>
                    <a:pt x="1414" y="84"/>
                  </a:cubicBezTo>
                  <a:close/>
                  <a:moveTo>
                    <a:pt x="1529" y="84"/>
                  </a:moveTo>
                  <a:cubicBezTo>
                    <a:pt x="1529" y="84"/>
                    <a:pt x="1529" y="83"/>
                    <a:pt x="1529" y="83"/>
                  </a:cubicBezTo>
                  <a:cubicBezTo>
                    <a:pt x="1529" y="83"/>
                    <a:pt x="1529" y="83"/>
                    <a:pt x="1529" y="84"/>
                  </a:cubicBezTo>
                  <a:close/>
                  <a:moveTo>
                    <a:pt x="1385" y="9"/>
                  </a:moveTo>
                  <a:cubicBezTo>
                    <a:pt x="1385" y="9"/>
                    <a:pt x="1385" y="9"/>
                    <a:pt x="1385" y="9"/>
                  </a:cubicBezTo>
                  <a:cubicBezTo>
                    <a:pt x="1385" y="9"/>
                    <a:pt x="1385" y="9"/>
                    <a:pt x="1385" y="9"/>
                  </a:cubicBezTo>
                  <a:close/>
                  <a:moveTo>
                    <a:pt x="1697" y="84"/>
                  </a:moveTo>
                  <a:cubicBezTo>
                    <a:pt x="1697" y="84"/>
                    <a:pt x="1698" y="83"/>
                    <a:pt x="1698" y="83"/>
                  </a:cubicBezTo>
                  <a:cubicBezTo>
                    <a:pt x="1697" y="83"/>
                    <a:pt x="1697" y="83"/>
                    <a:pt x="1697" y="84"/>
                  </a:cubicBezTo>
                  <a:close/>
                  <a:moveTo>
                    <a:pt x="612" y="84"/>
                  </a:moveTo>
                  <a:cubicBezTo>
                    <a:pt x="612" y="84"/>
                    <a:pt x="612" y="83"/>
                    <a:pt x="611" y="83"/>
                  </a:cubicBezTo>
                  <a:cubicBezTo>
                    <a:pt x="611" y="84"/>
                    <a:pt x="611" y="84"/>
                    <a:pt x="612" y="84"/>
                  </a:cubicBezTo>
                  <a:close/>
                  <a:moveTo>
                    <a:pt x="958" y="84"/>
                  </a:moveTo>
                  <a:cubicBezTo>
                    <a:pt x="958" y="84"/>
                    <a:pt x="958" y="84"/>
                    <a:pt x="958" y="83"/>
                  </a:cubicBezTo>
                  <a:cubicBezTo>
                    <a:pt x="958" y="84"/>
                    <a:pt x="958" y="84"/>
                    <a:pt x="958" y="84"/>
                  </a:cubicBezTo>
                  <a:close/>
                  <a:moveTo>
                    <a:pt x="1345" y="84"/>
                  </a:moveTo>
                  <a:cubicBezTo>
                    <a:pt x="1345" y="84"/>
                    <a:pt x="1345" y="84"/>
                    <a:pt x="1345" y="83"/>
                  </a:cubicBezTo>
                  <a:cubicBezTo>
                    <a:pt x="1345" y="84"/>
                    <a:pt x="1345" y="84"/>
                    <a:pt x="1345" y="84"/>
                  </a:cubicBezTo>
                  <a:close/>
                  <a:moveTo>
                    <a:pt x="1540" y="83"/>
                  </a:moveTo>
                  <a:cubicBezTo>
                    <a:pt x="1540" y="84"/>
                    <a:pt x="1540" y="84"/>
                    <a:pt x="1540" y="84"/>
                  </a:cubicBezTo>
                  <a:cubicBezTo>
                    <a:pt x="1540" y="84"/>
                    <a:pt x="1540" y="84"/>
                    <a:pt x="1540" y="83"/>
                  </a:cubicBezTo>
                  <a:close/>
                  <a:moveTo>
                    <a:pt x="1680" y="83"/>
                  </a:moveTo>
                  <a:cubicBezTo>
                    <a:pt x="1679" y="84"/>
                    <a:pt x="1680" y="84"/>
                    <a:pt x="1680" y="84"/>
                  </a:cubicBezTo>
                  <a:cubicBezTo>
                    <a:pt x="1680" y="84"/>
                    <a:pt x="1680" y="84"/>
                    <a:pt x="1680" y="83"/>
                  </a:cubicBezTo>
                  <a:close/>
                  <a:moveTo>
                    <a:pt x="1708" y="83"/>
                  </a:moveTo>
                  <a:cubicBezTo>
                    <a:pt x="1708" y="84"/>
                    <a:pt x="1708" y="84"/>
                    <a:pt x="1708" y="84"/>
                  </a:cubicBezTo>
                  <a:cubicBezTo>
                    <a:pt x="1708" y="84"/>
                    <a:pt x="1708" y="84"/>
                    <a:pt x="1708" y="83"/>
                  </a:cubicBezTo>
                  <a:close/>
                  <a:moveTo>
                    <a:pt x="622" y="84"/>
                  </a:moveTo>
                  <a:cubicBezTo>
                    <a:pt x="622" y="84"/>
                    <a:pt x="622" y="84"/>
                    <a:pt x="622" y="85"/>
                  </a:cubicBezTo>
                  <a:cubicBezTo>
                    <a:pt x="622" y="84"/>
                    <a:pt x="622" y="84"/>
                    <a:pt x="622" y="84"/>
                  </a:cubicBezTo>
                  <a:close/>
                  <a:moveTo>
                    <a:pt x="1427" y="9"/>
                  </a:moveTo>
                  <a:cubicBezTo>
                    <a:pt x="1427" y="9"/>
                    <a:pt x="1427" y="9"/>
                    <a:pt x="1428" y="9"/>
                  </a:cubicBezTo>
                  <a:cubicBezTo>
                    <a:pt x="1427" y="9"/>
                    <a:pt x="1427" y="9"/>
                    <a:pt x="1427" y="9"/>
                  </a:cubicBezTo>
                  <a:close/>
                  <a:moveTo>
                    <a:pt x="636" y="84"/>
                  </a:moveTo>
                  <a:cubicBezTo>
                    <a:pt x="636" y="84"/>
                    <a:pt x="636" y="84"/>
                    <a:pt x="636" y="84"/>
                  </a:cubicBezTo>
                  <a:cubicBezTo>
                    <a:pt x="636" y="84"/>
                    <a:pt x="636" y="84"/>
                    <a:pt x="636" y="84"/>
                  </a:cubicBezTo>
                  <a:close/>
                  <a:moveTo>
                    <a:pt x="1032" y="84"/>
                  </a:moveTo>
                  <a:cubicBezTo>
                    <a:pt x="1032" y="84"/>
                    <a:pt x="1032" y="84"/>
                    <a:pt x="1031" y="84"/>
                  </a:cubicBezTo>
                  <a:cubicBezTo>
                    <a:pt x="1031" y="84"/>
                    <a:pt x="1031" y="84"/>
                    <a:pt x="1032" y="84"/>
                  </a:cubicBezTo>
                  <a:close/>
                  <a:moveTo>
                    <a:pt x="637" y="55"/>
                  </a:moveTo>
                  <a:cubicBezTo>
                    <a:pt x="637" y="55"/>
                    <a:pt x="637" y="55"/>
                    <a:pt x="637" y="55"/>
                  </a:cubicBezTo>
                  <a:cubicBezTo>
                    <a:pt x="637" y="55"/>
                    <a:pt x="637" y="55"/>
                    <a:pt x="637" y="55"/>
                  </a:cubicBezTo>
                  <a:close/>
                  <a:moveTo>
                    <a:pt x="1210" y="84"/>
                  </a:moveTo>
                  <a:cubicBezTo>
                    <a:pt x="1210" y="84"/>
                    <a:pt x="1210" y="84"/>
                    <a:pt x="1209" y="84"/>
                  </a:cubicBezTo>
                  <a:cubicBezTo>
                    <a:pt x="1209" y="84"/>
                    <a:pt x="1209" y="84"/>
                    <a:pt x="1210" y="84"/>
                  </a:cubicBezTo>
                  <a:close/>
                  <a:moveTo>
                    <a:pt x="1221" y="84"/>
                  </a:moveTo>
                  <a:cubicBezTo>
                    <a:pt x="1221" y="84"/>
                    <a:pt x="1222" y="84"/>
                    <a:pt x="1222" y="84"/>
                  </a:cubicBezTo>
                  <a:cubicBezTo>
                    <a:pt x="1222" y="84"/>
                    <a:pt x="1222" y="84"/>
                    <a:pt x="1221" y="84"/>
                  </a:cubicBezTo>
                  <a:close/>
                  <a:moveTo>
                    <a:pt x="1356" y="84"/>
                  </a:moveTo>
                  <a:cubicBezTo>
                    <a:pt x="1356" y="84"/>
                    <a:pt x="1355" y="84"/>
                    <a:pt x="1355" y="84"/>
                  </a:cubicBezTo>
                  <a:cubicBezTo>
                    <a:pt x="1356" y="84"/>
                    <a:pt x="1356" y="84"/>
                    <a:pt x="1356" y="84"/>
                  </a:cubicBezTo>
                  <a:close/>
                  <a:moveTo>
                    <a:pt x="1466" y="84"/>
                  </a:moveTo>
                  <a:cubicBezTo>
                    <a:pt x="1466" y="84"/>
                    <a:pt x="1466" y="84"/>
                    <a:pt x="1466" y="84"/>
                  </a:cubicBezTo>
                  <a:cubicBezTo>
                    <a:pt x="1466" y="84"/>
                    <a:pt x="1466" y="84"/>
                    <a:pt x="1466" y="84"/>
                  </a:cubicBezTo>
                  <a:close/>
                  <a:moveTo>
                    <a:pt x="1529" y="85"/>
                  </a:moveTo>
                  <a:cubicBezTo>
                    <a:pt x="1529" y="84"/>
                    <a:pt x="1529" y="84"/>
                    <a:pt x="1529" y="84"/>
                  </a:cubicBezTo>
                  <a:cubicBezTo>
                    <a:pt x="1529" y="84"/>
                    <a:pt x="1529" y="84"/>
                    <a:pt x="1529" y="85"/>
                  </a:cubicBezTo>
                  <a:close/>
                  <a:moveTo>
                    <a:pt x="1697" y="85"/>
                  </a:moveTo>
                  <a:cubicBezTo>
                    <a:pt x="1697" y="84"/>
                    <a:pt x="1697" y="84"/>
                    <a:pt x="1697" y="84"/>
                  </a:cubicBezTo>
                  <a:cubicBezTo>
                    <a:pt x="1697" y="84"/>
                    <a:pt x="1697" y="84"/>
                    <a:pt x="1697" y="85"/>
                  </a:cubicBezTo>
                  <a:close/>
                  <a:moveTo>
                    <a:pt x="612" y="85"/>
                  </a:moveTo>
                  <a:cubicBezTo>
                    <a:pt x="612" y="85"/>
                    <a:pt x="612" y="84"/>
                    <a:pt x="612" y="84"/>
                  </a:cubicBezTo>
                  <a:cubicBezTo>
                    <a:pt x="612" y="84"/>
                    <a:pt x="612" y="85"/>
                    <a:pt x="612" y="85"/>
                  </a:cubicBezTo>
                  <a:close/>
                  <a:moveTo>
                    <a:pt x="750" y="85"/>
                  </a:moveTo>
                  <a:cubicBezTo>
                    <a:pt x="750" y="85"/>
                    <a:pt x="750" y="84"/>
                    <a:pt x="749" y="84"/>
                  </a:cubicBezTo>
                  <a:cubicBezTo>
                    <a:pt x="749" y="84"/>
                    <a:pt x="749" y="85"/>
                    <a:pt x="750" y="85"/>
                  </a:cubicBezTo>
                  <a:close/>
                  <a:moveTo>
                    <a:pt x="1044" y="84"/>
                  </a:moveTo>
                  <a:cubicBezTo>
                    <a:pt x="1044" y="84"/>
                    <a:pt x="1044" y="85"/>
                    <a:pt x="1044" y="85"/>
                  </a:cubicBezTo>
                  <a:cubicBezTo>
                    <a:pt x="1044" y="85"/>
                    <a:pt x="1044" y="84"/>
                    <a:pt x="1044" y="84"/>
                  </a:cubicBezTo>
                  <a:close/>
                  <a:moveTo>
                    <a:pt x="1414" y="85"/>
                  </a:moveTo>
                  <a:cubicBezTo>
                    <a:pt x="1414" y="84"/>
                    <a:pt x="1414" y="84"/>
                    <a:pt x="1414" y="84"/>
                  </a:cubicBezTo>
                  <a:cubicBezTo>
                    <a:pt x="1414" y="84"/>
                    <a:pt x="1414" y="85"/>
                    <a:pt x="1414" y="85"/>
                  </a:cubicBezTo>
                  <a:close/>
                  <a:moveTo>
                    <a:pt x="1540" y="84"/>
                  </a:moveTo>
                  <a:cubicBezTo>
                    <a:pt x="1540" y="84"/>
                    <a:pt x="1540" y="85"/>
                    <a:pt x="1540" y="85"/>
                  </a:cubicBezTo>
                  <a:cubicBezTo>
                    <a:pt x="1540" y="85"/>
                    <a:pt x="1540" y="84"/>
                    <a:pt x="1540" y="84"/>
                  </a:cubicBezTo>
                  <a:close/>
                  <a:moveTo>
                    <a:pt x="1667" y="85"/>
                  </a:moveTo>
                  <a:cubicBezTo>
                    <a:pt x="1667" y="84"/>
                    <a:pt x="1667" y="84"/>
                    <a:pt x="1667" y="84"/>
                  </a:cubicBezTo>
                  <a:cubicBezTo>
                    <a:pt x="1667" y="84"/>
                    <a:pt x="1667" y="85"/>
                    <a:pt x="1667" y="85"/>
                  </a:cubicBezTo>
                  <a:close/>
                  <a:moveTo>
                    <a:pt x="1680" y="84"/>
                  </a:moveTo>
                  <a:cubicBezTo>
                    <a:pt x="1680" y="84"/>
                    <a:pt x="1680" y="85"/>
                    <a:pt x="1680" y="85"/>
                  </a:cubicBezTo>
                  <a:cubicBezTo>
                    <a:pt x="1680" y="85"/>
                    <a:pt x="1680" y="84"/>
                    <a:pt x="1680" y="84"/>
                  </a:cubicBezTo>
                  <a:close/>
                  <a:moveTo>
                    <a:pt x="1708" y="84"/>
                  </a:moveTo>
                  <a:cubicBezTo>
                    <a:pt x="1708" y="84"/>
                    <a:pt x="1708" y="85"/>
                    <a:pt x="1708" y="85"/>
                  </a:cubicBezTo>
                  <a:cubicBezTo>
                    <a:pt x="1708" y="85"/>
                    <a:pt x="1708" y="84"/>
                    <a:pt x="1708" y="84"/>
                  </a:cubicBezTo>
                  <a:close/>
                  <a:moveTo>
                    <a:pt x="1683" y="42"/>
                  </a:moveTo>
                  <a:cubicBezTo>
                    <a:pt x="1683" y="42"/>
                    <a:pt x="1683" y="42"/>
                    <a:pt x="1683" y="42"/>
                  </a:cubicBezTo>
                  <a:cubicBezTo>
                    <a:pt x="1683" y="42"/>
                    <a:pt x="1683" y="42"/>
                    <a:pt x="1683" y="42"/>
                  </a:cubicBezTo>
                  <a:close/>
                  <a:moveTo>
                    <a:pt x="1538" y="9"/>
                  </a:moveTo>
                  <a:cubicBezTo>
                    <a:pt x="1539" y="9"/>
                    <a:pt x="1539" y="9"/>
                    <a:pt x="1539" y="9"/>
                  </a:cubicBezTo>
                  <a:cubicBezTo>
                    <a:pt x="1539" y="9"/>
                    <a:pt x="1538" y="9"/>
                    <a:pt x="1538" y="9"/>
                  </a:cubicBezTo>
                  <a:close/>
                  <a:moveTo>
                    <a:pt x="762" y="84"/>
                  </a:moveTo>
                  <a:cubicBezTo>
                    <a:pt x="762" y="85"/>
                    <a:pt x="762" y="85"/>
                    <a:pt x="762" y="85"/>
                  </a:cubicBezTo>
                  <a:cubicBezTo>
                    <a:pt x="762" y="85"/>
                    <a:pt x="762" y="85"/>
                    <a:pt x="762" y="84"/>
                  </a:cubicBezTo>
                  <a:close/>
                  <a:moveTo>
                    <a:pt x="959" y="85"/>
                  </a:moveTo>
                  <a:cubicBezTo>
                    <a:pt x="959" y="85"/>
                    <a:pt x="959" y="85"/>
                    <a:pt x="958" y="84"/>
                  </a:cubicBezTo>
                  <a:cubicBezTo>
                    <a:pt x="958" y="85"/>
                    <a:pt x="958" y="85"/>
                    <a:pt x="959" y="85"/>
                  </a:cubicBezTo>
                  <a:close/>
                  <a:moveTo>
                    <a:pt x="1569" y="9"/>
                  </a:moveTo>
                  <a:cubicBezTo>
                    <a:pt x="1569" y="9"/>
                    <a:pt x="1570" y="9"/>
                    <a:pt x="1570" y="9"/>
                  </a:cubicBezTo>
                  <a:cubicBezTo>
                    <a:pt x="1570" y="9"/>
                    <a:pt x="1569" y="9"/>
                    <a:pt x="1569" y="9"/>
                  </a:cubicBezTo>
                  <a:close/>
                  <a:moveTo>
                    <a:pt x="1344" y="85"/>
                  </a:moveTo>
                  <a:cubicBezTo>
                    <a:pt x="1345" y="85"/>
                    <a:pt x="1345" y="85"/>
                    <a:pt x="1345" y="84"/>
                  </a:cubicBezTo>
                  <a:cubicBezTo>
                    <a:pt x="1344" y="85"/>
                    <a:pt x="1344" y="85"/>
                    <a:pt x="1344" y="85"/>
                  </a:cubicBezTo>
                  <a:close/>
                  <a:moveTo>
                    <a:pt x="1466" y="84"/>
                  </a:moveTo>
                  <a:cubicBezTo>
                    <a:pt x="1465" y="85"/>
                    <a:pt x="1465" y="85"/>
                    <a:pt x="1465" y="85"/>
                  </a:cubicBezTo>
                  <a:cubicBezTo>
                    <a:pt x="1466" y="85"/>
                    <a:pt x="1466" y="85"/>
                    <a:pt x="1466" y="84"/>
                  </a:cubicBezTo>
                  <a:close/>
                  <a:moveTo>
                    <a:pt x="622" y="85"/>
                  </a:moveTo>
                  <a:cubicBezTo>
                    <a:pt x="622" y="85"/>
                    <a:pt x="622" y="85"/>
                    <a:pt x="622" y="86"/>
                  </a:cubicBezTo>
                  <a:cubicBezTo>
                    <a:pt x="622" y="85"/>
                    <a:pt x="622" y="85"/>
                    <a:pt x="622" y="85"/>
                  </a:cubicBezTo>
                  <a:close/>
                  <a:moveTo>
                    <a:pt x="626" y="86"/>
                  </a:moveTo>
                  <a:cubicBezTo>
                    <a:pt x="626" y="85"/>
                    <a:pt x="626" y="85"/>
                    <a:pt x="626" y="85"/>
                  </a:cubicBezTo>
                  <a:cubicBezTo>
                    <a:pt x="626" y="85"/>
                    <a:pt x="626" y="85"/>
                    <a:pt x="626" y="86"/>
                  </a:cubicBezTo>
                  <a:close/>
                  <a:moveTo>
                    <a:pt x="1044" y="85"/>
                  </a:moveTo>
                  <a:cubicBezTo>
                    <a:pt x="1044" y="85"/>
                    <a:pt x="1044" y="85"/>
                    <a:pt x="1045" y="85"/>
                  </a:cubicBezTo>
                  <a:cubicBezTo>
                    <a:pt x="1045" y="85"/>
                    <a:pt x="1045" y="85"/>
                    <a:pt x="1044" y="85"/>
                  </a:cubicBezTo>
                  <a:close/>
                  <a:moveTo>
                    <a:pt x="1210" y="85"/>
                  </a:moveTo>
                  <a:cubicBezTo>
                    <a:pt x="1210" y="85"/>
                    <a:pt x="1210" y="85"/>
                    <a:pt x="1210" y="85"/>
                  </a:cubicBezTo>
                  <a:cubicBezTo>
                    <a:pt x="1210" y="85"/>
                    <a:pt x="1210" y="85"/>
                    <a:pt x="1210" y="85"/>
                  </a:cubicBezTo>
                  <a:close/>
                  <a:moveTo>
                    <a:pt x="1222" y="85"/>
                  </a:moveTo>
                  <a:cubicBezTo>
                    <a:pt x="1222" y="85"/>
                    <a:pt x="1222" y="85"/>
                    <a:pt x="1222" y="86"/>
                  </a:cubicBezTo>
                  <a:cubicBezTo>
                    <a:pt x="1222" y="85"/>
                    <a:pt x="1222" y="85"/>
                    <a:pt x="1222" y="85"/>
                  </a:cubicBezTo>
                  <a:close/>
                  <a:moveTo>
                    <a:pt x="1355" y="85"/>
                  </a:moveTo>
                  <a:cubicBezTo>
                    <a:pt x="1355" y="85"/>
                    <a:pt x="1355" y="85"/>
                    <a:pt x="1355" y="85"/>
                  </a:cubicBezTo>
                  <a:cubicBezTo>
                    <a:pt x="1355" y="85"/>
                    <a:pt x="1355" y="85"/>
                    <a:pt x="1355" y="85"/>
                  </a:cubicBezTo>
                  <a:close/>
                  <a:moveTo>
                    <a:pt x="1414" y="85"/>
                  </a:moveTo>
                  <a:cubicBezTo>
                    <a:pt x="1414" y="85"/>
                    <a:pt x="1414" y="85"/>
                    <a:pt x="1414" y="85"/>
                  </a:cubicBezTo>
                  <a:cubicBezTo>
                    <a:pt x="1414" y="85"/>
                    <a:pt x="1414" y="85"/>
                    <a:pt x="1414" y="85"/>
                  </a:cubicBezTo>
                  <a:close/>
                  <a:moveTo>
                    <a:pt x="1528" y="86"/>
                  </a:moveTo>
                  <a:cubicBezTo>
                    <a:pt x="1529" y="85"/>
                    <a:pt x="1529" y="85"/>
                    <a:pt x="1529" y="85"/>
                  </a:cubicBezTo>
                  <a:cubicBezTo>
                    <a:pt x="1528" y="85"/>
                    <a:pt x="1528" y="85"/>
                    <a:pt x="1528" y="86"/>
                  </a:cubicBezTo>
                  <a:close/>
                  <a:moveTo>
                    <a:pt x="1668" y="86"/>
                  </a:moveTo>
                  <a:cubicBezTo>
                    <a:pt x="1668" y="85"/>
                    <a:pt x="1668" y="85"/>
                    <a:pt x="1667" y="85"/>
                  </a:cubicBezTo>
                  <a:cubicBezTo>
                    <a:pt x="1667" y="85"/>
                    <a:pt x="1667" y="85"/>
                    <a:pt x="1668" y="86"/>
                  </a:cubicBezTo>
                  <a:close/>
                  <a:moveTo>
                    <a:pt x="1680" y="85"/>
                  </a:moveTo>
                  <a:cubicBezTo>
                    <a:pt x="1680" y="85"/>
                    <a:pt x="1680" y="85"/>
                    <a:pt x="1681" y="86"/>
                  </a:cubicBezTo>
                  <a:cubicBezTo>
                    <a:pt x="1681" y="85"/>
                    <a:pt x="1681" y="85"/>
                    <a:pt x="1680" y="85"/>
                  </a:cubicBezTo>
                  <a:close/>
                  <a:moveTo>
                    <a:pt x="1697" y="86"/>
                  </a:moveTo>
                  <a:cubicBezTo>
                    <a:pt x="1697" y="85"/>
                    <a:pt x="1697" y="85"/>
                    <a:pt x="1697" y="85"/>
                  </a:cubicBezTo>
                  <a:cubicBezTo>
                    <a:pt x="1697" y="85"/>
                    <a:pt x="1697" y="85"/>
                    <a:pt x="1697" y="86"/>
                  </a:cubicBezTo>
                  <a:close/>
                  <a:moveTo>
                    <a:pt x="612" y="86"/>
                  </a:moveTo>
                  <a:cubicBezTo>
                    <a:pt x="612" y="86"/>
                    <a:pt x="612" y="85"/>
                    <a:pt x="612" y="85"/>
                  </a:cubicBezTo>
                  <a:cubicBezTo>
                    <a:pt x="612" y="85"/>
                    <a:pt x="612" y="86"/>
                    <a:pt x="612" y="86"/>
                  </a:cubicBezTo>
                  <a:close/>
                  <a:moveTo>
                    <a:pt x="750" y="86"/>
                  </a:moveTo>
                  <a:cubicBezTo>
                    <a:pt x="750" y="86"/>
                    <a:pt x="750" y="85"/>
                    <a:pt x="750" y="85"/>
                  </a:cubicBezTo>
                  <a:cubicBezTo>
                    <a:pt x="750" y="85"/>
                    <a:pt x="750" y="86"/>
                    <a:pt x="750" y="86"/>
                  </a:cubicBezTo>
                  <a:close/>
                  <a:moveTo>
                    <a:pt x="1294" y="48"/>
                  </a:moveTo>
                  <a:cubicBezTo>
                    <a:pt x="1294" y="48"/>
                    <a:pt x="1293" y="48"/>
                    <a:pt x="1293" y="49"/>
                  </a:cubicBezTo>
                  <a:cubicBezTo>
                    <a:pt x="1294" y="48"/>
                    <a:pt x="1294" y="48"/>
                    <a:pt x="1294" y="48"/>
                  </a:cubicBezTo>
                  <a:close/>
                  <a:moveTo>
                    <a:pt x="1465" y="85"/>
                  </a:moveTo>
                  <a:cubicBezTo>
                    <a:pt x="1465" y="85"/>
                    <a:pt x="1465" y="86"/>
                    <a:pt x="1465" y="86"/>
                  </a:cubicBezTo>
                  <a:cubicBezTo>
                    <a:pt x="1465" y="86"/>
                    <a:pt x="1465" y="85"/>
                    <a:pt x="1465" y="85"/>
                  </a:cubicBezTo>
                  <a:close/>
                  <a:moveTo>
                    <a:pt x="1540" y="85"/>
                  </a:moveTo>
                  <a:cubicBezTo>
                    <a:pt x="1539" y="85"/>
                    <a:pt x="1539" y="86"/>
                    <a:pt x="1539" y="86"/>
                  </a:cubicBezTo>
                  <a:cubicBezTo>
                    <a:pt x="1540" y="86"/>
                    <a:pt x="1540" y="85"/>
                    <a:pt x="1540" y="85"/>
                  </a:cubicBezTo>
                  <a:close/>
                  <a:moveTo>
                    <a:pt x="1708" y="85"/>
                  </a:moveTo>
                  <a:cubicBezTo>
                    <a:pt x="1707" y="85"/>
                    <a:pt x="1707" y="86"/>
                    <a:pt x="1707" y="86"/>
                  </a:cubicBezTo>
                  <a:cubicBezTo>
                    <a:pt x="1708" y="86"/>
                    <a:pt x="1708" y="85"/>
                    <a:pt x="1708" y="85"/>
                  </a:cubicBezTo>
                  <a:close/>
                  <a:moveTo>
                    <a:pt x="636" y="85"/>
                  </a:moveTo>
                  <a:cubicBezTo>
                    <a:pt x="635" y="86"/>
                    <a:pt x="635" y="86"/>
                    <a:pt x="635" y="86"/>
                  </a:cubicBezTo>
                  <a:cubicBezTo>
                    <a:pt x="636" y="86"/>
                    <a:pt x="636" y="86"/>
                    <a:pt x="636" y="85"/>
                  </a:cubicBezTo>
                  <a:close/>
                  <a:moveTo>
                    <a:pt x="763" y="86"/>
                  </a:moveTo>
                  <a:cubicBezTo>
                    <a:pt x="763" y="86"/>
                    <a:pt x="763" y="86"/>
                    <a:pt x="763" y="86"/>
                  </a:cubicBezTo>
                  <a:cubicBezTo>
                    <a:pt x="763" y="86"/>
                    <a:pt x="763" y="86"/>
                    <a:pt x="763" y="86"/>
                  </a:cubicBezTo>
                  <a:close/>
                  <a:moveTo>
                    <a:pt x="959" y="86"/>
                  </a:moveTo>
                  <a:cubicBezTo>
                    <a:pt x="959" y="86"/>
                    <a:pt x="959" y="86"/>
                    <a:pt x="959" y="86"/>
                  </a:cubicBezTo>
                  <a:cubicBezTo>
                    <a:pt x="959" y="86"/>
                    <a:pt x="959" y="86"/>
                    <a:pt x="959" y="86"/>
                  </a:cubicBezTo>
                  <a:close/>
                  <a:moveTo>
                    <a:pt x="1668" y="9"/>
                  </a:moveTo>
                  <a:cubicBezTo>
                    <a:pt x="1668" y="9"/>
                    <a:pt x="1668" y="9"/>
                    <a:pt x="1668" y="9"/>
                  </a:cubicBezTo>
                  <a:cubicBezTo>
                    <a:pt x="1668" y="9"/>
                    <a:pt x="1668" y="9"/>
                    <a:pt x="1668" y="9"/>
                  </a:cubicBezTo>
                  <a:close/>
                  <a:moveTo>
                    <a:pt x="1032" y="86"/>
                  </a:moveTo>
                  <a:cubicBezTo>
                    <a:pt x="1032" y="86"/>
                    <a:pt x="1032" y="86"/>
                    <a:pt x="1032" y="85"/>
                  </a:cubicBezTo>
                  <a:cubicBezTo>
                    <a:pt x="1032" y="86"/>
                    <a:pt x="1032" y="86"/>
                    <a:pt x="1032" y="86"/>
                  </a:cubicBezTo>
                  <a:close/>
                  <a:moveTo>
                    <a:pt x="1210" y="86"/>
                  </a:moveTo>
                  <a:cubicBezTo>
                    <a:pt x="1210" y="86"/>
                    <a:pt x="1210" y="86"/>
                    <a:pt x="1210" y="85"/>
                  </a:cubicBezTo>
                  <a:cubicBezTo>
                    <a:pt x="1210" y="86"/>
                    <a:pt x="1210" y="86"/>
                    <a:pt x="1210" y="86"/>
                  </a:cubicBezTo>
                  <a:close/>
                  <a:moveTo>
                    <a:pt x="1706" y="9"/>
                  </a:moveTo>
                  <a:cubicBezTo>
                    <a:pt x="1707" y="9"/>
                    <a:pt x="1707" y="9"/>
                    <a:pt x="1707" y="9"/>
                  </a:cubicBezTo>
                  <a:cubicBezTo>
                    <a:pt x="1707" y="9"/>
                    <a:pt x="1706" y="9"/>
                    <a:pt x="1706" y="9"/>
                  </a:cubicBezTo>
                  <a:close/>
                  <a:moveTo>
                    <a:pt x="1668" y="86"/>
                  </a:moveTo>
                  <a:cubicBezTo>
                    <a:pt x="1668" y="86"/>
                    <a:pt x="1668" y="86"/>
                    <a:pt x="1668" y="85"/>
                  </a:cubicBezTo>
                  <a:cubicBezTo>
                    <a:pt x="1668" y="86"/>
                    <a:pt x="1668" y="86"/>
                    <a:pt x="1668" y="86"/>
                  </a:cubicBezTo>
                  <a:close/>
                  <a:moveTo>
                    <a:pt x="1681" y="86"/>
                  </a:moveTo>
                  <a:cubicBezTo>
                    <a:pt x="1681" y="86"/>
                    <a:pt x="1681" y="86"/>
                    <a:pt x="1681" y="86"/>
                  </a:cubicBezTo>
                  <a:cubicBezTo>
                    <a:pt x="1681" y="86"/>
                    <a:pt x="1681" y="86"/>
                    <a:pt x="1681" y="86"/>
                  </a:cubicBezTo>
                  <a:close/>
                  <a:moveTo>
                    <a:pt x="588" y="86"/>
                  </a:moveTo>
                  <a:cubicBezTo>
                    <a:pt x="588" y="86"/>
                    <a:pt x="588" y="86"/>
                    <a:pt x="588" y="87"/>
                  </a:cubicBezTo>
                  <a:cubicBezTo>
                    <a:pt x="588" y="86"/>
                    <a:pt x="588" y="86"/>
                    <a:pt x="588" y="86"/>
                  </a:cubicBezTo>
                  <a:close/>
                  <a:moveTo>
                    <a:pt x="613" y="87"/>
                  </a:moveTo>
                  <a:cubicBezTo>
                    <a:pt x="613" y="86"/>
                    <a:pt x="613" y="86"/>
                    <a:pt x="612" y="86"/>
                  </a:cubicBezTo>
                  <a:cubicBezTo>
                    <a:pt x="612" y="86"/>
                    <a:pt x="612" y="86"/>
                    <a:pt x="613" y="87"/>
                  </a:cubicBezTo>
                  <a:close/>
                  <a:moveTo>
                    <a:pt x="622" y="86"/>
                  </a:moveTo>
                  <a:cubicBezTo>
                    <a:pt x="622" y="86"/>
                    <a:pt x="622" y="86"/>
                    <a:pt x="623" y="87"/>
                  </a:cubicBezTo>
                  <a:cubicBezTo>
                    <a:pt x="623" y="86"/>
                    <a:pt x="623" y="86"/>
                    <a:pt x="622" y="86"/>
                  </a:cubicBezTo>
                  <a:close/>
                  <a:moveTo>
                    <a:pt x="625" y="87"/>
                  </a:moveTo>
                  <a:cubicBezTo>
                    <a:pt x="625" y="86"/>
                    <a:pt x="625" y="86"/>
                    <a:pt x="625" y="86"/>
                  </a:cubicBezTo>
                  <a:cubicBezTo>
                    <a:pt x="625" y="86"/>
                    <a:pt x="625" y="86"/>
                    <a:pt x="625" y="87"/>
                  </a:cubicBezTo>
                  <a:close/>
                  <a:moveTo>
                    <a:pt x="642" y="41"/>
                  </a:moveTo>
                  <a:cubicBezTo>
                    <a:pt x="642" y="41"/>
                    <a:pt x="642" y="41"/>
                    <a:pt x="642" y="40"/>
                  </a:cubicBezTo>
                  <a:cubicBezTo>
                    <a:pt x="642" y="40"/>
                    <a:pt x="642" y="41"/>
                    <a:pt x="642" y="41"/>
                  </a:cubicBezTo>
                  <a:close/>
                  <a:moveTo>
                    <a:pt x="750" y="87"/>
                  </a:moveTo>
                  <a:cubicBezTo>
                    <a:pt x="750" y="86"/>
                    <a:pt x="750" y="86"/>
                    <a:pt x="750" y="86"/>
                  </a:cubicBezTo>
                  <a:cubicBezTo>
                    <a:pt x="750" y="86"/>
                    <a:pt x="750" y="86"/>
                    <a:pt x="750" y="87"/>
                  </a:cubicBezTo>
                  <a:close/>
                  <a:moveTo>
                    <a:pt x="1737" y="9"/>
                  </a:moveTo>
                  <a:cubicBezTo>
                    <a:pt x="1737" y="9"/>
                    <a:pt x="1738" y="9"/>
                    <a:pt x="1738" y="9"/>
                  </a:cubicBezTo>
                  <a:cubicBezTo>
                    <a:pt x="1738" y="9"/>
                    <a:pt x="1738" y="9"/>
                    <a:pt x="1737" y="9"/>
                  </a:cubicBezTo>
                  <a:close/>
                  <a:moveTo>
                    <a:pt x="550" y="10"/>
                  </a:moveTo>
                  <a:cubicBezTo>
                    <a:pt x="550" y="10"/>
                    <a:pt x="550" y="10"/>
                    <a:pt x="550" y="9"/>
                  </a:cubicBezTo>
                  <a:cubicBezTo>
                    <a:pt x="550" y="9"/>
                    <a:pt x="550" y="9"/>
                    <a:pt x="550" y="10"/>
                  </a:cubicBezTo>
                  <a:close/>
                  <a:moveTo>
                    <a:pt x="1415" y="87"/>
                  </a:moveTo>
                  <a:cubicBezTo>
                    <a:pt x="1415" y="86"/>
                    <a:pt x="1415" y="86"/>
                    <a:pt x="1414" y="86"/>
                  </a:cubicBezTo>
                  <a:cubicBezTo>
                    <a:pt x="1414" y="86"/>
                    <a:pt x="1414" y="86"/>
                    <a:pt x="1415" y="87"/>
                  </a:cubicBezTo>
                  <a:close/>
                  <a:moveTo>
                    <a:pt x="1465" y="86"/>
                  </a:moveTo>
                  <a:cubicBezTo>
                    <a:pt x="1465" y="86"/>
                    <a:pt x="1465" y="86"/>
                    <a:pt x="1465" y="87"/>
                  </a:cubicBezTo>
                  <a:cubicBezTo>
                    <a:pt x="1465" y="86"/>
                    <a:pt x="1465" y="86"/>
                    <a:pt x="1465" y="86"/>
                  </a:cubicBezTo>
                  <a:close/>
                  <a:moveTo>
                    <a:pt x="979" y="10"/>
                  </a:moveTo>
                  <a:cubicBezTo>
                    <a:pt x="979" y="10"/>
                    <a:pt x="980" y="9"/>
                    <a:pt x="980" y="9"/>
                  </a:cubicBezTo>
                  <a:cubicBezTo>
                    <a:pt x="980" y="9"/>
                    <a:pt x="979" y="9"/>
                    <a:pt x="979" y="10"/>
                  </a:cubicBezTo>
                  <a:close/>
                  <a:moveTo>
                    <a:pt x="1020" y="9"/>
                  </a:moveTo>
                  <a:cubicBezTo>
                    <a:pt x="1020" y="10"/>
                    <a:pt x="1021" y="10"/>
                    <a:pt x="1021" y="10"/>
                  </a:cubicBezTo>
                  <a:cubicBezTo>
                    <a:pt x="1021" y="9"/>
                    <a:pt x="1021" y="9"/>
                    <a:pt x="1020" y="9"/>
                  </a:cubicBezTo>
                  <a:close/>
                  <a:moveTo>
                    <a:pt x="1353" y="10"/>
                  </a:moveTo>
                  <a:cubicBezTo>
                    <a:pt x="1354" y="10"/>
                    <a:pt x="1354" y="10"/>
                    <a:pt x="1354" y="9"/>
                  </a:cubicBezTo>
                  <a:cubicBezTo>
                    <a:pt x="1354" y="9"/>
                    <a:pt x="1354" y="9"/>
                    <a:pt x="1353" y="10"/>
                  </a:cubicBezTo>
                  <a:close/>
                  <a:moveTo>
                    <a:pt x="1385" y="9"/>
                  </a:moveTo>
                  <a:cubicBezTo>
                    <a:pt x="1386" y="10"/>
                    <a:pt x="1386" y="10"/>
                    <a:pt x="1386" y="10"/>
                  </a:cubicBezTo>
                  <a:cubicBezTo>
                    <a:pt x="1386" y="9"/>
                    <a:pt x="1386" y="9"/>
                    <a:pt x="1385" y="9"/>
                  </a:cubicBezTo>
                  <a:close/>
                  <a:moveTo>
                    <a:pt x="1292" y="41"/>
                  </a:moveTo>
                  <a:cubicBezTo>
                    <a:pt x="1292" y="40"/>
                    <a:pt x="1292" y="40"/>
                    <a:pt x="1292" y="40"/>
                  </a:cubicBezTo>
                  <a:cubicBezTo>
                    <a:pt x="1292" y="40"/>
                    <a:pt x="1292" y="40"/>
                    <a:pt x="1292" y="41"/>
                  </a:cubicBezTo>
                  <a:close/>
                  <a:moveTo>
                    <a:pt x="1033" y="87"/>
                  </a:moveTo>
                  <a:cubicBezTo>
                    <a:pt x="1033" y="87"/>
                    <a:pt x="1033" y="86"/>
                    <a:pt x="1032" y="86"/>
                  </a:cubicBezTo>
                  <a:cubicBezTo>
                    <a:pt x="1032" y="86"/>
                    <a:pt x="1032" y="87"/>
                    <a:pt x="1033" y="87"/>
                  </a:cubicBezTo>
                  <a:close/>
                  <a:moveTo>
                    <a:pt x="1045" y="86"/>
                  </a:moveTo>
                  <a:cubicBezTo>
                    <a:pt x="1045" y="87"/>
                    <a:pt x="1045" y="87"/>
                    <a:pt x="1046" y="87"/>
                  </a:cubicBezTo>
                  <a:cubicBezTo>
                    <a:pt x="1046" y="87"/>
                    <a:pt x="1046" y="86"/>
                    <a:pt x="1045" y="86"/>
                  </a:cubicBezTo>
                  <a:close/>
                  <a:moveTo>
                    <a:pt x="1737" y="42"/>
                  </a:moveTo>
                  <a:cubicBezTo>
                    <a:pt x="1737" y="42"/>
                    <a:pt x="1737" y="42"/>
                    <a:pt x="1737" y="42"/>
                  </a:cubicBezTo>
                  <a:cubicBezTo>
                    <a:pt x="1737" y="42"/>
                    <a:pt x="1737" y="42"/>
                    <a:pt x="1737" y="42"/>
                  </a:cubicBezTo>
                  <a:close/>
                  <a:moveTo>
                    <a:pt x="1681" y="86"/>
                  </a:moveTo>
                  <a:cubicBezTo>
                    <a:pt x="1681" y="87"/>
                    <a:pt x="1681" y="87"/>
                    <a:pt x="1681" y="87"/>
                  </a:cubicBezTo>
                  <a:cubicBezTo>
                    <a:pt x="1681" y="87"/>
                    <a:pt x="1681" y="86"/>
                    <a:pt x="1681" y="86"/>
                  </a:cubicBezTo>
                  <a:close/>
                  <a:moveTo>
                    <a:pt x="1455" y="9"/>
                  </a:moveTo>
                  <a:cubicBezTo>
                    <a:pt x="1455" y="10"/>
                    <a:pt x="1455" y="10"/>
                    <a:pt x="1456" y="10"/>
                  </a:cubicBezTo>
                  <a:cubicBezTo>
                    <a:pt x="1456" y="9"/>
                    <a:pt x="1455" y="9"/>
                    <a:pt x="1455" y="9"/>
                  </a:cubicBezTo>
                  <a:close/>
                  <a:moveTo>
                    <a:pt x="1500" y="10"/>
                  </a:moveTo>
                  <a:cubicBezTo>
                    <a:pt x="1500" y="10"/>
                    <a:pt x="1500" y="10"/>
                    <a:pt x="1501" y="9"/>
                  </a:cubicBezTo>
                  <a:cubicBezTo>
                    <a:pt x="1500" y="9"/>
                    <a:pt x="1500" y="9"/>
                    <a:pt x="1500" y="10"/>
                  </a:cubicBezTo>
                  <a:close/>
                  <a:moveTo>
                    <a:pt x="1538" y="10"/>
                  </a:moveTo>
                  <a:cubicBezTo>
                    <a:pt x="1538" y="10"/>
                    <a:pt x="1538" y="10"/>
                    <a:pt x="1538" y="9"/>
                  </a:cubicBezTo>
                  <a:cubicBezTo>
                    <a:pt x="1538" y="9"/>
                    <a:pt x="1538" y="9"/>
                    <a:pt x="1538" y="10"/>
                  </a:cubicBezTo>
                  <a:close/>
                  <a:moveTo>
                    <a:pt x="646" y="59"/>
                  </a:moveTo>
                  <a:cubicBezTo>
                    <a:pt x="646" y="59"/>
                    <a:pt x="646" y="59"/>
                    <a:pt x="646" y="60"/>
                  </a:cubicBezTo>
                  <a:cubicBezTo>
                    <a:pt x="646" y="60"/>
                    <a:pt x="646" y="59"/>
                    <a:pt x="646" y="59"/>
                  </a:cubicBezTo>
                  <a:close/>
                  <a:moveTo>
                    <a:pt x="1290" y="54"/>
                  </a:moveTo>
                  <a:cubicBezTo>
                    <a:pt x="1290" y="54"/>
                    <a:pt x="1290" y="54"/>
                    <a:pt x="1290" y="55"/>
                  </a:cubicBezTo>
                  <a:cubicBezTo>
                    <a:pt x="1290" y="54"/>
                    <a:pt x="1290" y="54"/>
                    <a:pt x="1290" y="54"/>
                  </a:cubicBezTo>
                  <a:close/>
                  <a:moveTo>
                    <a:pt x="1669" y="9"/>
                  </a:moveTo>
                  <a:cubicBezTo>
                    <a:pt x="1669" y="10"/>
                    <a:pt x="1669" y="10"/>
                    <a:pt x="1669" y="10"/>
                  </a:cubicBezTo>
                  <a:cubicBezTo>
                    <a:pt x="1669" y="9"/>
                    <a:pt x="1669" y="9"/>
                    <a:pt x="1669" y="9"/>
                  </a:cubicBezTo>
                  <a:close/>
                  <a:moveTo>
                    <a:pt x="660" y="60"/>
                  </a:moveTo>
                  <a:cubicBezTo>
                    <a:pt x="660" y="59"/>
                    <a:pt x="660" y="59"/>
                    <a:pt x="659" y="59"/>
                  </a:cubicBezTo>
                  <a:cubicBezTo>
                    <a:pt x="659" y="59"/>
                    <a:pt x="659" y="60"/>
                    <a:pt x="660" y="60"/>
                  </a:cubicBezTo>
                  <a:close/>
                  <a:moveTo>
                    <a:pt x="1211" y="87"/>
                  </a:moveTo>
                  <a:cubicBezTo>
                    <a:pt x="1211" y="87"/>
                    <a:pt x="1211" y="87"/>
                    <a:pt x="1210" y="86"/>
                  </a:cubicBezTo>
                  <a:cubicBezTo>
                    <a:pt x="1210" y="87"/>
                    <a:pt x="1210" y="87"/>
                    <a:pt x="1211" y="87"/>
                  </a:cubicBezTo>
                  <a:close/>
                  <a:moveTo>
                    <a:pt x="1369" y="59"/>
                  </a:moveTo>
                  <a:cubicBezTo>
                    <a:pt x="1369" y="59"/>
                    <a:pt x="1369" y="59"/>
                    <a:pt x="1369" y="59"/>
                  </a:cubicBezTo>
                  <a:cubicBezTo>
                    <a:pt x="1369" y="59"/>
                    <a:pt x="1369" y="59"/>
                    <a:pt x="1369" y="59"/>
                  </a:cubicBezTo>
                  <a:close/>
                  <a:moveTo>
                    <a:pt x="1415" y="87"/>
                  </a:moveTo>
                  <a:cubicBezTo>
                    <a:pt x="1415" y="87"/>
                    <a:pt x="1415" y="87"/>
                    <a:pt x="1415" y="86"/>
                  </a:cubicBezTo>
                  <a:cubicBezTo>
                    <a:pt x="1415" y="87"/>
                    <a:pt x="1415" y="87"/>
                    <a:pt x="1415" y="87"/>
                  </a:cubicBezTo>
                  <a:close/>
                  <a:moveTo>
                    <a:pt x="1465" y="87"/>
                  </a:moveTo>
                  <a:cubicBezTo>
                    <a:pt x="1464" y="87"/>
                    <a:pt x="1464" y="87"/>
                    <a:pt x="1464" y="87"/>
                  </a:cubicBezTo>
                  <a:cubicBezTo>
                    <a:pt x="1465" y="87"/>
                    <a:pt x="1465" y="87"/>
                    <a:pt x="1465" y="87"/>
                  </a:cubicBezTo>
                  <a:close/>
                  <a:moveTo>
                    <a:pt x="1668" y="87"/>
                  </a:moveTo>
                  <a:cubicBezTo>
                    <a:pt x="1668" y="87"/>
                    <a:pt x="1668" y="87"/>
                    <a:pt x="1668" y="86"/>
                  </a:cubicBezTo>
                  <a:cubicBezTo>
                    <a:pt x="1668" y="87"/>
                    <a:pt x="1668" y="87"/>
                    <a:pt x="1668" y="87"/>
                  </a:cubicBezTo>
                  <a:close/>
                  <a:moveTo>
                    <a:pt x="588" y="87"/>
                  </a:moveTo>
                  <a:cubicBezTo>
                    <a:pt x="588" y="87"/>
                    <a:pt x="588" y="87"/>
                    <a:pt x="588" y="88"/>
                  </a:cubicBezTo>
                  <a:cubicBezTo>
                    <a:pt x="588" y="87"/>
                    <a:pt x="588" y="87"/>
                    <a:pt x="588" y="87"/>
                  </a:cubicBezTo>
                  <a:close/>
                  <a:moveTo>
                    <a:pt x="613" y="88"/>
                  </a:moveTo>
                  <a:cubicBezTo>
                    <a:pt x="613" y="87"/>
                    <a:pt x="613" y="87"/>
                    <a:pt x="613" y="87"/>
                  </a:cubicBezTo>
                  <a:cubicBezTo>
                    <a:pt x="613" y="87"/>
                    <a:pt x="613" y="87"/>
                    <a:pt x="613" y="88"/>
                  </a:cubicBezTo>
                  <a:close/>
                  <a:moveTo>
                    <a:pt x="960" y="88"/>
                  </a:moveTo>
                  <a:cubicBezTo>
                    <a:pt x="960" y="87"/>
                    <a:pt x="960" y="87"/>
                    <a:pt x="960" y="87"/>
                  </a:cubicBezTo>
                  <a:cubicBezTo>
                    <a:pt x="960" y="87"/>
                    <a:pt x="960" y="87"/>
                    <a:pt x="960" y="88"/>
                  </a:cubicBezTo>
                  <a:close/>
                  <a:moveTo>
                    <a:pt x="976" y="87"/>
                  </a:moveTo>
                  <a:cubicBezTo>
                    <a:pt x="977" y="87"/>
                    <a:pt x="977" y="87"/>
                    <a:pt x="977" y="87"/>
                  </a:cubicBezTo>
                  <a:cubicBezTo>
                    <a:pt x="977" y="87"/>
                    <a:pt x="977" y="87"/>
                    <a:pt x="976" y="87"/>
                  </a:cubicBezTo>
                  <a:close/>
                  <a:moveTo>
                    <a:pt x="1020" y="87"/>
                  </a:moveTo>
                  <a:cubicBezTo>
                    <a:pt x="1020" y="87"/>
                    <a:pt x="1020" y="87"/>
                    <a:pt x="1021" y="87"/>
                  </a:cubicBezTo>
                  <a:cubicBezTo>
                    <a:pt x="1020" y="87"/>
                    <a:pt x="1020" y="87"/>
                    <a:pt x="1020" y="87"/>
                  </a:cubicBezTo>
                  <a:close/>
                  <a:moveTo>
                    <a:pt x="1706" y="10"/>
                  </a:moveTo>
                  <a:cubicBezTo>
                    <a:pt x="1706" y="10"/>
                    <a:pt x="1706" y="10"/>
                    <a:pt x="1706" y="9"/>
                  </a:cubicBezTo>
                  <a:cubicBezTo>
                    <a:pt x="1706" y="9"/>
                    <a:pt x="1706" y="9"/>
                    <a:pt x="1706" y="10"/>
                  </a:cubicBezTo>
                  <a:close/>
                  <a:moveTo>
                    <a:pt x="1082" y="87"/>
                  </a:moveTo>
                  <a:cubicBezTo>
                    <a:pt x="1082" y="87"/>
                    <a:pt x="1082" y="87"/>
                    <a:pt x="1083" y="87"/>
                  </a:cubicBezTo>
                  <a:cubicBezTo>
                    <a:pt x="1082" y="87"/>
                    <a:pt x="1082" y="87"/>
                    <a:pt x="1082" y="87"/>
                  </a:cubicBezTo>
                  <a:close/>
                  <a:moveTo>
                    <a:pt x="1212" y="49"/>
                  </a:moveTo>
                  <a:cubicBezTo>
                    <a:pt x="1212" y="48"/>
                    <a:pt x="1212" y="48"/>
                    <a:pt x="1212" y="48"/>
                  </a:cubicBezTo>
                  <a:cubicBezTo>
                    <a:pt x="1212" y="48"/>
                    <a:pt x="1212" y="48"/>
                    <a:pt x="1212" y="49"/>
                  </a:cubicBezTo>
                  <a:close/>
                  <a:moveTo>
                    <a:pt x="749" y="55"/>
                  </a:moveTo>
                  <a:cubicBezTo>
                    <a:pt x="749" y="54"/>
                    <a:pt x="749" y="54"/>
                    <a:pt x="749" y="54"/>
                  </a:cubicBezTo>
                  <a:cubicBezTo>
                    <a:pt x="749" y="54"/>
                    <a:pt x="749" y="54"/>
                    <a:pt x="749" y="55"/>
                  </a:cubicBezTo>
                  <a:close/>
                  <a:moveTo>
                    <a:pt x="1681" y="87"/>
                  </a:moveTo>
                  <a:cubicBezTo>
                    <a:pt x="1681" y="87"/>
                    <a:pt x="1681" y="88"/>
                    <a:pt x="1682" y="88"/>
                  </a:cubicBezTo>
                  <a:cubicBezTo>
                    <a:pt x="1682" y="87"/>
                    <a:pt x="1682" y="87"/>
                    <a:pt x="1681" y="87"/>
                  </a:cubicBezTo>
                  <a:close/>
                  <a:moveTo>
                    <a:pt x="635" y="87"/>
                  </a:moveTo>
                  <a:cubicBezTo>
                    <a:pt x="635" y="87"/>
                    <a:pt x="635" y="88"/>
                    <a:pt x="635" y="88"/>
                  </a:cubicBezTo>
                  <a:cubicBezTo>
                    <a:pt x="635" y="88"/>
                    <a:pt x="635" y="87"/>
                    <a:pt x="635" y="87"/>
                  </a:cubicBezTo>
                  <a:close/>
                  <a:moveTo>
                    <a:pt x="857" y="49"/>
                  </a:moveTo>
                  <a:cubicBezTo>
                    <a:pt x="857" y="49"/>
                    <a:pt x="857" y="49"/>
                    <a:pt x="857" y="49"/>
                  </a:cubicBezTo>
                  <a:cubicBezTo>
                    <a:pt x="857" y="49"/>
                    <a:pt x="857" y="49"/>
                    <a:pt x="857" y="49"/>
                  </a:cubicBezTo>
                  <a:close/>
                  <a:moveTo>
                    <a:pt x="688" y="88"/>
                  </a:moveTo>
                  <a:cubicBezTo>
                    <a:pt x="688" y="88"/>
                    <a:pt x="688" y="88"/>
                    <a:pt x="688" y="87"/>
                  </a:cubicBezTo>
                  <a:cubicBezTo>
                    <a:pt x="688" y="87"/>
                    <a:pt x="688" y="88"/>
                    <a:pt x="688" y="88"/>
                  </a:cubicBezTo>
                  <a:close/>
                  <a:moveTo>
                    <a:pt x="1141" y="49"/>
                  </a:moveTo>
                  <a:cubicBezTo>
                    <a:pt x="1141" y="48"/>
                    <a:pt x="1141" y="48"/>
                    <a:pt x="1141" y="48"/>
                  </a:cubicBezTo>
                  <a:cubicBezTo>
                    <a:pt x="1141" y="48"/>
                    <a:pt x="1141" y="48"/>
                    <a:pt x="1141" y="49"/>
                  </a:cubicBezTo>
                  <a:close/>
                  <a:moveTo>
                    <a:pt x="799" y="88"/>
                  </a:moveTo>
                  <a:cubicBezTo>
                    <a:pt x="800" y="88"/>
                    <a:pt x="800" y="88"/>
                    <a:pt x="800" y="87"/>
                  </a:cubicBezTo>
                  <a:cubicBezTo>
                    <a:pt x="800" y="87"/>
                    <a:pt x="799" y="87"/>
                    <a:pt x="799" y="88"/>
                  </a:cubicBezTo>
                  <a:close/>
                  <a:moveTo>
                    <a:pt x="1019" y="88"/>
                  </a:moveTo>
                  <a:cubicBezTo>
                    <a:pt x="1020" y="88"/>
                    <a:pt x="1020" y="88"/>
                    <a:pt x="1020" y="87"/>
                  </a:cubicBezTo>
                  <a:cubicBezTo>
                    <a:pt x="1020" y="87"/>
                    <a:pt x="1019" y="87"/>
                    <a:pt x="1019" y="88"/>
                  </a:cubicBezTo>
                  <a:close/>
                  <a:moveTo>
                    <a:pt x="1186" y="87"/>
                  </a:moveTo>
                  <a:cubicBezTo>
                    <a:pt x="1186" y="88"/>
                    <a:pt x="1186" y="88"/>
                    <a:pt x="1186" y="88"/>
                  </a:cubicBezTo>
                  <a:cubicBezTo>
                    <a:pt x="1186" y="88"/>
                    <a:pt x="1186" y="87"/>
                    <a:pt x="1186" y="87"/>
                  </a:cubicBezTo>
                  <a:close/>
                  <a:moveTo>
                    <a:pt x="1211" y="88"/>
                  </a:moveTo>
                  <a:cubicBezTo>
                    <a:pt x="1211" y="88"/>
                    <a:pt x="1211" y="87"/>
                    <a:pt x="1211" y="87"/>
                  </a:cubicBezTo>
                  <a:cubicBezTo>
                    <a:pt x="1211" y="87"/>
                    <a:pt x="1211" y="88"/>
                    <a:pt x="1211" y="88"/>
                  </a:cubicBezTo>
                  <a:close/>
                  <a:moveTo>
                    <a:pt x="1664" y="59"/>
                  </a:moveTo>
                  <a:cubicBezTo>
                    <a:pt x="1664" y="59"/>
                    <a:pt x="1665" y="59"/>
                    <a:pt x="1665" y="59"/>
                  </a:cubicBezTo>
                  <a:cubicBezTo>
                    <a:pt x="1665" y="59"/>
                    <a:pt x="1664" y="59"/>
                    <a:pt x="1664" y="59"/>
                  </a:cubicBezTo>
                  <a:close/>
                  <a:moveTo>
                    <a:pt x="1415" y="88"/>
                  </a:moveTo>
                  <a:cubicBezTo>
                    <a:pt x="1415" y="88"/>
                    <a:pt x="1415" y="87"/>
                    <a:pt x="1415" y="87"/>
                  </a:cubicBezTo>
                  <a:cubicBezTo>
                    <a:pt x="1415" y="88"/>
                    <a:pt x="1415" y="88"/>
                    <a:pt x="1415" y="88"/>
                  </a:cubicBezTo>
                  <a:close/>
                  <a:moveTo>
                    <a:pt x="1464" y="87"/>
                  </a:moveTo>
                  <a:cubicBezTo>
                    <a:pt x="1464" y="87"/>
                    <a:pt x="1464" y="88"/>
                    <a:pt x="1464" y="88"/>
                  </a:cubicBezTo>
                  <a:cubicBezTo>
                    <a:pt x="1464" y="88"/>
                    <a:pt x="1464" y="88"/>
                    <a:pt x="1464" y="87"/>
                  </a:cubicBezTo>
                  <a:close/>
                  <a:moveTo>
                    <a:pt x="607" y="42"/>
                  </a:moveTo>
                  <a:cubicBezTo>
                    <a:pt x="607" y="42"/>
                    <a:pt x="607" y="43"/>
                    <a:pt x="607" y="43"/>
                  </a:cubicBezTo>
                  <a:cubicBezTo>
                    <a:pt x="607" y="42"/>
                    <a:pt x="607" y="42"/>
                    <a:pt x="607" y="42"/>
                  </a:cubicBezTo>
                  <a:close/>
                  <a:moveTo>
                    <a:pt x="1669" y="88"/>
                  </a:moveTo>
                  <a:cubicBezTo>
                    <a:pt x="1669" y="88"/>
                    <a:pt x="1669" y="87"/>
                    <a:pt x="1668" y="87"/>
                  </a:cubicBezTo>
                  <a:cubicBezTo>
                    <a:pt x="1668" y="87"/>
                    <a:pt x="1668" y="88"/>
                    <a:pt x="1669" y="88"/>
                  </a:cubicBezTo>
                  <a:close/>
                  <a:moveTo>
                    <a:pt x="978" y="10"/>
                  </a:moveTo>
                  <a:cubicBezTo>
                    <a:pt x="978" y="10"/>
                    <a:pt x="979" y="10"/>
                    <a:pt x="979" y="10"/>
                  </a:cubicBezTo>
                  <a:cubicBezTo>
                    <a:pt x="979" y="10"/>
                    <a:pt x="978" y="10"/>
                    <a:pt x="978" y="10"/>
                  </a:cubicBezTo>
                  <a:close/>
                  <a:moveTo>
                    <a:pt x="1353" y="10"/>
                  </a:moveTo>
                  <a:cubicBezTo>
                    <a:pt x="1353" y="10"/>
                    <a:pt x="1353" y="10"/>
                    <a:pt x="1353" y="10"/>
                  </a:cubicBezTo>
                  <a:cubicBezTo>
                    <a:pt x="1353" y="10"/>
                    <a:pt x="1353" y="10"/>
                    <a:pt x="1353" y="10"/>
                  </a:cubicBezTo>
                  <a:close/>
                  <a:moveTo>
                    <a:pt x="1386" y="10"/>
                  </a:moveTo>
                  <a:cubicBezTo>
                    <a:pt x="1386" y="10"/>
                    <a:pt x="1386" y="10"/>
                    <a:pt x="1387" y="10"/>
                  </a:cubicBezTo>
                  <a:cubicBezTo>
                    <a:pt x="1387" y="10"/>
                    <a:pt x="1386" y="10"/>
                    <a:pt x="1386" y="10"/>
                  </a:cubicBezTo>
                  <a:close/>
                  <a:moveTo>
                    <a:pt x="1426" y="10"/>
                  </a:moveTo>
                  <a:cubicBezTo>
                    <a:pt x="1426" y="10"/>
                    <a:pt x="1426" y="10"/>
                    <a:pt x="1426" y="10"/>
                  </a:cubicBezTo>
                  <a:cubicBezTo>
                    <a:pt x="1426" y="10"/>
                    <a:pt x="1426" y="10"/>
                    <a:pt x="1426" y="10"/>
                  </a:cubicBezTo>
                  <a:close/>
                  <a:moveTo>
                    <a:pt x="625" y="88"/>
                  </a:moveTo>
                  <a:cubicBezTo>
                    <a:pt x="625" y="88"/>
                    <a:pt x="625" y="88"/>
                    <a:pt x="625" y="88"/>
                  </a:cubicBezTo>
                  <a:cubicBezTo>
                    <a:pt x="624" y="88"/>
                    <a:pt x="624" y="88"/>
                    <a:pt x="625" y="88"/>
                  </a:cubicBezTo>
                  <a:close/>
                  <a:moveTo>
                    <a:pt x="661" y="43"/>
                  </a:moveTo>
                  <a:cubicBezTo>
                    <a:pt x="661" y="43"/>
                    <a:pt x="661" y="42"/>
                    <a:pt x="661" y="42"/>
                  </a:cubicBezTo>
                  <a:cubicBezTo>
                    <a:pt x="661" y="42"/>
                    <a:pt x="661" y="42"/>
                    <a:pt x="661" y="43"/>
                  </a:cubicBezTo>
                  <a:close/>
                  <a:moveTo>
                    <a:pt x="977" y="88"/>
                  </a:moveTo>
                  <a:cubicBezTo>
                    <a:pt x="978" y="88"/>
                    <a:pt x="978" y="88"/>
                    <a:pt x="978" y="88"/>
                  </a:cubicBezTo>
                  <a:cubicBezTo>
                    <a:pt x="978" y="88"/>
                    <a:pt x="978" y="88"/>
                    <a:pt x="977" y="88"/>
                  </a:cubicBezTo>
                  <a:close/>
                  <a:moveTo>
                    <a:pt x="1019" y="88"/>
                  </a:moveTo>
                  <a:cubicBezTo>
                    <a:pt x="1019" y="88"/>
                    <a:pt x="1019" y="88"/>
                    <a:pt x="1019" y="88"/>
                  </a:cubicBezTo>
                  <a:cubicBezTo>
                    <a:pt x="1019" y="88"/>
                    <a:pt x="1019" y="88"/>
                    <a:pt x="1019" y="88"/>
                  </a:cubicBezTo>
                  <a:close/>
                  <a:moveTo>
                    <a:pt x="1081" y="88"/>
                  </a:moveTo>
                  <a:cubicBezTo>
                    <a:pt x="1081" y="88"/>
                    <a:pt x="1081" y="88"/>
                    <a:pt x="1082" y="88"/>
                  </a:cubicBezTo>
                  <a:cubicBezTo>
                    <a:pt x="1081" y="88"/>
                    <a:pt x="1081" y="88"/>
                    <a:pt x="1081" y="88"/>
                  </a:cubicBezTo>
                  <a:close/>
                  <a:moveTo>
                    <a:pt x="1259" y="88"/>
                  </a:moveTo>
                  <a:cubicBezTo>
                    <a:pt x="1259" y="88"/>
                    <a:pt x="1259" y="88"/>
                    <a:pt x="1259" y="88"/>
                  </a:cubicBezTo>
                  <a:cubicBezTo>
                    <a:pt x="1259" y="88"/>
                    <a:pt x="1259" y="88"/>
                    <a:pt x="1259" y="88"/>
                  </a:cubicBezTo>
                  <a:close/>
                  <a:moveTo>
                    <a:pt x="649" y="52"/>
                  </a:moveTo>
                  <a:cubicBezTo>
                    <a:pt x="649" y="52"/>
                    <a:pt x="648" y="52"/>
                    <a:pt x="648" y="53"/>
                  </a:cubicBezTo>
                  <a:cubicBezTo>
                    <a:pt x="649" y="53"/>
                    <a:pt x="649" y="52"/>
                    <a:pt x="649" y="52"/>
                  </a:cubicBezTo>
                  <a:close/>
                  <a:moveTo>
                    <a:pt x="1570" y="10"/>
                  </a:moveTo>
                  <a:cubicBezTo>
                    <a:pt x="1570" y="10"/>
                    <a:pt x="1571" y="10"/>
                    <a:pt x="1571" y="10"/>
                  </a:cubicBezTo>
                  <a:cubicBezTo>
                    <a:pt x="1571" y="10"/>
                    <a:pt x="1571" y="10"/>
                    <a:pt x="1570" y="10"/>
                  </a:cubicBezTo>
                  <a:close/>
                  <a:moveTo>
                    <a:pt x="1034" y="49"/>
                  </a:moveTo>
                  <a:cubicBezTo>
                    <a:pt x="1034" y="48"/>
                    <a:pt x="1034" y="48"/>
                    <a:pt x="1034" y="48"/>
                  </a:cubicBezTo>
                  <a:cubicBezTo>
                    <a:pt x="1034" y="48"/>
                    <a:pt x="1034" y="48"/>
                    <a:pt x="1034" y="49"/>
                  </a:cubicBezTo>
                  <a:close/>
                  <a:moveTo>
                    <a:pt x="798" y="88"/>
                  </a:moveTo>
                  <a:cubicBezTo>
                    <a:pt x="798" y="88"/>
                    <a:pt x="799" y="88"/>
                    <a:pt x="799" y="88"/>
                  </a:cubicBezTo>
                  <a:cubicBezTo>
                    <a:pt x="799" y="88"/>
                    <a:pt x="798" y="88"/>
                    <a:pt x="798" y="88"/>
                  </a:cubicBezTo>
                  <a:close/>
                  <a:moveTo>
                    <a:pt x="1211" y="89"/>
                  </a:moveTo>
                  <a:cubicBezTo>
                    <a:pt x="1211" y="88"/>
                    <a:pt x="1211" y="88"/>
                    <a:pt x="1211" y="88"/>
                  </a:cubicBezTo>
                  <a:cubicBezTo>
                    <a:pt x="1211" y="88"/>
                    <a:pt x="1211" y="88"/>
                    <a:pt x="1211" y="89"/>
                  </a:cubicBezTo>
                  <a:close/>
                  <a:moveTo>
                    <a:pt x="1416" y="89"/>
                  </a:moveTo>
                  <a:cubicBezTo>
                    <a:pt x="1416" y="88"/>
                    <a:pt x="1416" y="88"/>
                    <a:pt x="1415" y="88"/>
                  </a:cubicBezTo>
                  <a:cubicBezTo>
                    <a:pt x="1415" y="88"/>
                    <a:pt x="1415" y="88"/>
                    <a:pt x="1416" y="89"/>
                  </a:cubicBezTo>
                  <a:close/>
                  <a:moveTo>
                    <a:pt x="1464" y="88"/>
                  </a:moveTo>
                  <a:cubicBezTo>
                    <a:pt x="1464" y="88"/>
                    <a:pt x="1464" y="88"/>
                    <a:pt x="1464" y="89"/>
                  </a:cubicBezTo>
                  <a:cubicBezTo>
                    <a:pt x="1464" y="88"/>
                    <a:pt x="1464" y="88"/>
                    <a:pt x="1464" y="88"/>
                  </a:cubicBezTo>
                  <a:close/>
                  <a:moveTo>
                    <a:pt x="599" y="53"/>
                  </a:moveTo>
                  <a:cubicBezTo>
                    <a:pt x="599" y="52"/>
                    <a:pt x="599" y="52"/>
                    <a:pt x="599" y="52"/>
                  </a:cubicBezTo>
                  <a:cubicBezTo>
                    <a:pt x="599" y="52"/>
                    <a:pt x="599" y="53"/>
                    <a:pt x="599" y="53"/>
                  </a:cubicBezTo>
                  <a:close/>
                  <a:moveTo>
                    <a:pt x="1669" y="89"/>
                  </a:moveTo>
                  <a:cubicBezTo>
                    <a:pt x="1669" y="88"/>
                    <a:pt x="1669" y="88"/>
                    <a:pt x="1669" y="88"/>
                  </a:cubicBezTo>
                  <a:cubicBezTo>
                    <a:pt x="1669" y="88"/>
                    <a:pt x="1669" y="88"/>
                    <a:pt x="1669" y="89"/>
                  </a:cubicBezTo>
                  <a:close/>
                  <a:moveTo>
                    <a:pt x="648" y="54"/>
                  </a:moveTo>
                  <a:cubicBezTo>
                    <a:pt x="648" y="54"/>
                    <a:pt x="648" y="54"/>
                    <a:pt x="648" y="55"/>
                  </a:cubicBezTo>
                  <a:cubicBezTo>
                    <a:pt x="648" y="54"/>
                    <a:pt x="648" y="54"/>
                    <a:pt x="648" y="54"/>
                  </a:cubicBezTo>
                  <a:close/>
                  <a:moveTo>
                    <a:pt x="634" y="88"/>
                  </a:moveTo>
                  <a:cubicBezTo>
                    <a:pt x="634" y="88"/>
                    <a:pt x="634" y="89"/>
                    <a:pt x="634" y="89"/>
                  </a:cubicBezTo>
                  <a:cubicBezTo>
                    <a:pt x="635" y="89"/>
                    <a:pt x="635" y="88"/>
                    <a:pt x="634" y="88"/>
                  </a:cubicBezTo>
                  <a:close/>
                  <a:moveTo>
                    <a:pt x="612" y="56"/>
                  </a:moveTo>
                  <a:cubicBezTo>
                    <a:pt x="612" y="56"/>
                    <a:pt x="612" y="57"/>
                    <a:pt x="612" y="57"/>
                  </a:cubicBezTo>
                  <a:cubicBezTo>
                    <a:pt x="612" y="56"/>
                    <a:pt x="612" y="56"/>
                    <a:pt x="612" y="56"/>
                  </a:cubicBezTo>
                  <a:close/>
                  <a:moveTo>
                    <a:pt x="687" y="89"/>
                  </a:moveTo>
                  <a:cubicBezTo>
                    <a:pt x="688" y="89"/>
                    <a:pt x="688" y="89"/>
                    <a:pt x="688" y="88"/>
                  </a:cubicBezTo>
                  <a:cubicBezTo>
                    <a:pt x="688" y="88"/>
                    <a:pt x="687" y="89"/>
                    <a:pt x="687" y="89"/>
                  </a:cubicBezTo>
                  <a:close/>
                  <a:moveTo>
                    <a:pt x="1669" y="10"/>
                  </a:moveTo>
                  <a:cubicBezTo>
                    <a:pt x="1670" y="10"/>
                    <a:pt x="1670" y="10"/>
                    <a:pt x="1670" y="10"/>
                  </a:cubicBezTo>
                  <a:cubicBezTo>
                    <a:pt x="1670" y="10"/>
                    <a:pt x="1670" y="10"/>
                    <a:pt x="1669" y="10"/>
                  </a:cubicBezTo>
                  <a:close/>
                  <a:moveTo>
                    <a:pt x="1080" y="89"/>
                  </a:moveTo>
                  <a:cubicBezTo>
                    <a:pt x="1080" y="89"/>
                    <a:pt x="1080" y="89"/>
                    <a:pt x="1080" y="88"/>
                  </a:cubicBezTo>
                  <a:cubicBezTo>
                    <a:pt x="1080" y="88"/>
                    <a:pt x="1080" y="88"/>
                    <a:pt x="1080" y="89"/>
                  </a:cubicBezTo>
                  <a:close/>
                  <a:moveTo>
                    <a:pt x="1186" y="88"/>
                  </a:moveTo>
                  <a:cubicBezTo>
                    <a:pt x="1186" y="89"/>
                    <a:pt x="1186" y="89"/>
                    <a:pt x="1187" y="89"/>
                  </a:cubicBezTo>
                  <a:cubicBezTo>
                    <a:pt x="1187" y="89"/>
                    <a:pt x="1187" y="88"/>
                    <a:pt x="1186" y="88"/>
                  </a:cubicBezTo>
                  <a:close/>
                  <a:moveTo>
                    <a:pt x="1258" y="89"/>
                  </a:moveTo>
                  <a:cubicBezTo>
                    <a:pt x="1258" y="89"/>
                    <a:pt x="1258" y="89"/>
                    <a:pt x="1258" y="88"/>
                  </a:cubicBezTo>
                  <a:cubicBezTo>
                    <a:pt x="1258" y="88"/>
                    <a:pt x="1258" y="88"/>
                    <a:pt x="1258" y="89"/>
                  </a:cubicBezTo>
                  <a:close/>
                  <a:moveTo>
                    <a:pt x="602" y="60"/>
                  </a:moveTo>
                  <a:cubicBezTo>
                    <a:pt x="602" y="60"/>
                    <a:pt x="602" y="59"/>
                    <a:pt x="602" y="59"/>
                  </a:cubicBezTo>
                  <a:cubicBezTo>
                    <a:pt x="602" y="60"/>
                    <a:pt x="602" y="60"/>
                    <a:pt x="602" y="60"/>
                  </a:cubicBezTo>
                  <a:close/>
                  <a:moveTo>
                    <a:pt x="587" y="89"/>
                  </a:moveTo>
                  <a:cubicBezTo>
                    <a:pt x="587" y="89"/>
                    <a:pt x="587" y="89"/>
                    <a:pt x="587" y="89"/>
                  </a:cubicBezTo>
                  <a:cubicBezTo>
                    <a:pt x="587" y="89"/>
                    <a:pt x="587" y="89"/>
                    <a:pt x="587" y="89"/>
                  </a:cubicBezTo>
                  <a:close/>
                  <a:moveTo>
                    <a:pt x="614" y="89"/>
                  </a:moveTo>
                  <a:cubicBezTo>
                    <a:pt x="614" y="89"/>
                    <a:pt x="614" y="89"/>
                    <a:pt x="613" y="89"/>
                  </a:cubicBezTo>
                  <a:cubicBezTo>
                    <a:pt x="613" y="89"/>
                    <a:pt x="613" y="89"/>
                    <a:pt x="614" y="89"/>
                  </a:cubicBezTo>
                  <a:close/>
                  <a:moveTo>
                    <a:pt x="674" y="59"/>
                  </a:moveTo>
                  <a:cubicBezTo>
                    <a:pt x="674" y="60"/>
                    <a:pt x="674" y="60"/>
                    <a:pt x="675" y="60"/>
                  </a:cubicBezTo>
                  <a:cubicBezTo>
                    <a:pt x="674" y="59"/>
                    <a:pt x="674" y="59"/>
                    <a:pt x="674" y="59"/>
                  </a:cubicBezTo>
                  <a:close/>
                  <a:moveTo>
                    <a:pt x="624" y="89"/>
                  </a:moveTo>
                  <a:cubicBezTo>
                    <a:pt x="624" y="89"/>
                    <a:pt x="624" y="89"/>
                    <a:pt x="624" y="89"/>
                  </a:cubicBezTo>
                  <a:cubicBezTo>
                    <a:pt x="624" y="89"/>
                    <a:pt x="624" y="89"/>
                    <a:pt x="624" y="89"/>
                  </a:cubicBezTo>
                  <a:close/>
                  <a:moveTo>
                    <a:pt x="726" y="89"/>
                  </a:moveTo>
                  <a:cubicBezTo>
                    <a:pt x="726" y="89"/>
                    <a:pt x="726" y="89"/>
                    <a:pt x="727" y="89"/>
                  </a:cubicBezTo>
                  <a:cubicBezTo>
                    <a:pt x="727" y="89"/>
                    <a:pt x="727" y="89"/>
                    <a:pt x="726" y="89"/>
                  </a:cubicBezTo>
                  <a:close/>
                  <a:moveTo>
                    <a:pt x="752" y="89"/>
                  </a:moveTo>
                  <a:cubicBezTo>
                    <a:pt x="752" y="89"/>
                    <a:pt x="752" y="89"/>
                    <a:pt x="751" y="89"/>
                  </a:cubicBezTo>
                  <a:cubicBezTo>
                    <a:pt x="752" y="89"/>
                    <a:pt x="752" y="89"/>
                    <a:pt x="752" y="89"/>
                  </a:cubicBezTo>
                  <a:close/>
                  <a:moveTo>
                    <a:pt x="797" y="89"/>
                  </a:moveTo>
                  <a:cubicBezTo>
                    <a:pt x="797" y="89"/>
                    <a:pt x="798" y="89"/>
                    <a:pt x="798" y="89"/>
                  </a:cubicBezTo>
                  <a:cubicBezTo>
                    <a:pt x="798" y="89"/>
                    <a:pt x="797" y="89"/>
                    <a:pt x="797" y="89"/>
                  </a:cubicBezTo>
                  <a:close/>
                  <a:moveTo>
                    <a:pt x="979" y="89"/>
                  </a:moveTo>
                  <a:cubicBezTo>
                    <a:pt x="979" y="89"/>
                    <a:pt x="980" y="89"/>
                    <a:pt x="980" y="89"/>
                  </a:cubicBezTo>
                  <a:cubicBezTo>
                    <a:pt x="980" y="89"/>
                    <a:pt x="979" y="89"/>
                    <a:pt x="979" y="89"/>
                  </a:cubicBezTo>
                  <a:close/>
                  <a:moveTo>
                    <a:pt x="1016" y="89"/>
                  </a:moveTo>
                  <a:cubicBezTo>
                    <a:pt x="1017" y="89"/>
                    <a:pt x="1017" y="89"/>
                    <a:pt x="1017" y="89"/>
                  </a:cubicBezTo>
                  <a:cubicBezTo>
                    <a:pt x="1017" y="89"/>
                    <a:pt x="1017" y="89"/>
                    <a:pt x="1016" y="89"/>
                  </a:cubicBezTo>
                  <a:close/>
                  <a:moveTo>
                    <a:pt x="1212" y="89"/>
                  </a:moveTo>
                  <a:cubicBezTo>
                    <a:pt x="1212" y="89"/>
                    <a:pt x="1212" y="89"/>
                    <a:pt x="1211" y="89"/>
                  </a:cubicBezTo>
                  <a:cubicBezTo>
                    <a:pt x="1211" y="89"/>
                    <a:pt x="1211" y="89"/>
                    <a:pt x="1212" y="89"/>
                  </a:cubicBezTo>
                  <a:close/>
                  <a:moveTo>
                    <a:pt x="1416" y="89"/>
                  </a:moveTo>
                  <a:cubicBezTo>
                    <a:pt x="1416" y="89"/>
                    <a:pt x="1416" y="89"/>
                    <a:pt x="1416" y="89"/>
                  </a:cubicBezTo>
                  <a:cubicBezTo>
                    <a:pt x="1416" y="89"/>
                    <a:pt x="1416" y="89"/>
                    <a:pt x="1416" y="89"/>
                  </a:cubicBezTo>
                  <a:close/>
                  <a:moveTo>
                    <a:pt x="1464" y="89"/>
                  </a:moveTo>
                  <a:cubicBezTo>
                    <a:pt x="1463" y="89"/>
                    <a:pt x="1463" y="89"/>
                    <a:pt x="1463" y="89"/>
                  </a:cubicBezTo>
                  <a:cubicBezTo>
                    <a:pt x="1464" y="89"/>
                    <a:pt x="1464" y="89"/>
                    <a:pt x="1464" y="89"/>
                  </a:cubicBezTo>
                  <a:close/>
                  <a:moveTo>
                    <a:pt x="612" y="55"/>
                  </a:moveTo>
                  <a:cubicBezTo>
                    <a:pt x="612" y="55"/>
                    <a:pt x="612" y="55"/>
                    <a:pt x="612" y="56"/>
                  </a:cubicBezTo>
                  <a:cubicBezTo>
                    <a:pt x="612" y="55"/>
                    <a:pt x="612" y="55"/>
                    <a:pt x="612" y="55"/>
                  </a:cubicBezTo>
                  <a:close/>
                  <a:moveTo>
                    <a:pt x="1682" y="89"/>
                  </a:moveTo>
                  <a:cubicBezTo>
                    <a:pt x="1682" y="89"/>
                    <a:pt x="1682" y="89"/>
                    <a:pt x="1682" y="89"/>
                  </a:cubicBezTo>
                  <a:cubicBezTo>
                    <a:pt x="1682" y="89"/>
                    <a:pt x="1682" y="89"/>
                    <a:pt x="1682" y="89"/>
                  </a:cubicBezTo>
                  <a:close/>
                  <a:moveTo>
                    <a:pt x="857" y="49"/>
                  </a:moveTo>
                  <a:cubicBezTo>
                    <a:pt x="857" y="48"/>
                    <a:pt x="857" y="48"/>
                    <a:pt x="856" y="48"/>
                  </a:cubicBezTo>
                  <a:cubicBezTo>
                    <a:pt x="856" y="48"/>
                    <a:pt x="856" y="48"/>
                    <a:pt x="857" y="49"/>
                  </a:cubicBezTo>
                  <a:close/>
                  <a:moveTo>
                    <a:pt x="634" y="89"/>
                  </a:moveTo>
                  <a:cubicBezTo>
                    <a:pt x="634" y="89"/>
                    <a:pt x="634" y="89"/>
                    <a:pt x="634" y="90"/>
                  </a:cubicBezTo>
                  <a:cubicBezTo>
                    <a:pt x="634" y="90"/>
                    <a:pt x="634" y="89"/>
                    <a:pt x="634" y="89"/>
                  </a:cubicBezTo>
                  <a:close/>
                  <a:moveTo>
                    <a:pt x="980" y="89"/>
                  </a:moveTo>
                  <a:cubicBezTo>
                    <a:pt x="980" y="89"/>
                    <a:pt x="980" y="89"/>
                    <a:pt x="981" y="89"/>
                  </a:cubicBezTo>
                  <a:cubicBezTo>
                    <a:pt x="980" y="89"/>
                    <a:pt x="980" y="89"/>
                    <a:pt x="980" y="89"/>
                  </a:cubicBezTo>
                  <a:close/>
                  <a:moveTo>
                    <a:pt x="1016" y="89"/>
                  </a:moveTo>
                  <a:cubicBezTo>
                    <a:pt x="1016" y="89"/>
                    <a:pt x="1016" y="89"/>
                    <a:pt x="1016" y="89"/>
                  </a:cubicBezTo>
                  <a:cubicBezTo>
                    <a:pt x="1016" y="89"/>
                    <a:pt x="1016" y="89"/>
                    <a:pt x="1016" y="89"/>
                  </a:cubicBezTo>
                  <a:close/>
                  <a:moveTo>
                    <a:pt x="1034" y="90"/>
                  </a:moveTo>
                  <a:cubicBezTo>
                    <a:pt x="1034" y="89"/>
                    <a:pt x="1034" y="89"/>
                    <a:pt x="1034" y="89"/>
                  </a:cubicBezTo>
                  <a:cubicBezTo>
                    <a:pt x="1034" y="89"/>
                    <a:pt x="1034" y="90"/>
                    <a:pt x="1034" y="90"/>
                  </a:cubicBezTo>
                  <a:close/>
                  <a:moveTo>
                    <a:pt x="1079" y="89"/>
                  </a:moveTo>
                  <a:cubicBezTo>
                    <a:pt x="1079" y="89"/>
                    <a:pt x="1079" y="89"/>
                    <a:pt x="1079" y="89"/>
                  </a:cubicBezTo>
                  <a:cubicBezTo>
                    <a:pt x="1079" y="89"/>
                    <a:pt x="1079" y="89"/>
                    <a:pt x="1079" y="89"/>
                  </a:cubicBezTo>
                  <a:close/>
                  <a:moveTo>
                    <a:pt x="1187" y="89"/>
                  </a:moveTo>
                  <a:cubicBezTo>
                    <a:pt x="1187" y="89"/>
                    <a:pt x="1187" y="90"/>
                    <a:pt x="1187" y="90"/>
                  </a:cubicBezTo>
                  <a:cubicBezTo>
                    <a:pt x="1187" y="89"/>
                    <a:pt x="1187" y="89"/>
                    <a:pt x="1187" y="89"/>
                  </a:cubicBezTo>
                  <a:close/>
                  <a:moveTo>
                    <a:pt x="1257" y="89"/>
                  </a:moveTo>
                  <a:cubicBezTo>
                    <a:pt x="1257" y="89"/>
                    <a:pt x="1257" y="89"/>
                    <a:pt x="1257" y="89"/>
                  </a:cubicBezTo>
                  <a:cubicBezTo>
                    <a:pt x="1257" y="89"/>
                    <a:pt x="1257" y="89"/>
                    <a:pt x="1257" y="89"/>
                  </a:cubicBezTo>
                  <a:close/>
                  <a:moveTo>
                    <a:pt x="1669" y="90"/>
                  </a:moveTo>
                  <a:cubicBezTo>
                    <a:pt x="1669" y="89"/>
                    <a:pt x="1669" y="89"/>
                    <a:pt x="1669" y="89"/>
                  </a:cubicBezTo>
                  <a:cubicBezTo>
                    <a:pt x="1669" y="89"/>
                    <a:pt x="1669" y="89"/>
                    <a:pt x="1669" y="90"/>
                  </a:cubicBezTo>
                  <a:close/>
                  <a:moveTo>
                    <a:pt x="587" y="89"/>
                  </a:moveTo>
                  <a:cubicBezTo>
                    <a:pt x="587" y="89"/>
                    <a:pt x="586" y="90"/>
                    <a:pt x="586" y="90"/>
                  </a:cubicBezTo>
                  <a:cubicBezTo>
                    <a:pt x="587" y="90"/>
                    <a:pt x="587" y="90"/>
                    <a:pt x="587" y="89"/>
                  </a:cubicBezTo>
                  <a:close/>
                  <a:moveTo>
                    <a:pt x="1738" y="10"/>
                  </a:moveTo>
                  <a:cubicBezTo>
                    <a:pt x="1738" y="10"/>
                    <a:pt x="1739" y="10"/>
                    <a:pt x="1739" y="10"/>
                  </a:cubicBezTo>
                  <a:cubicBezTo>
                    <a:pt x="1739" y="10"/>
                    <a:pt x="1739" y="10"/>
                    <a:pt x="1738" y="10"/>
                  </a:cubicBezTo>
                  <a:close/>
                  <a:moveTo>
                    <a:pt x="661" y="89"/>
                  </a:moveTo>
                  <a:cubicBezTo>
                    <a:pt x="661" y="90"/>
                    <a:pt x="661" y="90"/>
                    <a:pt x="662" y="90"/>
                  </a:cubicBezTo>
                  <a:cubicBezTo>
                    <a:pt x="662" y="89"/>
                    <a:pt x="661" y="89"/>
                    <a:pt x="661" y="89"/>
                  </a:cubicBezTo>
                  <a:close/>
                  <a:moveTo>
                    <a:pt x="687" y="90"/>
                  </a:moveTo>
                  <a:cubicBezTo>
                    <a:pt x="687" y="90"/>
                    <a:pt x="687" y="90"/>
                    <a:pt x="687" y="89"/>
                  </a:cubicBezTo>
                  <a:cubicBezTo>
                    <a:pt x="687" y="89"/>
                    <a:pt x="687" y="90"/>
                    <a:pt x="687" y="90"/>
                  </a:cubicBezTo>
                  <a:close/>
                  <a:moveTo>
                    <a:pt x="699" y="89"/>
                  </a:moveTo>
                  <a:cubicBezTo>
                    <a:pt x="699" y="89"/>
                    <a:pt x="699" y="90"/>
                    <a:pt x="699" y="90"/>
                  </a:cubicBezTo>
                  <a:cubicBezTo>
                    <a:pt x="699" y="90"/>
                    <a:pt x="699" y="90"/>
                    <a:pt x="699" y="89"/>
                  </a:cubicBezTo>
                  <a:close/>
                  <a:moveTo>
                    <a:pt x="727" y="89"/>
                  </a:moveTo>
                  <a:cubicBezTo>
                    <a:pt x="727" y="90"/>
                    <a:pt x="727" y="90"/>
                    <a:pt x="727" y="90"/>
                  </a:cubicBezTo>
                  <a:cubicBezTo>
                    <a:pt x="727" y="90"/>
                    <a:pt x="727" y="89"/>
                    <a:pt x="727" y="89"/>
                  </a:cubicBezTo>
                  <a:close/>
                  <a:moveTo>
                    <a:pt x="752" y="90"/>
                  </a:moveTo>
                  <a:cubicBezTo>
                    <a:pt x="752" y="90"/>
                    <a:pt x="752" y="89"/>
                    <a:pt x="752" y="89"/>
                  </a:cubicBezTo>
                  <a:cubicBezTo>
                    <a:pt x="752" y="90"/>
                    <a:pt x="752" y="90"/>
                    <a:pt x="752" y="90"/>
                  </a:cubicBezTo>
                  <a:close/>
                  <a:moveTo>
                    <a:pt x="796" y="90"/>
                  </a:moveTo>
                  <a:cubicBezTo>
                    <a:pt x="796" y="90"/>
                    <a:pt x="797" y="90"/>
                    <a:pt x="797" y="89"/>
                  </a:cubicBezTo>
                  <a:cubicBezTo>
                    <a:pt x="796" y="89"/>
                    <a:pt x="796" y="89"/>
                    <a:pt x="796" y="90"/>
                  </a:cubicBezTo>
                  <a:close/>
                  <a:moveTo>
                    <a:pt x="981" y="89"/>
                  </a:moveTo>
                  <a:cubicBezTo>
                    <a:pt x="981" y="90"/>
                    <a:pt x="981" y="90"/>
                    <a:pt x="981" y="90"/>
                  </a:cubicBezTo>
                  <a:cubicBezTo>
                    <a:pt x="981" y="89"/>
                    <a:pt x="981" y="89"/>
                    <a:pt x="981" y="89"/>
                  </a:cubicBezTo>
                  <a:close/>
                  <a:moveTo>
                    <a:pt x="1015" y="90"/>
                  </a:moveTo>
                  <a:cubicBezTo>
                    <a:pt x="1015" y="90"/>
                    <a:pt x="1016" y="90"/>
                    <a:pt x="1016" y="89"/>
                  </a:cubicBezTo>
                  <a:cubicBezTo>
                    <a:pt x="1015" y="89"/>
                    <a:pt x="1015" y="89"/>
                    <a:pt x="1015" y="90"/>
                  </a:cubicBezTo>
                  <a:close/>
                  <a:moveTo>
                    <a:pt x="1048" y="89"/>
                  </a:moveTo>
                  <a:cubicBezTo>
                    <a:pt x="1048" y="90"/>
                    <a:pt x="1048" y="90"/>
                    <a:pt x="1049" y="90"/>
                  </a:cubicBezTo>
                  <a:cubicBezTo>
                    <a:pt x="1049" y="89"/>
                    <a:pt x="1048" y="89"/>
                    <a:pt x="1048" y="89"/>
                  </a:cubicBezTo>
                  <a:close/>
                  <a:moveTo>
                    <a:pt x="1078" y="90"/>
                  </a:moveTo>
                  <a:cubicBezTo>
                    <a:pt x="1078" y="90"/>
                    <a:pt x="1079" y="90"/>
                    <a:pt x="1079" y="89"/>
                  </a:cubicBezTo>
                  <a:cubicBezTo>
                    <a:pt x="1078" y="89"/>
                    <a:pt x="1078" y="89"/>
                    <a:pt x="1078" y="90"/>
                  </a:cubicBezTo>
                  <a:close/>
                  <a:moveTo>
                    <a:pt x="1291" y="42"/>
                  </a:moveTo>
                  <a:cubicBezTo>
                    <a:pt x="1291" y="41"/>
                    <a:pt x="1291" y="41"/>
                    <a:pt x="1291" y="41"/>
                  </a:cubicBezTo>
                  <a:cubicBezTo>
                    <a:pt x="1291" y="41"/>
                    <a:pt x="1291" y="41"/>
                    <a:pt x="1291" y="42"/>
                  </a:cubicBezTo>
                  <a:close/>
                  <a:moveTo>
                    <a:pt x="977" y="10"/>
                  </a:moveTo>
                  <a:cubicBezTo>
                    <a:pt x="978" y="10"/>
                    <a:pt x="978" y="10"/>
                    <a:pt x="978" y="10"/>
                  </a:cubicBezTo>
                  <a:cubicBezTo>
                    <a:pt x="978" y="10"/>
                    <a:pt x="978" y="10"/>
                    <a:pt x="977" y="10"/>
                  </a:cubicBezTo>
                  <a:close/>
                  <a:moveTo>
                    <a:pt x="1256" y="90"/>
                  </a:moveTo>
                  <a:cubicBezTo>
                    <a:pt x="1256" y="90"/>
                    <a:pt x="1256" y="90"/>
                    <a:pt x="1257" y="89"/>
                  </a:cubicBezTo>
                  <a:cubicBezTo>
                    <a:pt x="1256" y="89"/>
                    <a:pt x="1256" y="89"/>
                    <a:pt x="1256" y="90"/>
                  </a:cubicBezTo>
                  <a:close/>
                  <a:moveTo>
                    <a:pt x="1682" y="89"/>
                  </a:moveTo>
                  <a:cubicBezTo>
                    <a:pt x="1682" y="90"/>
                    <a:pt x="1682" y="90"/>
                    <a:pt x="1683" y="90"/>
                  </a:cubicBezTo>
                  <a:cubicBezTo>
                    <a:pt x="1683" y="90"/>
                    <a:pt x="1683" y="89"/>
                    <a:pt x="1682" y="89"/>
                  </a:cubicBezTo>
                  <a:close/>
                  <a:moveTo>
                    <a:pt x="662" y="90"/>
                  </a:moveTo>
                  <a:cubicBezTo>
                    <a:pt x="662" y="90"/>
                    <a:pt x="662" y="90"/>
                    <a:pt x="662" y="90"/>
                  </a:cubicBezTo>
                  <a:cubicBezTo>
                    <a:pt x="662" y="90"/>
                    <a:pt x="662" y="90"/>
                    <a:pt x="662" y="90"/>
                  </a:cubicBezTo>
                  <a:close/>
                  <a:moveTo>
                    <a:pt x="1553" y="60"/>
                  </a:moveTo>
                  <a:cubicBezTo>
                    <a:pt x="1553" y="60"/>
                    <a:pt x="1553" y="60"/>
                    <a:pt x="1553" y="59"/>
                  </a:cubicBezTo>
                  <a:cubicBezTo>
                    <a:pt x="1553" y="59"/>
                    <a:pt x="1553" y="59"/>
                    <a:pt x="1553" y="60"/>
                  </a:cubicBezTo>
                  <a:close/>
                  <a:moveTo>
                    <a:pt x="795" y="90"/>
                  </a:moveTo>
                  <a:cubicBezTo>
                    <a:pt x="796" y="90"/>
                    <a:pt x="796" y="90"/>
                    <a:pt x="796" y="90"/>
                  </a:cubicBezTo>
                  <a:cubicBezTo>
                    <a:pt x="796" y="90"/>
                    <a:pt x="796" y="90"/>
                    <a:pt x="795" y="90"/>
                  </a:cubicBezTo>
                  <a:close/>
                  <a:moveTo>
                    <a:pt x="981" y="90"/>
                  </a:moveTo>
                  <a:cubicBezTo>
                    <a:pt x="981" y="90"/>
                    <a:pt x="982" y="90"/>
                    <a:pt x="982" y="90"/>
                  </a:cubicBezTo>
                  <a:cubicBezTo>
                    <a:pt x="982" y="90"/>
                    <a:pt x="982" y="90"/>
                    <a:pt x="981" y="90"/>
                  </a:cubicBezTo>
                  <a:close/>
                  <a:moveTo>
                    <a:pt x="1291" y="52"/>
                  </a:moveTo>
                  <a:cubicBezTo>
                    <a:pt x="1291" y="53"/>
                    <a:pt x="1291" y="53"/>
                    <a:pt x="1291" y="53"/>
                  </a:cubicBezTo>
                  <a:cubicBezTo>
                    <a:pt x="1291" y="53"/>
                    <a:pt x="1291" y="53"/>
                    <a:pt x="1291" y="52"/>
                  </a:cubicBezTo>
                  <a:close/>
                  <a:moveTo>
                    <a:pt x="1035" y="90"/>
                  </a:moveTo>
                  <a:cubicBezTo>
                    <a:pt x="1035" y="90"/>
                    <a:pt x="1034" y="90"/>
                    <a:pt x="1034" y="90"/>
                  </a:cubicBezTo>
                  <a:cubicBezTo>
                    <a:pt x="1034" y="90"/>
                    <a:pt x="1034" y="90"/>
                    <a:pt x="1035" y="90"/>
                  </a:cubicBezTo>
                  <a:close/>
                  <a:moveTo>
                    <a:pt x="1187" y="90"/>
                  </a:moveTo>
                  <a:cubicBezTo>
                    <a:pt x="1187" y="90"/>
                    <a:pt x="1187" y="90"/>
                    <a:pt x="1187" y="90"/>
                  </a:cubicBezTo>
                  <a:cubicBezTo>
                    <a:pt x="1187" y="90"/>
                    <a:pt x="1187" y="90"/>
                    <a:pt x="1187" y="90"/>
                  </a:cubicBezTo>
                  <a:close/>
                  <a:moveTo>
                    <a:pt x="1212" y="90"/>
                  </a:moveTo>
                  <a:cubicBezTo>
                    <a:pt x="1212" y="90"/>
                    <a:pt x="1212" y="90"/>
                    <a:pt x="1212" y="90"/>
                  </a:cubicBezTo>
                  <a:cubicBezTo>
                    <a:pt x="1212" y="90"/>
                    <a:pt x="1212" y="90"/>
                    <a:pt x="1212" y="90"/>
                  </a:cubicBezTo>
                  <a:close/>
                  <a:moveTo>
                    <a:pt x="1255" y="90"/>
                  </a:moveTo>
                  <a:cubicBezTo>
                    <a:pt x="1256" y="90"/>
                    <a:pt x="1256" y="90"/>
                    <a:pt x="1256" y="90"/>
                  </a:cubicBezTo>
                  <a:cubicBezTo>
                    <a:pt x="1256" y="90"/>
                    <a:pt x="1255" y="90"/>
                    <a:pt x="1255" y="90"/>
                  </a:cubicBezTo>
                  <a:close/>
                  <a:moveTo>
                    <a:pt x="611" y="54"/>
                  </a:moveTo>
                  <a:cubicBezTo>
                    <a:pt x="611" y="54"/>
                    <a:pt x="611" y="54"/>
                    <a:pt x="612" y="55"/>
                  </a:cubicBezTo>
                  <a:cubicBezTo>
                    <a:pt x="612" y="54"/>
                    <a:pt x="612" y="54"/>
                    <a:pt x="611" y="54"/>
                  </a:cubicBezTo>
                  <a:close/>
                  <a:moveTo>
                    <a:pt x="1417" y="90"/>
                  </a:moveTo>
                  <a:cubicBezTo>
                    <a:pt x="1417" y="90"/>
                    <a:pt x="1417" y="90"/>
                    <a:pt x="1416" y="90"/>
                  </a:cubicBezTo>
                  <a:cubicBezTo>
                    <a:pt x="1416" y="90"/>
                    <a:pt x="1416" y="90"/>
                    <a:pt x="1417" y="90"/>
                  </a:cubicBezTo>
                  <a:close/>
                  <a:moveTo>
                    <a:pt x="1463" y="90"/>
                  </a:moveTo>
                  <a:cubicBezTo>
                    <a:pt x="1463" y="90"/>
                    <a:pt x="1463" y="90"/>
                    <a:pt x="1463" y="90"/>
                  </a:cubicBezTo>
                  <a:cubicBezTo>
                    <a:pt x="1463" y="90"/>
                    <a:pt x="1463" y="90"/>
                    <a:pt x="1463" y="90"/>
                  </a:cubicBezTo>
                  <a:close/>
                  <a:moveTo>
                    <a:pt x="1670" y="90"/>
                  </a:moveTo>
                  <a:cubicBezTo>
                    <a:pt x="1670" y="90"/>
                    <a:pt x="1670" y="90"/>
                    <a:pt x="1669" y="90"/>
                  </a:cubicBezTo>
                  <a:cubicBezTo>
                    <a:pt x="1669" y="90"/>
                    <a:pt x="1669" y="90"/>
                    <a:pt x="1670" y="90"/>
                  </a:cubicBezTo>
                  <a:close/>
                  <a:moveTo>
                    <a:pt x="634" y="90"/>
                  </a:moveTo>
                  <a:cubicBezTo>
                    <a:pt x="634" y="90"/>
                    <a:pt x="633" y="90"/>
                    <a:pt x="633" y="91"/>
                  </a:cubicBezTo>
                  <a:cubicBezTo>
                    <a:pt x="634" y="91"/>
                    <a:pt x="634" y="90"/>
                    <a:pt x="634" y="90"/>
                  </a:cubicBezTo>
                  <a:close/>
                  <a:moveTo>
                    <a:pt x="829" y="43"/>
                  </a:moveTo>
                  <a:cubicBezTo>
                    <a:pt x="830" y="43"/>
                    <a:pt x="830" y="42"/>
                    <a:pt x="830" y="42"/>
                  </a:cubicBezTo>
                  <a:cubicBezTo>
                    <a:pt x="830" y="42"/>
                    <a:pt x="829" y="42"/>
                    <a:pt x="829" y="43"/>
                  </a:cubicBezTo>
                  <a:close/>
                  <a:moveTo>
                    <a:pt x="1665" y="59"/>
                  </a:moveTo>
                  <a:cubicBezTo>
                    <a:pt x="1665" y="60"/>
                    <a:pt x="1665" y="60"/>
                    <a:pt x="1666" y="60"/>
                  </a:cubicBezTo>
                  <a:cubicBezTo>
                    <a:pt x="1665" y="59"/>
                    <a:pt x="1665" y="59"/>
                    <a:pt x="1665" y="59"/>
                  </a:cubicBezTo>
                  <a:close/>
                  <a:moveTo>
                    <a:pt x="1721" y="60"/>
                  </a:moveTo>
                  <a:cubicBezTo>
                    <a:pt x="1721" y="60"/>
                    <a:pt x="1721" y="60"/>
                    <a:pt x="1721" y="59"/>
                  </a:cubicBezTo>
                  <a:cubicBezTo>
                    <a:pt x="1721" y="59"/>
                    <a:pt x="1721" y="59"/>
                    <a:pt x="1721" y="60"/>
                  </a:cubicBezTo>
                  <a:close/>
                  <a:moveTo>
                    <a:pt x="795" y="90"/>
                  </a:moveTo>
                  <a:cubicBezTo>
                    <a:pt x="795" y="90"/>
                    <a:pt x="795" y="90"/>
                    <a:pt x="795" y="90"/>
                  </a:cubicBezTo>
                  <a:cubicBezTo>
                    <a:pt x="795" y="90"/>
                    <a:pt x="795" y="90"/>
                    <a:pt x="795" y="90"/>
                  </a:cubicBezTo>
                  <a:close/>
                  <a:moveTo>
                    <a:pt x="982" y="90"/>
                  </a:moveTo>
                  <a:cubicBezTo>
                    <a:pt x="982" y="90"/>
                    <a:pt x="982" y="90"/>
                    <a:pt x="983" y="90"/>
                  </a:cubicBezTo>
                  <a:cubicBezTo>
                    <a:pt x="982" y="90"/>
                    <a:pt x="982" y="90"/>
                    <a:pt x="982" y="90"/>
                  </a:cubicBezTo>
                  <a:close/>
                  <a:moveTo>
                    <a:pt x="1013" y="90"/>
                  </a:moveTo>
                  <a:cubicBezTo>
                    <a:pt x="1014" y="90"/>
                    <a:pt x="1014" y="90"/>
                    <a:pt x="1014" y="90"/>
                  </a:cubicBezTo>
                  <a:cubicBezTo>
                    <a:pt x="1014" y="90"/>
                    <a:pt x="1013" y="90"/>
                    <a:pt x="1013" y="90"/>
                  </a:cubicBezTo>
                  <a:close/>
                  <a:moveTo>
                    <a:pt x="639" y="49"/>
                  </a:moveTo>
                  <a:cubicBezTo>
                    <a:pt x="639" y="48"/>
                    <a:pt x="639" y="48"/>
                    <a:pt x="639" y="48"/>
                  </a:cubicBezTo>
                  <a:cubicBezTo>
                    <a:pt x="639" y="48"/>
                    <a:pt x="639" y="48"/>
                    <a:pt x="639" y="49"/>
                  </a:cubicBezTo>
                  <a:close/>
                  <a:moveTo>
                    <a:pt x="1683" y="90"/>
                  </a:moveTo>
                  <a:cubicBezTo>
                    <a:pt x="1683" y="90"/>
                    <a:pt x="1683" y="91"/>
                    <a:pt x="1683" y="91"/>
                  </a:cubicBezTo>
                  <a:cubicBezTo>
                    <a:pt x="1683" y="90"/>
                    <a:pt x="1683" y="90"/>
                    <a:pt x="1683" y="90"/>
                  </a:cubicBezTo>
                  <a:close/>
                  <a:moveTo>
                    <a:pt x="586" y="90"/>
                  </a:moveTo>
                  <a:cubicBezTo>
                    <a:pt x="586" y="91"/>
                    <a:pt x="586" y="91"/>
                    <a:pt x="586" y="91"/>
                  </a:cubicBezTo>
                  <a:cubicBezTo>
                    <a:pt x="586" y="91"/>
                    <a:pt x="586" y="91"/>
                    <a:pt x="586" y="90"/>
                  </a:cubicBezTo>
                  <a:close/>
                  <a:moveTo>
                    <a:pt x="614" y="91"/>
                  </a:moveTo>
                  <a:cubicBezTo>
                    <a:pt x="614" y="91"/>
                    <a:pt x="614" y="91"/>
                    <a:pt x="614" y="90"/>
                  </a:cubicBezTo>
                  <a:cubicBezTo>
                    <a:pt x="614" y="91"/>
                    <a:pt x="614" y="91"/>
                    <a:pt x="614" y="91"/>
                  </a:cubicBezTo>
                  <a:close/>
                  <a:moveTo>
                    <a:pt x="663" y="90"/>
                  </a:moveTo>
                  <a:cubicBezTo>
                    <a:pt x="663" y="91"/>
                    <a:pt x="663" y="91"/>
                    <a:pt x="663" y="91"/>
                  </a:cubicBezTo>
                  <a:cubicBezTo>
                    <a:pt x="663" y="90"/>
                    <a:pt x="663" y="90"/>
                    <a:pt x="663" y="90"/>
                  </a:cubicBezTo>
                  <a:close/>
                  <a:moveTo>
                    <a:pt x="699" y="90"/>
                  </a:moveTo>
                  <a:cubicBezTo>
                    <a:pt x="698" y="90"/>
                    <a:pt x="698" y="91"/>
                    <a:pt x="698" y="91"/>
                  </a:cubicBezTo>
                  <a:cubicBezTo>
                    <a:pt x="699" y="91"/>
                    <a:pt x="699" y="91"/>
                    <a:pt x="699" y="90"/>
                  </a:cubicBezTo>
                  <a:close/>
                  <a:moveTo>
                    <a:pt x="767" y="90"/>
                  </a:moveTo>
                  <a:cubicBezTo>
                    <a:pt x="768" y="91"/>
                    <a:pt x="768" y="91"/>
                    <a:pt x="768" y="91"/>
                  </a:cubicBezTo>
                  <a:cubicBezTo>
                    <a:pt x="768" y="90"/>
                    <a:pt x="768" y="90"/>
                    <a:pt x="767" y="90"/>
                  </a:cubicBezTo>
                  <a:close/>
                  <a:moveTo>
                    <a:pt x="794" y="91"/>
                  </a:moveTo>
                  <a:cubicBezTo>
                    <a:pt x="794" y="91"/>
                    <a:pt x="795" y="91"/>
                    <a:pt x="795" y="90"/>
                  </a:cubicBezTo>
                  <a:cubicBezTo>
                    <a:pt x="794" y="90"/>
                    <a:pt x="794" y="90"/>
                    <a:pt x="794" y="91"/>
                  </a:cubicBezTo>
                  <a:close/>
                  <a:moveTo>
                    <a:pt x="983" y="90"/>
                  </a:moveTo>
                  <a:cubicBezTo>
                    <a:pt x="983" y="91"/>
                    <a:pt x="983" y="91"/>
                    <a:pt x="984" y="91"/>
                  </a:cubicBezTo>
                  <a:cubicBezTo>
                    <a:pt x="983" y="90"/>
                    <a:pt x="983" y="90"/>
                    <a:pt x="983" y="90"/>
                  </a:cubicBezTo>
                  <a:close/>
                  <a:moveTo>
                    <a:pt x="1012" y="91"/>
                  </a:moveTo>
                  <a:cubicBezTo>
                    <a:pt x="1013" y="91"/>
                    <a:pt x="1013" y="91"/>
                    <a:pt x="1013" y="90"/>
                  </a:cubicBezTo>
                  <a:cubicBezTo>
                    <a:pt x="1013" y="90"/>
                    <a:pt x="1012" y="90"/>
                    <a:pt x="1012" y="91"/>
                  </a:cubicBezTo>
                  <a:close/>
                  <a:moveTo>
                    <a:pt x="1050" y="90"/>
                  </a:moveTo>
                  <a:cubicBezTo>
                    <a:pt x="1050" y="91"/>
                    <a:pt x="1050" y="91"/>
                    <a:pt x="1050" y="91"/>
                  </a:cubicBezTo>
                  <a:cubicBezTo>
                    <a:pt x="1050" y="90"/>
                    <a:pt x="1050" y="90"/>
                    <a:pt x="1050" y="90"/>
                  </a:cubicBezTo>
                  <a:close/>
                  <a:moveTo>
                    <a:pt x="1076" y="91"/>
                  </a:moveTo>
                  <a:cubicBezTo>
                    <a:pt x="1077" y="91"/>
                    <a:pt x="1077" y="91"/>
                    <a:pt x="1077" y="90"/>
                  </a:cubicBezTo>
                  <a:cubicBezTo>
                    <a:pt x="1077" y="90"/>
                    <a:pt x="1076" y="90"/>
                    <a:pt x="1076" y="91"/>
                  </a:cubicBezTo>
                  <a:close/>
                  <a:moveTo>
                    <a:pt x="1425" y="10"/>
                  </a:moveTo>
                  <a:cubicBezTo>
                    <a:pt x="1425" y="10"/>
                    <a:pt x="1426" y="10"/>
                    <a:pt x="1426" y="10"/>
                  </a:cubicBezTo>
                  <a:cubicBezTo>
                    <a:pt x="1425" y="10"/>
                    <a:pt x="1425" y="10"/>
                    <a:pt x="1425" y="10"/>
                  </a:cubicBezTo>
                  <a:close/>
                  <a:moveTo>
                    <a:pt x="1227" y="90"/>
                  </a:moveTo>
                  <a:cubicBezTo>
                    <a:pt x="1227" y="91"/>
                    <a:pt x="1228" y="91"/>
                    <a:pt x="1228" y="91"/>
                  </a:cubicBezTo>
                  <a:cubicBezTo>
                    <a:pt x="1228" y="90"/>
                    <a:pt x="1228" y="90"/>
                    <a:pt x="1227" y="90"/>
                  </a:cubicBezTo>
                  <a:close/>
                  <a:moveTo>
                    <a:pt x="1254" y="91"/>
                  </a:moveTo>
                  <a:cubicBezTo>
                    <a:pt x="1254" y="91"/>
                    <a:pt x="1254" y="91"/>
                    <a:pt x="1255" y="90"/>
                  </a:cubicBezTo>
                  <a:cubicBezTo>
                    <a:pt x="1254" y="90"/>
                    <a:pt x="1254" y="90"/>
                    <a:pt x="1254" y="91"/>
                  </a:cubicBezTo>
                  <a:close/>
                  <a:moveTo>
                    <a:pt x="1417" y="91"/>
                  </a:moveTo>
                  <a:cubicBezTo>
                    <a:pt x="1417" y="91"/>
                    <a:pt x="1417" y="90"/>
                    <a:pt x="1417" y="90"/>
                  </a:cubicBezTo>
                  <a:cubicBezTo>
                    <a:pt x="1417" y="91"/>
                    <a:pt x="1417" y="91"/>
                    <a:pt x="1417" y="91"/>
                  </a:cubicBezTo>
                  <a:close/>
                  <a:moveTo>
                    <a:pt x="660" y="60"/>
                  </a:moveTo>
                  <a:cubicBezTo>
                    <a:pt x="660" y="60"/>
                    <a:pt x="660" y="60"/>
                    <a:pt x="660" y="60"/>
                  </a:cubicBezTo>
                  <a:cubicBezTo>
                    <a:pt x="660" y="60"/>
                    <a:pt x="660" y="60"/>
                    <a:pt x="660" y="60"/>
                  </a:cubicBezTo>
                  <a:close/>
                  <a:moveTo>
                    <a:pt x="1670" y="91"/>
                  </a:moveTo>
                  <a:cubicBezTo>
                    <a:pt x="1670" y="91"/>
                    <a:pt x="1670" y="91"/>
                    <a:pt x="1670" y="90"/>
                  </a:cubicBezTo>
                  <a:cubicBezTo>
                    <a:pt x="1670" y="91"/>
                    <a:pt x="1670" y="91"/>
                    <a:pt x="1670" y="91"/>
                  </a:cubicBezTo>
                  <a:close/>
                  <a:moveTo>
                    <a:pt x="633" y="91"/>
                  </a:moveTo>
                  <a:cubicBezTo>
                    <a:pt x="633" y="91"/>
                    <a:pt x="633" y="91"/>
                    <a:pt x="633" y="91"/>
                  </a:cubicBezTo>
                  <a:cubicBezTo>
                    <a:pt x="633" y="91"/>
                    <a:pt x="633" y="91"/>
                    <a:pt x="633" y="91"/>
                  </a:cubicBezTo>
                  <a:close/>
                  <a:moveTo>
                    <a:pt x="663" y="91"/>
                  </a:moveTo>
                  <a:cubicBezTo>
                    <a:pt x="664" y="91"/>
                    <a:pt x="664" y="91"/>
                    <a:pt x="664" y="91"/>
                  </a:cubicBezTo>
                  <a:cubicBezTo>
                    <a:pt x="664" y="91"/>
                    <a:pt x="664" y="91"/>
                    <a:pt x="663" y="91"/>
                  </a:cubicBezTo>
                  <a:close/>
                  <a:moveTo>
                    <a:pt x="793" y="91"/>
                  </a:moveTo>
                  <a:cubicBezTo>
                    <a:pt x="794" y="91"/>
                    <a:pt x="794" y="91"/>
                    <a:pt x="794" y="91"/>
                  </a:cubicBezTo>
                  <a:cubicBezTo>
                    <a:pt x="794" y="91"/>
                    <a:pt x="793" y="91"/>
                    <a:pt x="793" y="91"/>
                  </a:cubicBezTo>
                  <a:close/>
                  <a:moveTo>
                    <a:pt x="984" y="91"/>
                  </a:moveTo>
                  <a:cubicBezTo>
                    <a:pt x="984" y="91"/>
                    <a:pt x="984" y="91"/>
                    <a:pt x="984" y="91"/>
                  </a:cubicBezTo>
                  <a:cubicBezTo>
                    <a:pt x="984" y="91"/>
                    <a:pt x="984" y="91"/>
                    <a:pt x="984" y="91"/>
                  </a:cubicBezTo>
                  <a:close/>
                  <a:moveTo>
                    <a:pt x="1499" y="10"/>
                  </a:moveTo>
                  <a:cubicBezTo>
                    <a:pt x="1499" y="10"/>
                    <a:pt x="1499" y="10"/>
                    <a:pt x="1500" y="10"/>
                  </a:cubicBezTo>
                  <a:cubicBezTo>
                    <a:pt x="1499" y="10"/>
                    <a:pt x="1499" y="10"/>
                    <a:pt x="1499" y="10"/>
                  </a:cubicBezTo>
                  <a:close/>
                  <a:moveTo>
                    <a:pt x="1035" y="91"/>
                  </a:moveTo>
                  <a:cubicBezTo>
                    <a:pt x="1035" y="91"/>
                    <a:pt x="1035" y="91"/>
                    <a:pt x="1035" y="91"/>
                  </a:cubicBezTo>
                  <a:cubicBezTo>
                    <a:pt x="1035" y="91"/>
                    <a:pt x="1035" y="91"/>
                    <a:pt x="1035" y="91"/>
                  </a:cubicBezTo>
                  <a:close/>
                  <a:moveTo>
                    <a:pt x="1050" y="91"/>
                  </a:moveTo>
                  <a:cubicBezTo>
                    <a:pt x="1050" y="91"/>
                    <a:pt x="1051" y="91"/>
                    <a:pt x="1051" y="91"/>
                  </a:cubicBezTo>
                  <a:cubicBezTo>
                    <a:pt x="1051" y="91"/>
                    <a:pt x="1050" y="91"/>
                    <a:pt x="1050" y="91"/>
                  </a:cubicBezTo>
                  <a:close/>
                  <a:moveTo>
                    <a:pt x="1075" y="91"/>
                  </a:moveTo>
                  <a:cubicBezTo>
                    <a:pt x="1076" y="91"/>
                    <a:pt x="1076" y="91"/>
                    <a:pt x="1076" y="91"/>
                  </a:cubicBezTo>
                  <a:cubicBezTo>
                    <a:pt x="1076" y="91"/>
                    <a:pt x="1075" y="91"/>
                    <a:pt x="1075" y="91"/>
                  </a:cubicBezTo>
                  <a:close/>
                  <a:moveTo>
                    <a:pt x="654" y="40"/>
                  </a:moveTo>
                  <a:cubicBezTo>
                    <a:pt x="653" y="40"/>
                    <a:pt x="653" y="40"/>
                    <a:pt x="653" y="41"/>
                  </a:cubicBezTo>
                  <a:cubicBezTo>
                    <a:pt x="654" y="40"/>
                    <a:pt x="654" y="40"/>
                    <a:pt x="654" y="40"/>
                  </a:cubicBezTo>
                  <a:close/>
                  <a:moveTo>
                    <a:pt x="1228" y="91"/>
                  </a:moveTo>
                  <a:cubicBezTo>
                    <a:pt x="1228" y="91"/>
                    <a:pt x="1228" y="91"/>
                    <a:pt x="1229" y="91"/>
                  </a:cubicBezTo>
                  <a:cubicBezTo>
                    <a:pt x="1229" y="91"/>
                    <a:pt x="1228" y="91"/>
                    <a:pt x="1228" y="91"/>
                  </a:cubicBezTo>
                  <a:close/>
                  <a:moveTo>
                    <a:pt x="1253" y="91"/>
                  </a:moveTo>
                  <a:cubicBezTo>
                    <a:pt x="1253" y="91"/>
                    <a:pt x="1254" y="91"/>
                    <a:pt x="1254" y="91"/>
                  </a:cubicBezTo>
                  <a:cubicBezTo>
                    <a:pt x="1254" y="91"/>
                    <a:pt x="1253" y="91"/>
                    <a:pt x="1253" y="91"/>
                  </a:cubicBezTo>
                  <a:close/>
                  <a:moveTo>
                    <a:pt x="1683" y="91"/>
                  </a:moveTo>
                  <a:cubicBezTo>
                    <a:pt x="1683" y="91"/>
                    <a:pt x="1683" y="91"/>
                    <a:pt x="1683" y="91"/>
                  </a:cubicBezTo>
                  <a:cubicBezTo>
                    <a:pt x="1683" y="91"/>
                    <a:pt x="1683" y="91"/>
                    <a:pt x="1683" y="91"/>
                  </a:cubicBezTo>
                  <a:close/>
                  <a:moveTo>
                    <a:pt x="606" y="40"/>
                  </a:moveTo>
                  <a:cubicBezTo>
                    <a:pt x="606" y="40"/>
                    <a:pt x="606" y="41"/>
                    <a:pt x="607" y="41"/>
                  </a:cubicBezTo>
                  <a:cubicBezTo>
                    <a:pt x="607" y="40"/>
                    <a:pt x="607" y="40"/>
                    <a:pt x="606" y="40"/>
                  </a:cubicBezTo>
                  <a:close/>
                  <a:moveTo>
                    <a:pt x="586" y="91"/>
                  </a:moveTo>
                  <a:cubicBezTo>
                    <a:pt x="586" y="91"/>
                    <a:pt x="585" y="91"/>
                    <a:pt x="585" y="92"/>
                  </a:cubicBezTo>
                  <a:cubicBezTo>
                    <a:pt x="586" y="92"/>
                    <a:pt x="586" y="91"/>
                    <a:pt x="586" y="91"/>
                  </a:cubicBezTo>
                  <a:close/>
                  <a:moveTo>
                    <a:pt x="664" y="91"/>
                  </a:moveTo>
                  <a:cubicBezTo>
                    <a:pt x="664" y="91"/>
                    <a:pt x="665" y="91"/>
                    <a:pt x="665" y="91"/>
                  </a:cubicBezTo>
                  <a:cubicBezTo>
                    <a:pt x="665" y="91"/>
                    <a:pt x="664" y="91"/>
                    <a:pt x="664" y="91"/>
                  </a:cubicBezTo>
                  <a:close/>
                  <a:moveTo>
                    <a:pt x="698" y="91"/>
                  </a:moveTo>
                  <a:cubicBezTo>
                    <a:pt x="698" y="91"/>
                    <a:pt x="698" y="91"/>
                    <a:pt x="698" y="92"/>
                  </a:cubicBezTo>
                  <a:cubicBezTo>
                    <a:pt x="698" y="92"/>
                    <a:pt x="698" y="91"/>
                    <a:pt x="698" y="91"/>
                  </a:cubicBezTo>
                  <a:close/>
                  <a:moveTo>
                    <a:pt x="602" y="61"/>
                  </a:moveTo>
                  <a:cubicBezTo>
                    <a:pt x="603" y="60"/>
                    <a:pt x="602" y="60"/>
                    <a:pt x="602" y="60"/>
                  </a:cubicBezTo>
                  <a:cubicBezTo>
                    <a:pt x="602" y="60"/>
                    <a:pt x="602" y="61"/>
                    <a:pt x="602" y="61"/>
                  </a:cubicBezTo>
                  <a:close/>
                  <a:moveTo>
                    <a:pt x="769" y="91"/>
                  </a:moveTo>
                  <a:cubicBezTo>
                    <a:pt x="769" y="91"/>
                    <a:pt x="769" y="91"/>
                    <a:pt x="769" y="91"/>
                  </a:cubicBezTo>
                  <a:cubicBezTo>
                    <a:pt x="769" y="91"/>
                    <a:pt x="769" y="91"/>
                    <a:pt x="769" y="91"/>
                  </a:cubicBezTo>
                  <a:close/>
                  <a:moveTo>
                    <a:pt x="793" y="91"/>
                  </a:moveTo>
                  <a:cubicBezTo>
                    <a:pt x="793" y="91"/>
                    <a:pt x="793" y="91"/>
                    <a:pt x="793" y="91"/>
                  </a:cubicBezTo>
                  <a:cubicBezTo>
                    <a:pt x="793" y="91"/>
                    <a:pt x="793" y="91"/>
                    <a:pt x="793" y="91"/>
                  </a:cubicBezTo>
                  <a:close/>
                  <a:moveTo>
                    <a:pt x="985" y="91"/>
                  </a:moveTo>
                  <a:cubicBezTo>
                    <a:pt x="985" y="91"/>
                    <a:pt x="985" y="91"/>
                    <a:pt x="985" y="91"/>
                  </a:cubicBezTo>
                  <a:cubicBezTo>
                    <a:pt x="985" y="91"/>
                    <a:pt x="985" y="91"/>
                    <a:pt x="985" y="91"/>
                  </a:cubicBezTo>
                  <a:close/>
                  <a:moveTo>
                    <a:pt x="1536" y="10"/>
                  </a:moveTo>
                  <a:cubicBezTo>
                    <a:pt x="1537" y="10"/>
                    <a:pt x="1537" y="10"/>
                    <a:pt x="1537" y="10"/>
                  </a:cubicBezTo>
                  <a:cubicBezTo>
                    <a:pt x="1537" y="10"/>
                    <a:pt x="1537" y="10"/>
                    <a:pt x="1536" y="10"/>
                  </a:cubicBezTo>
                  <a:close/>
                  <a:moveTo>
                    <a:pt x="1075" y="91"/>
                  </a:moveTo>
                  <a:cubicBezTo>
                    <a:pt x="1075" y="91"/>
                    <a:pt x="1075" y="91"/>
                    <a:pt x="1075" y="91"/>
                  </a:cubicBezTo>
                  <a:cubicBezTo>
                    <a:pt x="1075" y="91"/>
                    <a:pt x="1075" y="91"/>
                    <a:pt x="1075" y="91"/>
                  </a:cubicBezTo>
                  <a:close/>
                  <a:moveTo>
                    <a:pt x="1670" y="10"/>
                  </a:moveTo>
                  <a:cubicBezTo>
                    <a:pt x="1671" y="10"/>
                    <a:pt x="1671" y="10"/>
                    <a:pt x="1671" y="10"/>
                  </a:cubicBezTo>
                  <a:cubicBezTo>
                    <a:pt x="1671" y="10"/>
                    <a:pt x="1671" y="10"/>
                    <a:pt x="1670" y="10"/>
                  </a:cubicBezTo>
                  <a:close/>
                  <a:moveTo>
                    <a:pt x="1252" y="91"/>
                  </a:moveTo>
                  <a:cubicBezTo>
                    <a:pt x="1253" y="91"/>
                    <a:pt x="1253" y="91"/>
                    <a:pt x="1253" y="91"/>
                  </a:cubicBezTo>
                  <a:cubicBezTo>
                    <a:pt x="1253" y="91"/>
                    <a:pt x="1253" y="91"/>
                    <a:pt x="1252" y="91"/>
                  </a:cubicBezTo>
                  <a:close/>
                  <a:moveTo>
                    <a:pt x="1705" y="10"/>
                  </a:moveTo>
                  <a:cubicBezTo>
                    <a:pt x="1705" y="10"/>
                    <a:pt x="1705" y="10"/>
                    <a:pt x="1705" y="10"/>
                  </a:cubicBezTo>
                  <a:cubicBezTo>
                    <a:pt x="1705" y="10"/>
                    <a:pt x="1705" y="10"/>
                    <a:pt x="1705" y="10"/>
                  </a:cubicBezTo>
                  <a:close/>
                  <a:moveTo>
                    <a:pt x="1670" y="92"/>
                  </a:moveTo>
                  <a:cubicBezTo>
                    <a:pt x="1670" y="91"/>
                    <a:pt x="1670" y="91"/>
                    <a:pt x="1670" y="91"/>
                  </a:cubicBezTo>
                  <a:cubicBezTo>
                    <a:pt x="1670" y="91"/>
                    <a:pt x="1670" y="92"/>
                    <a:pt x="1670" y="92"/>
                  </a:cubicBezTo>
                  <a:close/>
                  <a:moveTo>
                    <a:pt x="615" y="92"/>
                  </a:moveTo>
                  <a:cubicBezTo>
                    <a:pt x="615" y="92"/>
                    <a:pt x="615" y="91"/>
                    <a:pt x="614" y="91"/>
                  </a:cubicBezTo>
                  <a:cubicBezTo>
                    <a:pt x="614" y="92"/>
                    <a:pt x="614" y="92"/>
                    <a:pt x="615" y="92"/>
                  </a:cubicBezTo>
                  <a:close/>
                  <a:moveTo>
                    <a:pt x="665" y="91"/>
                  </a:moveTo>
                  <a:cubicBezTo>
                    <a:pt x="665" y="92"/>
                    <a:pt x="665" y="92"/>
                    <a:pt x="666" y="92"/>
                  </a:cubicBezTo>
                  <a:cubicBezTo>
                    <a:pt x="665" y="91"/>
                    <a:pt x="665" y="91"/>
                    <a:pt x="665" y="91"/>
                  </a:cubicBezTo>
                  <a:close/>
                  <a:moveTo>
                    <a:pt x="685" y="92"/>
                  </a:moveTo>
                  <a:cubicBezTo>
                    <a:pt x="685" y="92"/>
                    <a:pt x="685" y="92"/>
                    <a:pt x="685" y="91"/>
                  </a:cubicBezTo>
                  <a:cubicBezTo>
                    <a:pt x="685" y="91"/>
                    <a:pt x="685" y="92"/>
                    <a:pt x="685" y="92"/>
                  </a:cubicBezTo>
                  <a:close/>
                  <a:moveTo>
                    <a:pt x="548" y="11"/>
                  </a:moveTo>
                  <a:cubicBezTo>
                    <a:pt x="548" y="11"/>
                    <a:pt x="548" y="11"/>
                    <a:pt x="549" y="10"/>
                  </a:cubicBezTo>
                  <a:cubicBezTo>
                    <a:pt x="548" y="10"/>
                    <a:pt x="548" y="10"/>
                    <a:pt x="548" y="11"/>
                  </a:cubicBezTo>
                  <a:close/>
                  <a:moveTo>
                    <a:pt x="600" y="55"/>
                  </a:moveTo>
                  <a:cubicBezTo>
                    <a:pt x="600" y="54"/>
                    <a:pt x="600" y="54"/>
                    <a:pt x="600" y="54"/>
                  </a:cubicBezTo>
                  <a:cubicBezTo>
                    <a:pt x="600" y="54"/>
                    <a:pt x="600" y="54"/>
                    <a:pt x="600" y="55"/>
                  </a:cubicBezTo>
                  <a:close/>
                  <a:moveTo>
                    <a:pt x="769" y="91"/>
                  </a:moveTo>
                  <a:cubicBezTo>
                    <a:pt x="769" y="92"/>
                    <a:pt x="770" y="92"/>
                    <a:pt x="770" y="92"/>
                  </a:cubicBezTo>
                  <a:cubicBezTo>
                    <a:pt x="770" y="91"/>
                    <a:pt x="770" y="91"/>
                    <a:pt x="769" y="91"/>
                  </a:cubicBezTo>
                  <a:close/>
                  <a:moveTo>
                    <a:pt x="792" y="92"/>
                  </a:moveTo>
                  <a:cubicBezTo>
                    <a:pt x="792" y="92"/>
                    <a:pt x="792" y="92"/>
                    <a:pt x="792" y="91"/>
                  </a:cubicBezTo>
                  <a:cubicBezTo>
                    <a:pt x="792" y="91"/>
                    <a:pt x="792" y="91"/>
                    <a:pt x="792" y="92"/>
                  </a:cubicBezTo>
                  <a:close/>
                  <a:moveTo>
                    <a:pt x="977" y="11"/>
                  </a:moveTo>
                  <a:cubicBezTo>
                    <a:pt x="977" y="11"/>
                    <a:pt x="977" y="11"/>
                    <a:pt x="977" y="10"/>
                  </a:cubicBezTo>
                  <a:cubicBezTo>
                    <a:pt x="977" y="10"/>
                    <a:pt x="977" y="10"/>
                    <a:pt x="977" y="11"/>
                  </a:cubicBezTo>
                  <a:close/>
                  <a:moveTo>
                    <a:pt x="1352" y="11"/>
                  </a:moveTo>
                  <a:cubicBezTo>
                    <a:pt x="1352" y="11"/>
                    <a:pt x="1352" y="11"/>
                    <a:pt x="1352" y="10"/>
                  </a:cubicBezTo>
                  <a:cubicBezTo>
                    <a:pt x="1352" y="10"/>
                    <a:pt x="1352" y="10"/>
                    <a:pt x="1352" y="11"/>
                  </a:cubicBezTo>
                  <a:close/>
                  <a:moveTo>
                    <a:pt x="1051" y="91"/>
                  </a:moveTo>
                  <a:cubicBezTo>
                    <a:pt x="1052" y="92"/>
                    <a:pt x="1052" y="92"/>
                    <a:pt x="1052" y="92"/>
                  </a:cubicBezTo>
                  <a:cubicBezTo>
                    <a:pt x="1052" y="91"/>
                    <a:pt x="1052" y="91"/>
                    <a:pt x="1051" y="91"/>
                  </a:cubicBezTo>
                  <a:close/>
                  <a:moveTo>
                    <a:pt x="1074" y="92"/>
                  </a:moveTo>
                  <a:cubicBezTo>
                    <a:pt x="1074" y="92"/>
                    <a:pt x="1074" y="92"/>
                    <a:pt x="1075" y="91"/>
                  </a:cubicBezTo>
                  <a:cubicBezTo>
                    <a:pt x="1074" y="91"/>
                    <a:pt x="1074" y="91"/>
                    <a:pt x="1074" y="92"/>
                  </a:cubicBezTo>
                  <a:close/>
                  <a:moveTo>
                    <a:pt x="1202" y="92"/>
                  </a:moveTo>
                  <a:cubicBezTo>
                    <a:pt x="1202" y="92"/>
                    <a:pt x="1202" y="92"/>
                    <a:pt x="1202" y="92"/>
                  </a:cubicBezTo>
                  <a:cubicBezTo>
                    <a:pt x="1202" y="91"/>
                    <a:pt x="1202" y="91"/>
                    <a:pt x="1202" y="92"/>
                  </a:cubicBezTo>
                  <a:close/>
                  <a:moveTo>
                    <a:pt x="1229" y="91"/>
                  </a:moveTo>
                  <a:cubicBezTo>
                    <a:pt x="1229" y="92"/>
                    <a:pt x="1229" y="92"/>
                    <a:pt x="1230" y="92"/>
                  </a:cubicBezTo>
                  <a:cubicBezTo>
                    <a:pt x="1230" y="91"/>
                    <a:pt x="1229" y="91"/>
                    <a:pt x="1229" y="91"/>
                  </a:cubicBezTo>
                  <a:close/>
                  <a:moveTo>
                    <a:pt x="1387" y="10"/>
                  </a:moveTo>
                  <a:cubicBezTo>
                    <a:pt x="1387" y="11"/>
                    <a:pt x="1387" y="11"/>
                    <a:pt x="1388" y="11"/>
                  </a:cubicBezTo>
                  <a:cubicBezTo>
                    <a:pt x="1388" y="10"/>
                    <a:pt x="1387" y="10"/>
                    <a:pt x="1387" y="10"/>
                  </a:cubicBezTo>
                  <a:close/>
                  <a:moveTo>
                    <a:pt x="1418" y="92"/>
                  </a:moveTo>
                  <a:cubicBezTo>
                    <a:pt x="1418" y="92"/>
                    <a:pt x="1418" y="92"/>
                    <a:pt x="1417" y="91"/>
                  </a:cubicBezTo>
                  <a:cubicBezTo>
                    <a:pt x="1417" y="92"/>
                    <a:pt x="1417" y="92"/>
                    <a:pt x="1418" y="92"/>
                  </a:cubicBezTo>
                  <a:close/>
                  <a:moveTo>
                    <a:pt x="1683" y="91"/>
                  </a:moveTo>
                  <a:cubicBezTo>
                    <a:pt x="1683" y="92"/>
                    <a:pt x="1683" y="92"/>
                    <a:pt x="1684" y="92"/>
                  </a:cubicBezTo>
                  <a:cubicBezTo>
                    <a:pt x="1684" y="92"/>
                    <a:pt x="1684" y="92"/>
                    <a:pt x="1683" y="91"/>
                  </a:cubicBezTo>
                  <a:close/>
                  <a:moveTo>
                    <a:pt x="635" y="61"/>
                  </a:moveTo>
                  <a:cubicBezTo>
                    <a:pt x="635" y="61"/>
                    <a:pt x="635" y="60"/>
                    <a:pt x="635" y="60"/>
                  </a:cubicBezTo>
                  <a:cubicBezTo>
                    <a:pt x="635" y="60"/>
                    <a:pt x="635" y="61"/>
                    <a:pt x="635" y="61"/>
                  </a:cubicBezTo>
                  <a:close/>
                  <a:moveTo>
                    <a:pt x="633" y="92"/>
                  </a:moveTo>
                  <a:cubicBezTo>
                    <a:pt x="633" y="92"/>
                    <a:pt x="633" y="92"/>
                    <a:pt x="633" y="92"/>
                  </a:cubicBezTo>
                  <a:cubicBezTo>
                    <a:pt x="633" y="92"/>
                    <a:pt x="633" y="92"/>
                    <a:pt x="633" y="92"/>
                  </a:cubicBezTo>
                  <a:close/>
                  <a:moveTo>
                    <a:pt x="666" y="92"/>
                  </a:moveTo>
                  <a:cubicBezTo>
                    <a:pt x="666" y="92"/>
                    <a:pt x="666" y="92"/>
                    <a:pt x="667" y="92"/>
                  </a:cubicBezTo>
                  <a:cubicBezTo>
                    <a:pt x="666" y="92"/>
                    <a:pt x="666" y="92"/>
                    <a:pt x="666" y="92"/>
                  </a:cubicBezTo>
                  <a:close/>
                  <a:moveTo>
                    <a:pt x="698" y="92"/>
                  </a:moveTo>
                  <a:cubicBezTo>
                    <a:pt x="698" y="92"/>
                    <a:pt x="698" y="92"/>
                    <a:pt x="698" y="92"/>
                  </a:cubicBezTo>
                  <a:cubicBezTo>
                    <a:pt x="698" y="92"/>
                    <a:pt x="698" y="92"/>
                    <a:pt x="698" y="92"/>
                  </a:cubicBezTo>
                  <a:close/>
                  <a:moveTo>
                    <a:pt x="729" y="92"/>
                  </a:moveTo>
                  <a:cubicBezTo>
                    <a:pt x="729" y="92"/>
                    <a:pt x="729" y="92"/>
                    <a:pt x="729" y="92"/>
                  </a:cubicBezTo>
                  <a:cubicBezTo>
                    <a:pt x="729" y="92"/>
                    <a:pt x="729" y="92"/>
                    <a:pt x="729" y="92"/>
                  </a:cubicBezTo>
                  <a:close/>
                  <a:moveTo>
                    <a:pt x="741" y="92"/>
                  </a:moveTo>
                  <a:cubicBezTo>
                    <a:pt x="741" y="92"/>
                    <a:pt x="742" y="92"/>
                    <a:pt x="742" y="92"/>
                  </a:cubicBezTo>
                  <a:cubicBezTo>
                    <a:pt x="741" y="92"/>
                    <a:pt x="741" y="92"/>
                    <a:pt x="741" y="92"/>
                  </a:cubicBezTo>
                  <a:close/>
                  <a:moveTo>
                    <a:pt x="770" y="92"/>
                  </a:moveTo>
                  <a:cubicBezTo>
                    <a:pt x="770" y="92"/>
                    <a:pt x="770" y="92"/>
                    <a:pt x="771" y="92"/>
                  </a:cubicBezTo>
                  <a:cubicBezTo>
                    <a:pt x="770" y="92"/>
                    <a:pt x="770" y="92"/>
                    <a:pt x="770" y="92"/>
                  </a:cubicBezTo>
                  <a:close/>
                  <a:moveTo>
                    <a:pt x="1290" y="55"/>
                  </a:moveTo>
                  <a:cubicBezTo>
                    <a:pt x="1290" y="55"/>
                    <a:pt x="1290" y="55"/>
                    <a:pt x="1290" y="56"/>
                  </a:cubicBezTo>
                  <a:cubicBezTo>
                    <a:pt x="1290" y="55"/>
                    <a:pt x="1290" y="55"/>
                    <a:pt x="1290" y="55"/>
                  </a:cubicBezTo>
                  <a:close/>
                  <a:moveTo>
                    <a:pt x="646" y="60"/>
                  </a:moveTo>
                  <a:cubicBezTo>
                    <a:pt x="645" y="60"/>
                    <a:pt x="645" y="60"/>
                    <a:pt x="645" y="61"/>
                  </a:cubicBezTo>
                  <a:cubicBezTo>
                    <a:pt x="646" y="61"/>
                    <a:pt x="646" y="60"/>
                    <a:pt x="646" y="60"/>
                  </a:cubicBezTo>
                  <a:close/>
                  <a:moveTo>
                    <a:pt x="675" y="60"/>
                  </a:moveTo>
                  <a:cubicBezTo>
                    <a:pt x="675" y="60"/>
                    <a:pt x="675" y="60"/>
                    <a:pt x="676" y="60"/>
                  </a:cubicBezTo>
                  <a:cubicBezTo>
                    <a:pt x="675" y="60"/>
                    <a:pt x="675" y="60"/>
                    <a:pt x="675" y="60"/>
                  </a:cubicBezTo>
                  <a:close/>
                  <a:moveTo>
                    <a:pt x="1036" y="92"/>
                  </a:moveTo>
                  <a:cubicBezTo>
                    <a:pt x="1036" y="92"/>
                    <a:pt x="1036" y="92"/>
                    <a:pt x="1036" y="92"/>
                  </a:cubicBezTo>
                  <a:cubicBezTo>
                    <a:pt x="1036" y="92"/>
                    <a:pt x="1036" y="92"/>
                    <a:pt x="1036" y="92"/>
                  </a:cubicBezTo>
                  <a:close/>
                  <a:moveTo>
                    <a:pt x="1052" y="92"/>
                  </a:moveTo>
                  <a:cubicBezTo>
                    <a:pt x="1052" y="92"/>
                    <a:pt x="1053" y="92"/>
                    <a:pt x="1053" y="92"/>
                  </a:cubicBezTo>
                  <a:cubicBezTo>
                    <a:pt x="1053" y="92"/>
                    <a:pt x="1053" y="92"/>
                    <a:pt x="1052" y="92"/>
                  </a:cubicBezTo>
                  <a:close/>
                  <a:moveTo>
                    <a:pt x="1073" y="92"/>
                  </a:moveTo>
                  <a:cubicBezTo>
                    <a:pt x="1073" y="92"/>
                    <a:pt x="1073" y="92"/>
                    <a:pt x="1074" y="92"/>
                  </a:cubicBezTo>
                  <a:cubicBezTo>
                    <a:pt x="1073" y="92"/>
                    <a:pt x="1073" y="92"/>
                    <a:pt x="1073" y="92"/>
                  </a:cubicBezTo>
                  <a:close/>
                  <a:moveTo>
                    <a:pt x="803" y="49"/>
                  </a:moveTo>
                  <a:cubicBezTo>
                    <a:pt x="803" y="49"/>
                    <a:pt x="803" y="49"/>
                    <a:pt x="803" y="49"/>
                  </a:cubicBezTo>
                  <a:cubicBezTo>
                    <a:pt x="803" y="49"/>
                    <a:pt x="803" y="49"/>
                    <a:pt x="803" y="49"/>
                  </a:cubicBezTo>
                  <a:close/>
                  <a:moveTo>
                    <a:pt x="1214" y="92"/>
                  </a:moveTo>
                  <a:cubicBezTo>
                    <a:pt x="1214" y="92"/>
                    <a:pt x="1214" y="92"/>
                    <a:pt x="1213" y="92"/>
                  </a:cubicBezTo>
                  <a:cubicBezTo>
                    <a:pt x="1213" y="92"/>
                    <a:pt x="1214" y="92"/>
                    <a:pt x="1214" y="92"/>
                  </a:cubicBezTo>
                  <a:close/>
                  <a:moveTo>
                    <a:pt x="1230" y="92"/>
                  </a:moveTo>
                  <a:cubicBezTo>
                    <a:pt x="1230" y="92"/>
                    <a:pt x="1230" y="92"/>
                    <a:pt x="1231" y="92"/>
                  </a:cubicBezTo>
                  <a:cubicBezTo>
                    <a:pt x="1231" y="92"/>
                    <a:pt x="1230" y="92"/>
                    <a:pt x="1230" y="92"/>
                  </a:cubicBezTo>
                  <a:close/>
                  <a:moveTo>
                    <a:pt x="1251" y="92"/>
                  </a:moveTo>
                  <a:cubicBezTo>
                    <a:pt x="1251" y="92"/>
                    <a:pt x="1251" y="92"/>
                    <a:pt x="1251" y="92"/>
                  </a:cubicBezTo>
                  <a:cubicBezTo>
                    <a:pt x="1251" y="92"/>
                    <a:pt x="1251" y="92"/>
                    <a:pt x="1251" y="92"/>
                  </a:cubicBezTo>
                  <a:close/>
                  <a:moveTo>
                    <a:pt x="1462" y="92"/>
                  </a:moveTo>
                  <a:cubicBezTo>
                    <a:pt x="1461" y="92"/>
                    <a:pt x="1461" y="92"/>
                    <a:pt x="1461" y="92"/>
                  </a:cubicBezTo>
                  <a:cubicBezTo>
                    <a:pt x="1462" y="92"/>
                    <a:pt x="1462" y="92"/>
                    <a:pt x="1462" y="92"/>
                  </a:cubicBezTo>
                  <a:close/>
                  <a:moveTo>
                    <a:pt x="637" y="54"/>
                  </a:moveTo>
                  <a:cubicBezTo>
                    <a:pt x="637" y="54"/>
                    <a:pt x="637" y="54"/>
                    <a:pt x="637" y="53"/>
                  </a:cubicBezTo>
                  <a:cubicBezTo>
                    <a:pt x="637" y="54"/>
                    <a:pt x="637" y="54"/>
                    <a:pt x="637" y="54"/>
                  </a:cubicBezTo>
                  <a:close/>
                  <a:moveTo>
                    <a:pt x="572" y="53"/>
                  </a:moveTo>
                  <a:cubicBezTo>
                    <a:pt x="572" y="54"/>
                    <a:pt x="573" y="54"/>
                    <a:pt x="573" y="54"/>
                  </a:cubicBezTo>
                  <a:cubicBezTo>
                    <a:pt x="573" y="54"/>
                    <a:pt x="573" y="53"/>
                    <a:pt x="572" y="53"/>
                  </a:cubicBezTo>
                  <a:close/>
                  <a:moveTo>
                    <a:pt x="615" y="93"/>
                  </a:moveTo>
                  <a:cubicBezTo>
                    <a:pt x="615" y="93"/>
                    <a:pt x="615" y="92"/>
                    <a:pt x="615" y="92"/>
                  </a:cubicBezTo>
                  <a:cubicBezTo>
                    <a:pt x="615" y="92"/>
                    <a:pt x="615" y="93"/>
                    <a:pt x="615" y="93"/>
                  </a:cubicBezTo>
                  <a:close/>
                  <a:moveTo>
                    <a:pt x="1498" y="11"/>
                  </a:moveTo>
                  <a:cubicBezTo>
                    <a:pt x="1499" y="11"/>
                    <a:pt x="1499" y="11"/>
                    <a:pt x="1499" y="10"/>
                  </a:cubicBezTo>
                  <a:cubicBezTo>
                    <a:pt x="1499" y="10"/>
                    <a:pt x="1498" y="10"/>
                    <a:pt x="1498" y="11"/>
                  </a:cubicBezTo>
                  <a:close/>
                  <a:moveTo>
                    <a:pt x="684" y="92"/>
                  </a:moveTo>
                  <a:cubicBezTo>
                    <a:pt x="684" y="92"/>
                    <a:pt x="684" y="92"/>
                    <a:pt x="684" y="92"/>
                  </a:cubicBezTo>
                  <a:cubicBezTo>
                    <a:pt x="684" y="92"/>
                    <a:pt x="684" y="92"/>
                    <a:pt x="684" y="92"/>
                  </a:cubicBezTo>
                  <a:close/>
                  <a:moveTo>
                    <a:pt x="740" y="93"/>
                  </a:moveTo>
                  <a:cubicBezTo>
                    <a:pt x="741" y="93"/>
                    <a:pt x="741" y="92"/>
                    <a:pt x="741" y="92"/>
                  </a:cubicBezTo>
                  <a:cubicBezTo>
                    <a:pt x="741" y="92"/>
                    <a:pt x="741" y="92"/>
                    <a:pt x="740" y="93"/>
                  </a:cubicBezTo>
                  <a:close/>
                  <a:moveTo>
                    <a:pt x="771" y="92"/>
                  </a:moveTo>
                  <a:cubicBezTo>
                    <a:pt x="771" y="92"/>
                    <a:pt x="771" y="92"/>
                    <a:pt x="772" y="92"/>
                  </a:cubicBezTo>
                  <a:cubicBezTo>
                    <a:pt x="771" y="92"/>
                    <a:pt x="771" y="92"/>
                    <a:pt x="771" y="92"/>
                  </a:cubicBezTo>
                  <a:close/>
                  <a:moveTo>
                    <a:pt x="1536" y="11"/>
                  </a:moveTo>
                  <a:cubicBezTo>
                    <a:pt x="1536" y="11"/>
                    <a:pt x="1536" y="11"/>
                    <a:pt x="1536" y="10"/>
                  </a:cubicBezTo>
                  <a:cubicBezTo>
                    <a:pt x="1536" y="10"/>
                    <a:pt x="1536" y="10"/>
                    <a:pt x="1536" y="11"/>
                  </a:cubicBezTo>
                  <a:close/>
                  <a:moveTo>
                    <a:pt x="1367" y="61"/>
                  </a:moveTo>
                  <a:cubicBezTo>
                    <a:pt x="1368" y="60"/>
                    <a:pt x="1368" y="60"/>
                    <a:pt x="1368" y="60"/>
                  </a:cubicBezTo>
                  <a:cubicBezTo>
                    <a:pt x="1368" y="60"/>
                    <a:pt x="1367" y="60"/>
                    <a:pt x="1367" y="61"/>
                  </a:cubicBezTo>
                  <a:close/>
                  <a:moveTo>
                    <a:pt x="1671" y="10"/>
                  </a:moveTo>
                  <a:cubicBezTo>
                    <a:pt x="1671" y="11"/>
                    <a:pt x="1672" y="11"/>
                    <a:pt x="1672" y="11"/>
                  </a:cubicBezTo>
                  <a:cubicBezTo>
                    <a:pt x="1672" y="10"/>
                    <a:pt x="1671" y="10"/>
                    <a:pt x="1671" y="10"/>
                  </a:cubicBezTo>
                  <a:close/>
                  <a:moveTo>
                    <a:pt x="1053" y="92"/>
                  </a:moveTo>
                  <a:cubicBezTo>
                    <a:pt x="1053" y="92"/>
                    <a:pt x="1053" y="92"/>
                    <a:pt x="1054" y="92"/>
                  </a:cubicBezTo>
                  <a:cubicBezTo>
                    <a:pt x="1053" y="92"/>
                    <a:pt x="1053" y="92"/>
                    <a:pt x="1053" y="92"/>
                  </a:cubicBezTo>
                  <a:close/>
                  <a:moveTo>
                    <a:pt x="1072" y="92"/>
                  </a:moveTo>
                  <a:cubicBezTo>
                    <a:pt x="1072" y="92"/>
                    <a:pt x="1072" y="92"/>
                    <a:pt x="1073" y="92"/>
                  </a:cubicBezTo>
                  <a:cubicBezTo>
                    <a:pt x="1072" y="92"/>
                    <a:pt x="1072" y="92"/>
                    <a:pt x="1072" y="92"/>
                  </a:cubicBezTo>
                  <a:close/>
                  <a:moveTo>
                    <a:pt x="1704" y="11"/>
                  </a:moveTo>
                  <a:cubicBezTo>
                    <a:pt x="1704" y="11"/>
                    <a:pt x="1704" y="11"/>
                    <a:pt x="1705" y="10"/>
                  </a:cubicBezTo>
                  <a:cubicBezTo>
                    <a:pt x="1704" y="10"/>
                    <a:pt x="1704" y="10"/>
                    <a:pt x="1704" y="11"/>
                  </a:cubicBezTo>
                  <a:close/>
                  <a:moveTo>
                    <a:pt x="1189" y="92"/>
                  </a:moveTo>
                  <a:cubicBezTo>
                    <a:pt x="1189" y="92"/>
                    <a:pt x="1189" y="93"/>
                    <a:pt x="1190" y="93"/>
                  </a:cubicBezTo>
                  <a:cubicBezTo>
                    <a:pt x="1190" y="92"/>
                    <a:pt x="1189" y="92"/>
                    <a:pt x="1189" y="92"/>
                  </a:cubicBezTo>
                  <a:close/>
                  <a:moveTo>
                    <a:pt x="1201" y="92"/>
                  </a:moveTo>
                  <a:cubicBezTo>
                    <a:pt x="1201" y="92"/>
                    <a:pt x="1201" y="92"/>
                    <a:pt x="1201" y="92"/>
                  </a:cubicBezTo>
                  <a:cubicBezTo>
                    <a:pt x="1201" y="92"/>
                    <a:pt x="1201" y="92"/>
                    <a:pt x="1201" y="92"/>
                  </a:cubicBezTo>
                  <a:close/>
                  <a:moveTo>
                    <a:pt x="1231" y="92"/>
                  </a:moveTo>
                  <a:cubicBezTo>
                    <a:pt x="1231" y="92"/>
                    <a:pt x="1231" y="92"/>
                    <a:pt x="1232" y="92"/>
                  </a:cubicBezTo>
                  <a:cubicBezTo>
                    <a:pt x="1231" y="92"/>
                    <a:pt x="1231" y="92"/>
                    <a:pt x="1231" y="92"/>
                  </a:cubicBezTo>
                  <a:close/>
                  <a:moveTo>
                    <a:pt x="1250" y="92"/>
                  </a:moveTo>
                  <a:cubicBezTo>
                    <a:pt x="1250" y="92"/>
                    <a:pt x="1250" y="92"/>
                    <a:pt x="1250" y="92"/>
                  </a:cubicBezTo>
                  <a:cubicBezTo>
                    <a:pt x="1250" y="92"/>
                    <a:pt x="1250" y="92"/>
                    <a:pt x="1250" y="92"/>
                  </a:cubicBezTo>
                  <a:close/>
                  <a:moveTo>
                    <a:pt x="1671" y="93"/>
                  </a:moveTo>
                  <a:cubicBezTo>
                    <a:pt x="1671" y="92"/>
                    <a:pt x="1671" y="92"/>
                    <a:pt x="1671" y="92"/>
                  </a:cubicBezTo>
                  <a:cubicBezTo>
                    <a:pt x="1670" y="92"/>
                    <a:pt x="1671" y="93"/>
                    <a:pt x="1671" y="93"/>
                  </a:cubicBezTo>
                  <a:close/>
                  <a:moveTo>
                    <a:pt x="1684" y="92"/>
                  </a:moveTo>
                  <a:cubicBezTo>
                    <a:pt x="1684" y="92"/>
                    <a:pt x="1684" y="93"/>
                    <a:pt x="1684" y="93"/>
                  </a:cubicBezTo>
                  <a:cubicBezTo>
                    <a:pt x="1684" y="93"/>
                    <a:pt x="1684" y="92"/>
                    <a:pt x="1684" y="92"/>
                  </a:cubicBezTo>
                  <a:close/>
                  <a:moveTo>
                    <a:pt x="585" y="92"/>
                  </a:moveTo>
                  <a:cubicBezTo>
                    <a:pt x="584" y="93"/>
                    <a:pt x="584" y="93"/>
                    <a:pt x="584" y="93"/>
                  </a:cubicBezTo>
                  <a:cubicBezTo>
                    <a:pt x="585" y="93"/>
                    <a:pt x="585" y="93"/>
                    <a:pt x="585" y="92"/>
                  </a:cubicBezTo>
                  <a:close/>
                  <a:moveTo>
                    <a:pt x="633" y="92"/>
                  </a:moveTo>
                  <a:cubicBezTo>
                    <a:pt x="633" y="93"/>
                    <a:pt x="632" y="93"/>
                    <a:pt x="632" y="93"/>
                  </a:cubicBezTo>
                  <a:cubicBezTo>
                    <a:pt x="633" y="93"/>
                    <a:pt x="633" y="93"/>
                    <a:pt x="633" y="92"/>
                  </a:cubicBezTo>
                  <a:close/>
                  <a:moveTo>
                    <a:pt x="1739" y="10"/>
                  </a:moveTo>
                  <a:cubicBezTo>
                    <a:pt x="1740" y="11"/>
                    <a:pt x="1740" y="11"/>
                    <a:pt x="1740" y="11"/>
                  </a:cubicBezTo>
                  <a:cubicBezTo>
                    <a:pt x="1740" y="10"/>
                    <a:pt x="1740" y="10"/>
                    <a:pt x="1739" y="10"/>
                  </a:cubicBezTo>
                  <a:close/>
                  <a:moveTo>
                    <a:pt x="683" y="93"/>
                  </a:moveTo>
                  <a:cubicBezTo>
                    <a:pt x="683" y="93"/>
                    <a:pt x="683" y="93"/>
                    <a:pt x="683" y="93"/>
                  </a:cubicBezTo>
                  <a:cubicBezTo>
                    <a:pt x="683" y="92"/>
                    <a:pt x="683" y="92"/>
                    <a:pt x="683" y="93"/>
                  </a:cubicBezTo>
                  <a:close/>
                  <a:moveTo>
                    <a:pt x="698" y="92"/>
                  </a:moveTo>
                  <a:cubicBezTo>
                    <a:pt x="697" y="93"/>
                    <a:pt x="697" y="93"/>
                    <a:pt x="697" y="93"/>
                  </a:cubicBezTo>
                  <a:cubicBezTo>
                    <a:pt x="697" y="93"/>
                    <a:pt x="698" y="93"/>
                    <a:pt x="698" y="92"/>
                  </a:cubicBezTo>
                  <a:close/>
                  <a:moveTo>
                    <a:pt x="976" y="11"/>
                  </a:moveTo>
                  <a:cubicBezTo>
                    <a:pt x="976" y="11"/>
                    <a:pt x="977" y="11"/>
                    <a:pt x="977" y="11"/>
                  </a:cubicBezTo>
                  <a:cubicBezTo>
                    <a:pt x="976" y="11"/>
                    <a:pt x="976" y="11"/>
                    <a:pt x="976" y="11"/>
                  </a:cubicBezTo>
                  <a:close/>
                  <a:moveTo>
                    <a:pt x="730" y="92"/>
                  </a:moveTo>
                  <a:cubicBezTo>
                    <a:pt x="730" y="93"/>
                    <a:pt x="730" y="93"/>
                    <a:pt x="730" y="93"/>
                  </a:cubicBezTo>
                  <a:cubicBezTo>
                    <a:pt x="730" y="93"/>
                    <a:pt x="730" y="92"/>
                    <a:pt x="730" y="92"/>
                  </a:cubicBezTo>
                  <a:close/>
                  <a:moveTo>
                    <a:pt x="740" y="93"/>
                  </a:moveTo>
                  <a:cubicBezTo>
                    <a:pt x="740" y="93"/>
                    <a:pt x="740" y="93"/>
                    <a:pt x="740" y="93"/>
                  </a:cubicBezTo>
                  <a:cubicBezTo>
                    <a:pt x="740" y="92"/>
                    <a:pt x="740" y="93"/>
                    <a:pt x="740" y="93"/>
                  </a:cubicBezTo>
                  <a:close/>
                  <a:moveTo>
                    <a:pt x="1290" y="56"/>
                  </a:moveTo>
                  <a:cubicBezTo>
                    <a:pt x="1289" y="56"/>
                    <a:pt x="1289" y="56"/>
                    <a:pt x="1289" y="57"/>
                  </a:cubicBezTo>
                  <a:cubicBezTo>
                    <a:pt x="1290" y="56"/>
                    <a:pt x="1290" y="56"/>
                    <a:pt x="1290" y="56"/>
                  </a:cubicBezTo>
                  <a:close/>
                  <a:moveTo>
                    <a:pt x="909" y="42"/>
                  </a:moveTo>
                  <a:cubicBezTo>
                    <a:pt x="909" y="42"/>
                    <a:pt x="909" y="43"/>
                    <a:pt x="909" y="43"/>
                  </a:cubicBezTo>
                  <a:cubicBezTo>
                    <a:pt x="909" y="42"/>
                    <a:pt x="909" y="42"/>
                    <a:pt x="909" y="42"/>
                  </a:cubicBezTo>
                  <a:close/>
                  <a:moveTo>
                    <a:pt x="1081" y="42"/>
                  </a:moveTo>
                  <a:cubicBezTo>
                    <a:pt x="1081" y="42"/>
                    <a:pt x="1082" y="43"/>
                    <a:pt x="1082" y="43"/>
                  </a:cubicBezTo>
                  <a:cubicBezTo>
                    <a:pt x="1082" y="42"/>
                    <a:pt x="1082" y="42"/>
                    <a:pt x="1081" y="42"/>
                  </a:cubicBezTo>
                  <a:close/>
                  <a:moveTo>
                    <a:pt x="609" y="48"/>
                  </a:moveTo>
                  <a:cubicBezTo>
                    <a:pt x="609" y="48"/>
                    <a:pt x="609" y="49"/>
                    <a:pt x="609" y="49"/>
                  </a:cubicBezTo>
                  <a:cubicBezTo>
                    <a:pt x="609" y="48"/>
                    <a:pt x="609" y="48"/>
                    <a:pt x="609" y="48"/>
                  </a:cubicBezTo>
                  <a:close/>
                  <a:moveTo>
                    <a:pt x="600" y="56"/>
                  </a:moveTo>
                  <a:cubicBezTo>
                    <a:pt x="600" y="55"/>
                    <a:pt x="600" y="55"/>
                    <a:pt x="600" y="55"/>
                  </a:cubicBezTo>
                  <a:cubicBezTo>
                    <a:pt x="600" y="55"/>
                    <a:pt x="600" y="55"/>
                    <a:pt x="600" y="56"/>
                  </a:cubicBezTo>
                  <a:close/>
                  <a:moveTo>
                    <a:pt x="1054" y="93"/>
                  </a:moveTo>
                  <a:cubicBezTo>
                    <a:pt x="1054" y="93"/>
                    <a:pt x="1054" y="93"/>
                    <a:pt x="1055" y="93"/>
                  </a:cubicBezTo>
                  <a:cubicBezTo>
                    <a:pt x="1054" y="92"/>
                    <a:pt x="1054" y="92"/>
                    <a:pt x="1054" y="93"/>
                  </a:cubicBezTo>
                  <a:close/>
                  <a:moveTo>
                    <a:pt x="1672" y="11"/>
                  </a:moveTo>
                  <a:cubicBezTo>
                    <a:pt x="1672" y="11"/>
                    <a:pt x="1672" y="11"/>
                    <a:pt x="1673" y="11"/>
                  </a:cubicBezTo>
                  <a:cubicBezTo>
                    <a:pt x="1672" y="11"/>
                    <a:pt x="1672" y="11"/>
                    <a:pt x="1672" y="11"/>
                  </a:cubicBezTo>
                  <a:close/>
                  <a:moveTo>
                    <a:pt x="1190" y="93"/>
                  </a:moveTo>
                  <a:cubicBezTo>
                    <a:pt x="1190" y="93"/>
                    <a:pt x="1190" y="93"/>
                    <a:pt x="1190" y="93"/>
                  </a:cubicBezTo>
                  <a:cubicBezTo>
                    <a:pt x="1190" y="93"/>
                    <a:pt x="1190" y="92"/>
                    <a:pt x="1190" y="93"/>
                  </a:cubicBezTo>
                  <a:close/>
                  <a:moveTo>
                    <a:pt x="1200" y="93"/>
                  </a:moveTo>
                  <a:cubicBezTo>
                    <a:pt x="1200" y="93"/>
                    <a:pt x="1200" y="93"/>
                    <a:pt x="1201" y="92"/>
                  </a:cubicBezTo>
                  <a:cubicBezTo>
                    <a:pt x="1200" y="92"/>
                    <a:pt x="1200" y="93"/>
                    <a:pt x="1200" y="93"/>
                  </a:cubicBezTo>
                  <a:close/>
                  <a:moveTo>
                    <a:pt x="1232" y="93"/>
                  </a:moveTo>
                  <a:cubicBezTo>
                    <a:pt x="1232" y="93"/>
                    <a:pt x="1232" y="93"/>
                    <a:pt x="1233" y="93"/>
                  </a:cubicBezTo>
                  <a:cubicBezTo>
                    <a:pt x="1232" y="92"/>
                    <a:pt x="1232" y="92"/>
                    <a:pt x="1232" y="93"/>
                  </a:cubicBezTo>
                  <a:close/>
                  <a:moveTo>
                    <a:pt x="547" y="11"/>
                  </a:moveTo>
                  <a:cubicBezTo>
                    <a:pt x="547" y="11"/>
                    <a:pt x="547" y="11"/>
                    <a:pt x="548" y="11"/>
                  </a:cubicBezTo>
                  <a:cubicBezTo>
                    <a:pt x="547" y="11"/>
                    <a:pt x="547" y="11"/>
                    <a:pt x="547" y="11"/>
                  </a:cubicBezTo>
                  <a:close/>
                  <a:moveTo>
                    <a:pt x="1671" y="56"/>
                  </a:moveTo>
                  <a:cubicBezTo>
                    <a:pt x="1671" y="56"/>
                    <a:pt x="1670" y="56"/>
                    <a:pt x="1670" y="56"/>
                  </a:cubicBezTo>
                  <a:cubicBezTo>
                    <a:pt x="1670" y="56"/>
                    <a:pt x="1671" y="56"/>
                    <a:pt x="1671" y="56"/>
                  </a:cubicBezTo>
                  <a:close/>
                  <a:moveTo>
                    <a:pt x="975" y="11"/>
                  </a:moveTo>
                  <a:cubicBezTo>
                    <a:pt x="976" y="11"/>
                    <a:pt x="976" y="11"/>
                    <a:pt x="976" y="11"/>
                  </a:cubicBezTo>
                  <a:cubicBezTo>
                    <a:pt x="976" y="11"/>
                    <a:pt x="975" y="11"/>
                    <a:pt x="975" y="11"/>
                  </a:cubicBezTo>
                  <a:close/>
                  <a:moveTo>
                    <a:pt x="1497" y="11"/>
                  </a:moveTo>
                  <a:cubicBezTo>
                    <a:pt x="1497" y="11"/>
                    <a:pt x="1498" y="11"/>
                    <a:pt x="1498" y="11"/>
                  </a:cubicBezTo>
                  <a:cubicBezTo>
                    <a:pt x="1498" y="11"/>
                    <a:pt x="1497" y="11"/>
                    <a:pt x="1497" y="11"/>
                  </a:cubicBezTo>
                  <a:close/>
                  <a:moveTo>
                    <a:pt x="730" y="93"/>
                  </a:moveTo>
                  <a:cubicBezTo>
                    <a:pt x="731" y="93"/>
                    <a:pt x="731" y="93"/>
                    <a:pt x="731" y="93"/>
                  </a:cubicBezTo>
                  <a:cubicBezTo>
                    <a:pt x="731" y="93"/>
                    <a:pt x="731" y="93"/>
                    <a:pt x="730" y="93"/>
                  </a:cubicBezTo>
                  <a:close/>
                  <a:moveTo>
                    <a:pt x="739" y="93"/>
                  </a:moveTo>
                  <a:cubicBezTo>
                    <a:pt x="739" y="93"/>
                    <a:pt x="740" y="93"/>
                    <a:pt x="740" y="93"/>
                  </a:cubicBezTo>
                  <a:cubicBezTo>
                    <a:pt x="739" y="93"/>
                    <a:pt x="739" y="93"/>
                    <a:pt x="739" y="93"/>
                  </a:cubicBezTo>
                  <a:close/>
                  <a:moveTo>
                    <a:pt x="1535" y="11"/>
                  </a:moveTo>
                  <a:cubicBezTo>
                    <a:pt x="1535" y="11"/>
                    <a:pt x="1535" y="11"/>
                    <a:pt x="1535" y="11"/>
                  </a:cubicBezTo>
                  <a:cubicBezTo>
                    <a:pt x="1535" y="11"/>
                    <a:pt x="1535" y="11"/>
                    <a:pt x="1535" y="11"/>
                  </a:cubicBezTo>
                  <a:close/>
                  <a:moveTo>
                    <a:pt x="676" y="60"/>
                  </a:moveTo>
                  <a:cubicBezTo>
                    <a:pt x="676" y="61"/>
                    <a:pt x="676" y="61"/>
                    <a:pt x="676" y="61"/>
                  </a:cubicBezTo>
                  <a:cubicBezTo>
                    <a:pt x="676" y="61"/>
                    <a:pt x="676" y="60"/>
                    <a:pt x="676" y="60"/>
                  </a:cubicBezTo>
                  <a:close/>
                  <a:moveTo>
                    <a:pt x="650" y="49"/>
                  </a:moveTo>
                  <a:cubicBezTo>
                    <a:pt x="650" y="49"/>
                    <a:pt x="650" y="49"/>
                    <a:pt x="650" y="49"/>
                  </a:cubicBezTo>
                  <a:cubicBezTo>
                    <a:pt x="650" y="49"/>
                    <a:pt x="650" y="49"/>
                    <a:pt x="650" y="49"/>
                  </a:cubicBezTo>
                  <a:close/>
                  <a:moveTo>
                    <a:pt x="1746" y="48"/>
                  </a:moveTo>
                  <a:cubicBezTo>
                    <a:pt x="1746" y="48"/>
                    <a:pt x="1746" y="48"/>
                    <a:pt x="1746" y="48"/>
                  </a:cubicBezTo>
                  <a:cubicBezTo>
                    <a:pt x="1746" y="48"/>
                    <a:pt x="1746" y="48"/>
                    <a:pt x="1746" y="48"/>
                  </a:cubicBezTo>
                  <a:close/>
                  <a:moveTo>
                    <a:pt x="1572" y="11"/>
                  </a:moveTo>
                  <a:cubicBezTo>
                    <a:pt x="1572" y="11"/>
                    <a:pt x="1573" y="11"/>
                    <a:pt x="1573" y="11"/>
                  </a:cubicBezTo>
                  <a:cubicBezTo>
                    <a:pt x="1573" y="11"/>
                    <a:pt x="1573" y="11"/>
                    <a:pt x="1572" y="11"/>
                  </a:cubicBezTo>
                  <a:close/>
                  <a:moveTo>
                    <a:pt x="670" y="56"/>
                  </a:moveTo>
                  <a:cubicBezTo>
                    <a:pt x="670" y="56"/>
                    <a:pt x="670" y="56"/>
                    <a:pt x="671" y="56"/>
                  </a:cubicBezTo>
                  <a:cubicBezTo>
                    <a:pt x="671" y="56"/>
                    <a:pt x="671" y="56"/>
                    <a:pt x="670" y="56"/>
                  </a:cubicBezTo>
                  <a:close/>
                  <a:moveTo>
                    <a:pt x="1190" y="93"/>
                  </a:moveTo>
                  <a:cubicBezTo>
                    <a:pt x="1191" y="93"/>
                    <a:pt x="1191" y="93"/>
                    <a:pt x="1191" y="93"/>
                  </a:cubicBezTo>
                  <a:cubicBezTo>
                    <a:pt x="1191" y="93"/>
                    <a:pt x="1191" y="93"/>
                    <a:pt x="1190" y="93"/>
                  </a:cubicBezTo>
                  <a:close/>
                  <a:moveTo>
                    <a:pt x="1199" y="93"/>
                  </a:moveTo>
                  <a:cubicBezTo>
                    <a:pt x="1199" y="93"/>
                    <a:pt x="1199" y="93"/>
                    <a:pt x="1200" y="93"/>
                  </a:cubicBezTo>
                  <a:cubicBezTo>
                    <a:pt x="1199" y="93"/>
                    <a:pt x="1199" y="93"/>
                    <a:pt x="1199" y="93"/>
                  </a:cubicBezTo>
                  <a:close/>
                  <a:moveTo>
                    <a:pt x="1703" y="11"/>
                  </a:moveTo>
                  <a:cubicBezTo>
                    <a:pt x="1703" y="11"/>
                    <a:pt x="1703" y="11"/>
                    <a:pt x="1704" y="11"/>
                  </a:cubicBezTo>
                  <a:cubicBezTo>
                    <a:pt x="1703" y="11"/>
                    <a:pt x="1703" y="11"/>
                    <a:pt x="1703" y="11"/>
                  </a:cubicBezTo>
                  <a:close/>
                  <a:moveTo>
                    <a:pt x="1290" y="43"/>
                  </a:moveTo>
                  <a:cubicBezTo>
                    <a:pt x="1291" y="43"/>
                    <a:pt x="1291" y="42"/>
                    <a:pt x="1291" y="42"/>
                  </a:cubicBezTo>
                  <a:cubicBezTo>
                    <a:pt x="1290" y="42"/>
                    <a:pt x="1290" y="42"/>
                    <a:pt x="1290" y="43"/>
                  </a:cubicBezTo>
                  <a:close/>
                  <a:moveTo>
                    <a:pt x="1671" y="94"/>
                  </a:moveTo>
                  <a:cubicBezTo>
                    <a:pt x="1671" y="93"/>
                    <a:pt x="1671" y="93"/>
                    <a:pt x="1671" y="93"/>
                  </a:cubicBezTo>
                  <a:cubicBezTo>
                    <a:pt x="1671" y="93"/>
                    <a:pt x="1671" y="93"/>
                    <a:pt x="1671" y="94"/>
                  </a:cubicBezTo>
                  <a:close/>
                  <a:moveTo>
                    <a:pt x="1684" y="93"/>
                  </a:moveTo>
                  <a:cubicBezTo>
                    <a:pt x="1684" y="93"/>
                    <a:pt x="1684" y="93"/>
                    <a:pt x="1684" y="94"/>
                  </a:cubicBezTo>
                  <a:cubicBezTo>
                    <a:pt x="1684" y="93"/>
                    <a:pt x="1684" y="93"/>
                    <a:pt x="1684" y="93"/>
                  </a:cubicBezTo>
                  <a:close/>
                  <a:moveTo>
                    <a:pt x="615" y="94"/>
                  </a:moveTo>
                  <a:cubicBezTo>
                    <a:pt x="615" y="94"/>
                    <a:pt x="615" y="93"/>
                    <a:pt x="615" y="93"/>
                  </a:cubicBezTo>
                  <a:cubicBezTo>
                    <a:pt x="615" y="93"/>
                    <a:pt x="615" y="94"/>
                    <a:pt x="615" y="94"/>
                  </a:cubicBezTo>
                  <a:close/>
                  <a:moveTo>
                    <a:pt x="975" y="12"/>
                  </a:moveTo>
                  <a:cubicBezTo>
                    <a:pt x="975" y="12"/>
                    <a:pt x="975" y="12"/>
                    <a:pt x="975" y="11"/>
                  </a:cubicBezTo>
                  <a:cubicBezTo>
                    <a:pt x="975" y="11"/>
                    <a:pt x="975" y="11"/>
                    <a:pt x="975" y="12"/>
                  </a:cubicBezTo>
                  <a:close/>
                  <a:moveTo>
                    <a:pt x="1551" y="61"/>
                  </a:moveTo>
                  <a:cubicBezTo>
                    <a:pt x="1551" y="61"/>
                    <a:pt x="1552" y="61"/>
                    <a:pt x="1552" y="60"/>
                  </a:cubicBezTo>
                  <a:cubicBezTo>
                    <a:pt x="1551" y="60"/>
                    <a:pt x="1551" y="61"/>
                    <a:pt x="1551" y="61"/>
                  </a:cubicBezTo>
                  <a:close/>
                  <a:moveTo>
                    <a:pt x="596" y="43"/>
                  </a:moveTo>
                  <a:cubicBezTo>
                    <a:pt x="596" y="43"/>
                    <a:pt x="596" y="42"/>
                    <a:pt x="595" y="42"/>
                  </a:cubicBezTo>
                  <a:cubicBezTo>
                    <a:pt x="595" y="43"/>
                    <a:pt x="595" y="43"/>
                    <a:pt x="596" y="43"/>
                  </a:cubicBezTo>
                  <a:close/>
                  <a:moveTo>
                    <a:pt x="614" y="61"/>
                  </a:moveTo>
                  <a:cubicBezTo>
                    <a:pt x="614" y="61"/>
                    <a:pt x="614" y="61"/>
                    <a:pt x="614" y="62"/>
                  </a:cubicBezTo>
                  <a:cubicBezTo>
                    <a:pt x="614" y="61"/>
                    <a:pt x="614" y="61"/>
                    <a:pt x="614" y="61"/>
                  </a:cubicBezTo>
                  <a:close/>
                  <a:moveTo>
                    <a:pt x="1673" y="11"/>
                  </a:moveTo>
                  <a:cubicBezTo>
                    <a:pt x="1673" y="12"/>
                    <a:pt x="1673" y="12"/>
                    <a:pt x="1674" y="12"/>
                  </a:cubicBezTo>
                  <a:cubicBezTo>
                    <a:pt x="1673" y="11"/>
                    <a:pt x="1673" y="11"/>
                    <a:pt x="1673" y="11"/>
                  </a:cubicBezTo>
                  <a:close/>
                  <a:moveTo>
                    <a:pt x="676" y="61"/>
                  </a:moveTo>
                  <a:cubicBezTo>
                    <a:pt x="676" y="61"/>
                    <a:pt x="677" y="61"/>
                    <a:pt x="677" y="61"/>
                  </a:cubicBezTo>
                  <a:cubicBezTo>
                    <a:pt x="677" y="61"/>
                    <a:pt x="677" y="61"/>
                    <a:pt x="676" y="61"/>
                  </a:cubicBezTo>
                  <a:close/>
                  <a:moveTo>
                    <a:pt x="1393" y="49"/>
                  </a:moveTo>
                  <a:cubicBezTo>
                    <a:pt x="1393" y="49"/>
                    <a:pt x="1393" y="49"/>
                    <a:pt x="1393" y="49"/>
                  </a:cubicBezTo>
                  <a:cubicBezTo>
                    <a:pt x="1393" y="49"/>
                    <a:pt x="1393" y="49"/>
                    <a:pt x="1393" y="49"/>
                  </a:cubicBezTo>
                  <a:close/>
                  <a:moveTo>
                    <a:pt x="1291" y="52"/>
                  </a:moveTo>
                  <a:cubicBezTo>
                    <a:pt x="1291" y="52"/>
                    <a:pt x="1291" y="52"/>
                    <a:pt x="1291" y="52"/>
                  </a:cubicBezTo>
                  <a:cubicBezTo>
                    <a:pt x="1291" y="52"/>
                    <a:pt x="1291" y="52"/>
                    <a:pt x="1291" y="52"/>
                  </a:cubicBezTo>
                  <a:close/>
                  <a:moveTo>
                    <a:pt x="1176" y="94"/>
                  </a:moveTo>
                  <a:cubicBezTo>
                    <a:pt x="1176" y="94"/>
                    <a:pt x="1176" y="93"/>
                    <a:pt x="1176" y="93"/>
                  </a:cubicBezTo>
                  <a:cubicBezTo>
                    <a:pt x="1176" y="93"/>
                    <a:pt x="1176" y="94"/>
                    <a:pt x="1176" y="94"/>
                  </a:cubicBezTo>
                  <a:close/>
                  <a:moveTo>
                    <a:pt x="974" y="12"/>
                  </a:moveTo>
                  <a:cubicBezTo>
                    <a:pt x="974" y="12"/>
                    <a:pt x="975" y="12"/>
                    <a:pt x="975" y="12"/>
                  </a:cubicBezTo>
                  <a:cubicBezTo>
                    <a:pt x="974" y="12"/>
                    <a:pt x="974" y="12"/>
                    <a:pt x="974" y="12"/>
                  </a:cubicBezTo>
                  <a:close/>
                  <a:moveTo>
                    <a:pt x="1350" y="12"/>
                  </a:moveTo>
                  <a:cubicBezTo>
                    <a:pt x="1350" y="12"/>
                    <a:pt x="1350" y="12"/>
                    <a:pt x="1350" y="12"/>
                  </a:cubicBezTo>
                  <a:cubicBezTo>
                    <a:pt x="1350" y="12"/>
                    <a:pt x="1350" y="12"/>
                    <a:pt x="1350" y="12"/>
                  </a:cubicBezTo>
                  <a:close/>
                  <a:moveTo>
                    <a:pt x="603" y="62"/>
                  </a:moveTo>
                  <a:cubicBezTo>
                    <a:pt x="603" y="62"/>
                    <a:pt x="603" y="61"/>
                    <a:pt x="603" y="61"/>
                  </a:cubicBezTo>
                  <a:cubicBezTo>
                    <a:pt x="603" y="61"/>
                    <a:pt x="603" y="62"/>
                    <a:pt x="603" y="62"/>
                  </a:cubicBezTo>
                  <a:close/>
                  <a:moveTo>
                    <a:pt x="634" y="62"/>
                  </a:moveTo>
                  <a:cubicBezTo>
                    <a:pt x="635" y="62"/>
                    <a:pt x="635" y="61"/>
                    <a:pt x="635" y="61"/>
                  </a:cubicBezTo>
                  <a:cubicBezTo>
                    <a:pt x="634" y="61"/>
                    <a:pt x="634" y="62"/>
                    <a:pt x="634" y="62"/>
                  </a:cubicBezTo>
                  <a:close/>
                  <a:moveTo>
                    <a:pt x="677" y="61"/>
                  </a:moveTo>
                  <a:cubicBezTo>
                    <a:pt x="677" y="61"/>
                    <a:pt x="677" y="62"/>
                    <a:pt x="678" y="62"/>
                  </a:cubicBezTo>
                  <a:cubicBezTo>
                    <a:pt x="678" y="61"/>
                    <a:pt x="677" y="61"/>
                    <a:pt x="677" y="61"/>
                  </a:cubicBezTo>
                  <a:close/>
                  <a:moveTo>
                    <a:pt x="1461" y="93"/>
                  </a:moveTo>
                  <a:cubicBezTo>
                    <a:pt x="1460" y="93"/>
                    <a:pt x="1460" y="94"/>
                    <a:pt x="1460" y="94"/>
                  </a:cubicBezTo>
                  <a:cubicBezTo>
                    <a:pt x="1460" y="94"/>
                    <a:pt x="1461" y="93"/>
                    <a:pt x="1461" y="93"/>
                  </a:cubicBezTo>
                  <a:close/>
                  <a:moveTo>
                    <a:pt x="632" y="93"/>
                  </a:moveTo>
                  <a:cubicBezTo>
                    <a:pt x="632" y="94"/>
                    <a:pt x="632" y="94"/>
                    <a:pt x="632" y="94"/>
                  </a:cubicBezTo>
                  <a:cubicBezTo>
                    <a:pt x="632" y="94"/>
                    <a:pt x="632" y="94"/>
                    <a:pt x="632" y="93"/>
                  </a:cubicBezTo>
                  <a:close/>
                  <a:moveTo>
                    <a:pt x="1578" y="48"/>
                  </a:moveTo>
                  <a:cubicBezTo>
                    <a:pt x="1578" y="48"/>
                    <a:pt x="1578" y="48"/>
                    <a:pt x="1577" y="48"/>
                  </a:cubicBezTo>
                  <a:cubicBezTo>
                    <a:pt x="1578" y="48"/>
                    <a:pt x="1578" y="48"/>
                    <a:pt x="1578" y="48"/>
                  </a:cubicBezTo>
                  <a:close/>
                  <a:moveTo>
                    <a:pt x="697" y="94"/>
                  </a:moveTo>
                  <a:cubicBezTo>
                    <a:pt x="697" y="94"/>
                    <a:pt x="696" y="94"/>
                    <a:pt x="696" y="94"/>
                  </a:cubicBezTo>
                  <a:cubicBezTo>
                    <a:pt x="697" y="94"/>
                    <a:pt x="697" y="94"/>
                    <a:pt x="697" y="94"/>
                  </a:cubicBezTo>
                  <a:close/>
                  <a:moveTo>
                    <a:pt x="716" y="94"/>
                  </a:moveTo>
                  <a:cubicBezTo>
                    <a:pt x="716" y="94"/>
                    <a:pt x="716" y="94"/>
                    <a:pt x="716" y="93"/>
                  </a:cubicBezTo>
                  <a:cubicBezTo>
                    <a:pt x="716" y="94"/>
                    <a:pt x="716" y="94"/>
                    <a:pt x="716" y="94"/>
                  </a:cubicBezTo>
                  <a:close/>
                  <a:moveTo>
                    <a:pt x="1143" y="52"/>
                  </a:moveTo>
                  <a:cubicBezTo>
                    <a:pt x="1143" y="52"/>
                    <a:pt x="1143" y="52"/>
                    <a:pt x="1142" y="52"/>
                  </a:cubicBezTo>
                  <a:cubicBezTo>
                    <a:pt x="1142" y="52"/>
                    <a:pt x="1142" y="52"/>
                    <a:pt x="1143" y="52"/>
                  </a:cubicBezTo>
                  <a:close/>
                  <a:moveTo>
                    <a:pt x="1113" y="52"/>
                  </a:moveTo>
                  <a:cubicBezTo>
                    <a:pt x="1113" y="52"/>
                    <a:pt x="1112" y="52"/>
                    <a:pt x="1112" y="52"/>
                  </a:cubicBezTo>
                  <a:cubicBezTo>
                    <a:pt x="1113" y="52"/>
                    <a:pt x="1113" y="52"/>
                    <a:pt x="1113" y="52"/>
                  </a:cubicBezTo>
                  <a:close/>
                  <a:moveTo>
                    <a:pt x="598" y="49"/>
                  </a:moveTo>
                  <a:cubicBezTo>
                    <a:pt x="598" y="49"/>
                    <a:pt x="598" y="49"/>
                    <a:pt x="598" y="49"/>
                  </a:cubicBezTo>
                  <a:cubicBezTo>
                    <a:pt x="598" y="49"/>
                    <a:pt x="598" y="49"/>
                    <a:pt x="598" y="49"/>
                  </a:cubicBezTo>
                  <a:close/>
                  <a:moveTo>
                    <a:pt x="1496" y="12"/>
                  </a:moveTo>
                  <a:cubicBezTo>
                    <a:pt x="1496" y="12"/>
                    <a:pt x="1497" y="12"/>
                    <a:pt x="1497" y="12"/>
                  </a:cubicBezTo>
                  <a:cubicBezTo>
                    <a:pt x="1496" y="12"/>
                    <a:pt x="1496" y="12"/>
                    <a:pt x="1496" y="12"/>
                  </a:cubicBezTo>
                  <a:close/>
                  <a:moveTo>
                    <a:pt x="1674" y="12"/>
                  </a:moveTo>
                  <a:cubicBezTo>
                    <a:pt x="1674" y="12"/>
                    <a:pt x="1674" y="12"/>
                    <a:pt x="1674" y="12"/>
                  </a:cubicBezTo>
                  <a:cubicBezTo>
                    <a:pt x="1674" y="12"/>
                    <a:pt x="1674" y="12"/>
                    <a:pt x="1674" y="12"/>
                  </a:cubicBezTo>
                  <a:close/>
                  <a:moveTo>
                    <a:pt x="1209" y="55"/>
                  </a:moveTo>
                  <a:cubicBezTo>
                    <a:pt x="1209" y="55"/>
                    <a:pt x="1209" y="54"/>
                    <a:pt x="1209" y="54"/>
                  </a:cubicBezTo>
                  <a:cubicBezTo>
                    <a:pt x="1209" y="54"/>
                    <a:pt x="1209" y="55"/>
                    <a:pt x="1209" y="55"/>
                  </a:cubicBezTo>
                  <a:close/>
                  <a:moveTo>
                    <a:pt x="1671" y="94"/>
                  </a:moveTo>
                  <a:cubicBezTo>
                    <a:pt x="1672" y="94"/>
                    <a:pt x="1671" y="94"/>
                    <a:pt x="1671" y="94"/>
                  </a:cubicBezTo>
                  <a:cubicBezTo>
                    <a:pt x="1671" y="94"/>
                    <a:pt x="1671" y="94"/>
                    <a:pt x="1671" y="94"/>
                  </a:cubicBezTo>
                  <a:close/>
                  <a:moveTo>
                    <a:pt x="1684" y="94"/>
                  </a:moveTo>
                  <a:cubicBezTo>
                    <a:pt x="1684" y="94"/>
                    <a:pt x="1684" y="94"/>
                    <a:pt x="1685" y="94"/>
                  </a:cubicBezTo>
                  <a:cubicBezTo>
                    <a:pt x="1685" y="94"/>
                    <a:pt x="1685" y="94"/>
                    <a:pt x="1684" y="94"/>
                  </a:cubicBezTo>
                  <a:close/>
                  <a:moveTo>
                    <a:pt x="616" y="95"/>
                  </a:moveTo>
                  <a:cubicBezTo>
                    <a:pt x="616" y="94"/>
                    <a:pt x="616" y="94"/>
                    <a:pt x="615" y="94"/>
                  </a:cubicBezTo>
                  <a:cubicBezTo>
                    <a:pt x="615" y="94"/>
                    <a:pt x="615" y="94"/>
                    <a:pt x="616" y="95"/>
                  </a:cubicBezTo>
                  <a:close/>
                  <a:moveTo>
                    <a:pt x="632" y="94"/>
                  </a:moveTo>
                  <a:cubicBezTo>
                    <a:pt x="632" y="94"/>
                    <a:pt x="632" y="95"/>
                    <a:pt x="632" y="95"/>
                  </a:cubicBezTo>
                  <a:cubicBezTo>
                    <a:pt x="632" y="95"/>
                    <a:pt x="632" y="94"/>
                    <a:pt x="632" y="94"/>
                  </a:cubicBezTo>
                  <a:close/>
                  <a:moveTo>
                    <a:pt x="717" y="95"/>
                  </a:moveTo>
                  <a:cubicBezTo>
                    <a:pt x="717" y="95"/>
                    <a:pt x="717" y="94"/>
                    <a:pt x="716" y="94"/>
                  </a:cubicBezTo>
                  <a:cubicBezTo>
                    <a:pt x="716" y="94"/>
                    <a:pt x="716" y="95"/>
                    <a:pt x="717" y="95"/>
                  </a:cubicBezTo>
                  <a:close/>
                  <a:moveTo>
                    <a:pt x="1177" y="95"/>
                  </a:moveTo>
                  <a:cubicBezTo>
                    <a:pt x="1177" y="95"/>
                    <a:pt x="1177" y="94"/>
                    <a:pt x="1176" y="94"/>
                  </a:cubicBezTo>
                  <a:cubicBezTo>
                    <a:pt x="1176" y="94"/>
                    <a:pt x="1176" y="95"/>
                    <a:pt x="1177" y="95"/>
                  </a:cubicBezTo>
                  <a:close/>
                  <a:moveTo>
                    <a:pt x="866" y="42"/>
                  </a:moveTo>
                  <a:cubicBezTo>
                    <a:pt x="866" y="43"/>
                    <a:pt x="866" y="43"/>
                    <a:pt x="867" y="43"/>
                  </a:cubicBezTo>
                  <a:cubicBezTo>
                    <a:pt x="867" y="43"/>
                    <a:pt x="867" y="42"/>
                    <a:pt x="866" y="42"/>
                  </a:cubicBezTo>
                  <a:close/>
                  <a:moveTo>
                    <a:pt x="1685" y="94"/>
                  </a:moveTo>
                  <a:cubicBezTo>
                    <a:pt x="1685" y="95"/>
                    <a:pt x="1685" y="95"/>
                    <a:pt x="1685" y="95"/>
                  </a:cubicBezTo>
                  <a:cubicBezTo>
                    <a:pt x="1685" y="95"/>
                    <a:pt x="1685" y="94"/>
                    <a:pt x="1685" y="94"/>
                  </a:cubicBezTo>
                  <a:close/>
                  <a:moveTo>
                    <a:pt x="968" y="95"/>
                  </a:moveTo>
                  <a:cubicBezTo>
                    <a:pt x="968" y="95"/>
                    <a:pt x="968" y="95"/>
                    <a:pt x="967" y="94"/>
                  </a:cubicBezTo>
                  <a:cubicBezTo>
                    <a:pt x="967" y="95"/>
                    <a:pt x="968" y="95"/>
                    <a:pt x="968" y="95"/>
                  </a:cubicBezTo>
                  <a:close/>
                  <a:moveTo>
                    <a:pt x="1672" y="95"/>
                  </a:moveTo>
                  <a:cubicBezTo>
                    <a:pt x="1672" y="95"/>
                    <a:pt x="1672" y="95"/>
                    <a:pt x="1672" y="94"/>
                  </a:cubicBezTo>
                  <a:cubicBezTo>
                    <a:pt x="1672" y="95"/>
                    <a:pt x="1672" y="95"/>
                    <a:pt x="1672" y="95"/>
                  </a:cubicBezTo>
                  <a:close/>
                  <a:moveTo>
                    <a:pt x="616" y="96"/>
                  </a:moveTo>
                  <a:cubicBezTo>
                    <a:pt x="616" y="95"/>
                    <a:pt x="616" y="95"/>
                    <a:pt x="616" y="95"/>
                  </a:cubicBezTo>
                  <a:cubicBezTo>
                    <a:pt x="616" y="95"/>
                    <a:pt x="616" y="95"/>
                    <a:pt x="616" y="96"/>
                  </a:cubicBezTo>
                  <a:close/>
                  <a:moveTo>
                    <a:pt x="873" y="52"/>
                  </a:moveTo>
                  <a:cubicBezTo>
                    <a:pt x="872" y="53"/>
                    <a:pt x="872" y="53"/>
                    <a:pt x="872" y="53"/>
                  </a:cubicBezTo>
                  <a:cubicBezTo>
                    <a:pt x="873" y="53"/>
                    <a:pt x="873" y="53"/>
                    <a:pt x="873" y="52"/>
                  </a:cubicBezTo>
                  <a:close/>
                  <a:moveTo>
                    <a:pt x="717" y="96"/>
                  </a:moveTo>
                  <a:cubicBezTo>
                    <a:pt x="717" y="95"/>
                    <a:pt x="717" y="95"/>
                    <a:pt x="717" y="95"/>
                  </a:cubicBezTo>
                  <a:cubicBezTo>
                    <a:pt x="717" y="95"/>
                    <a:pt x="717" y="95"/>
                    <a:pt x="717" y="96"/>
                  </a:cubicBezTo>
                  <a:close/>
                  <a:moveTo>
                    <a:pt x="1177" y="96"/>
                  </a:moveTo>
                  <a:cubicBezTo>
                    <a:pt x="1177" y="95"/>
                    <a:pt x="1177" y="95"/>
                    <a:pt x="1177" y="95"/>
                  </a:cubicBezTo>
                  <a:cubicBezTo>
                    <a:pt x="1177" y="95"/>
                    <a:pt x="1177" y="95"/>
                    <a:pt x="1177" y="96"/>
                  </a:cubicBezTo>
                  <a:close/>
                  <a:moveTo>
                    <a:pt x="632" y="95"/>
                  </a:moveTo>
                  <a:cubicBezTo>
                    <a:pt x="631" y="95"/>
                    <a:pt x="631" y="96"/>
                    <a:pt x="631" y="96"/>
                  </a:cubicBezTo>
                  <a:cubicBezTo>
                    <a:pt x="632" y="96"/>
                    <a:pt x="632" y="95"/>
                    <a:pt x="632" y="95"/>
                  </a:cubicBezTo>
                  <a:close/>
                  <a:moveTo>
                    <a:pt x="883" y="42"/>
                  </a:moveTo>
                  <a:cubicBezTo>
                    <a:pt x="883" y="42"/>
                    <a:pt x="883" y="42"/>
                    <a:pt x="883" y="43"/>
                  </a:cubicBezTo>
                  <a:cubicBezTo>
                    <a:pt x="883" y="43"/>
                    <a:pt x="883" y="43"/>
                    <a:pt x="883" y="42"/>
                  </a:cubicBezTo>
                  <a:close/>
                  <a:moveTo>
                    <a:pt x="1672" y="96"/>
                  </a:moveTo>
                  <a:cubicBezTo>
                    <a:pt x="1672" y="96"/>
                    <a:pt x="1672" y="95"/>
                    <a:pt x="1672" y="95"/>
                  </a:cubicBezTo>
                  <a:cubicBezTo>
                    <a:pt x="1672" y="96"/>
                    <a:pt x="1672" y="96"/>
                    <a:pt x="1672" y="96"/>
                  </a:cubicBezTo>
                  <a:close/>
                  <a:moveTo>
                    <a:pt x="1495" y="12"/>
                  </a:moveTo>
                  <a:cubicBezTo>
                    <a:pt x="1496" y="12"/>
                    <a:pt x="1496" y="12"/>
                    <a:pt x="1496" y="12"/>
                  </a:cubicBezTo>
                  <a:cubicBezTo>
                    <a:pt x="1496" y="12"/>
                    <a:pt x="1496" y="12"/>
                    <a:pt x="1495" y="12"/>
                  </a:cubicBezTo>
                  <a:close/>
                  <a:moveTo>
                    <a:pt x="717" y="96"/>
                  </a:moveTo>
                  <a:cubicBezTo>
                    <a:pt x="717" y="96"/>
                    <a:pt x="717" y="96"/>
                    <a:pt x="717" y="96"/>
                  </a:cubicBezTo>
                  <a:cubicBezTo>
                    <a:pt x="717" y="96"/>
                    <a:pt x="717" y="96"/>
                    <a:pt x="717" y="96"/>
                  </a:cubicBezTo>
                  <a:close/>
                  <a:moveTo>
                    <a:pt x="631" y="96"/>
                  </a:moveTo>
                  <a:cubicBezTo>
                    <a:pt x="631" y="96"/>
                    <a:pt x="631" y="96"/>
                    <a:pt x="631" y="97"/>
                  </a:cubicBezTo>
                  <a:cubicBezTo>
                    <a:pt x="631" y="96"/>
                    <a:pt x="631" y="96"/>
                    <a:pt x="631" y="96"/>
                  </a:cubicBezTo>
                  <a:close/>
                  <a:moveTo>
                    <a:pt x="1533" y="13"/>
                  </a:moveTo>
                  <a:cubicBezTo>
                    <a:pt x="1534" y="12"/>
                    <a:pt x="1534" y="12"/>
                    <a:pt x="1534" y="12"/>
                  </a:cubicBezTo>
                  <a:cubicBezTo>
                    <a:pt x="1534" y="12"/>
                    <a:pt x="1533" y="12"/>
                    <a:pt x="1533" y="13"/>
                  </a:cubicBezTo>
                  <a:close/>
                  <a:moveTo>
                    <a:pt x="1178" y="97"/>
                  </a:moveTo>
                  <a:cubicBezTo>
                    <a:pt x="1178" y="96"/>
                    <a:pt x="1177" y="96"/>
                    <a:pt x="1177" y="96"/>
                  </a:cubicBezTo>
                  <a:cubicBezTo>
                    <a:pt x="1177" y="96"/>
                    <a:pt x="1177" y="97"/>
                    <a:pt x="1178" y="97"/>
                  </a:cubicBezTo>
                  <a:close/>
                  <a:moveTo>
                    <a:pt x="1673" y="97"/>
                  </a:moveTo>
                  <a:cubicBezTo>
                    <a:pt x="1673" y="96"/>
                    <a:pt x="1672" y="96"/>
                    <a:pt x="1672" y="96"/>
                  </a:cubicBezTo>
                  <a:cubicBezTo>
                    <a:pt x="1672" y="96"/>
                    <a:pt x="1672" y="96"/>
                    <a:pt x="1673" y="97"/>
                  </a:cubicBezTo>
                  <a:close/>
                  <a:moveTo>
                    <a:pt x="1685" y="96"/>
                  </a:moveTo>
                  <a:cubicBezTo>
                    <a:pt x="1685" y="96"/>
                    <a:pt x="1686" y="96"/>
                    <a:pt x="1686" y="97"/>
                  </a:cubicBezTo>
                  <a:cubicBezTo>
                    <a:pt x="1686" y="96"/>
                    <a:pt x="1686" y="96"/>
                    <a:pt x="1685" y="96"/>
                  </a:cubicBezTo>
                  <a:close/>
                  <a:moveTo>
                    <a:pt x="581" y="96"/>
                  </a:moveTo>
                  <a:cubicBezTo>
                    <a:pt x="581" y="96"/>
                    <a:pt x="581" y="96"/>
                    <a:pt x="581" y="97"/>
                  </a:cubicBezTo>
                  <a:cubicBezTo>
                    <a:pt x="581" y="97"/>
                    <a:pt x="581" y="97"/>
                    <a:pt x="581" y="96"/>
                  </a:cubicBezTo>
                  <a:close/>
                  <a:moveTo>
                    <a:pt x="765" y="35"/>
                  </a:moveTo>
                  <a:cubicBezTo>
                    <a:pt x="765" y="35"/>
                    <a:pt x="766" y="35"/>
                    <a:pt x="766" y="35"/>
                  </a:cubicBezTo>
                  <a:cubicBezTo>
                    <a:pt x="766" y="35"/>
                    <a:pt x="765" y="35"/>
                    <a:pt x="765" y="35"/>
                  </a:cubicBezTo>
                  <a:close/>
                  <a:moveTo>
                    <a:pt x="678" y="62"/>
                  </a:moveTo>
                  <a:cubicBezTo>
                    <a:pt x="678" y="62"/>
                    <a:pt x="678" y="62"/>
                    <a:pt x="678" y="62"/>
                  </a:cubicBezTo>
                  <a:cubicBezTo>
                    <a:pt x="678" y="62"/>
                    <a:pt x="678" y="61"/>
                    <a:pt x="678" y="62"/>
                  </a:cubicBezTo>
                  <a:close/>
                  <a:moveTo>
                    <a:pt x="617" y="97"/>
                  </a:moveTo>
                  <a:cubicBezTo>
                    <a:pt x="617" y="97"/>
                    <a:pt x="617" y="97"/>
                    <a:pt x="616" y="97"/>
                  </a:cubicBezTo>
                  <a:cubicBezTo>
                    <a:pt x="616" y="97"/>
                    <a:pt x="616" y="97"/>
                    <a:pt x="617" y="97"/>
                  </a:cubicBezTo>
                  <a:close/>
                  <a:moveTo>
                    <a:pt x="1151" y="42"/>
                  </a:moveTo>
                  <a:cubicBezTo>
                    <a:pt x="1151" y="43"/>
                    <a:pt x="1151" y="43"/>
                    <a:pt x="1151" y="43"/>
                  </a:cubicBezTo>
                  <a:cubicBezTo>
                    <a:pt x="1151" y="43"/>
                    <a:pt x="1151" y="42"/>
                    <a:pt x="1151" y="42"/>
                  </a:cubicBezTo>
                  <a:close/>
                  <a:moveTo>
                    <a:pt x="971" y="97"/>
                  </a:moveTo>
                  <a:cubicBezTo>
                    <a:pt x="971" y="97"/>
                    <a:pt x="971" y="97"/>
                    <a:pt x="970" y="97"/>
                  </a:cubicBezTo>
                  <a:cubicBezTo>
                    <a:pt x="971" y="97"/>
                    <a:pt x="971" y="97"/>
                    <a:pt x="971" y="97"/>
                  </a:cubicBezTo>
                  <a:close/>
                  <a:moveTo>
                    <a:pt x="564" y="49"/>
                  </a:moveTo>
                  <a:cubicBezTo>
                    <a:pt x="564" y="49"/>
                    <a:pt x="564" y="49"/>
                    <a:pt x="565" y="49"/>
                  </a:cubicBezTo>
                  <a:cubicBezTo>
                    <a:pt x="564" y="49"/>
                    <a:pt x="564" y="49"/>
                    <a:pt x="564" y="49"/>
                  </a:cubicBezTo>
                  <a:close/>
                  <a:moveTo>
                    <a:pt x="1686" y="97"/>
                  </a:moveTo>
                  <a:cubicBezTo>
                    <a:pt x="1686" y="97"/>
                    <a:pt x="1686" y="97"/>
                    <a:pt x="1686" y="97"/>
                  </a:cubicBezTo>
                  <a:cubicBezTo>
                    <a:pt x="1686" y="97"/>
                    <a:pt x="1686" y="97"/>
                    <a:pt x="1686" y="97"/>
                  </a:cubicBezTo>
                  <a:close/>
                  <a:moveTo>
                    <a:pt x="631" y="97"/>
                  </a:moveTo>
                  <a:cubicBezTo>
                    <a:pt x="631" y="97"/>
                    <a:pt x="631" y="97"/>
                    <a:pt x="631" y="98"/>
                  </a:cubicBezTo>
                  <a:cubicBezTo>
                    <a:pt x="631" y="97"/>
                    <a:pt x="631" y="97"/>
                    <a:pt x="631" y="97"/>
                  </a:cubicBezTo>
                  <a:close/>
                  <a:moveTo>
                    <a:pt x="1112" y="54"/>
                  </a:moveTo>
                  <a:cubicBezTo>
                    <a:pt x="1111" y="54"/>
                    <a:pt x="1111" y="55"/>
                    <a:pt x="1111" y="55"/>
                  </a:cubicBezTo>
                  <a:cubicBezTo>
                    <a:pt x="1112" y="55"/>
                    <a:pt x="1112" y="54"/>
                    <a:pt x="1112" y="54"/>
                  </a:cubicBezTo>
                  <a:close/>
                  <a:moveTo>
                    <a:pt x="1178" y="98"/>
                  </a:moveTo>
                  <a:cubicBezTo>
                    <a:pt x="1178" y="97"/>
                    <a:pt x="1178" y="97"/>
                    <a:pt x="1178" y="97"/>
                  </a:cubicBezTo>
                  <a:cubicBezTo>
                    <a:pt x="1178" y="97"/>
                    <a:pt x="1178" y="98"/>
                    <a:pt x="1178" y="98"/>
                  </a:cubicBezTo>
                  <a:close/>
                  <a:moveTo>
                    <a:pt x="1261" y="97"/>
                  </a:moveTo>
                  <a:cubicBezTo>
                    <a:pt x="1260" y="97"/>
                    <a:pt x="1260" y="97"/>
                    <a:pt x="1260" y="97"/>
                  </a:cubicBezTo>
                  <a:cubicBezTo>
                    <a:pt x="1260" y="97"/>
                    <a:pt x="1261" y="97"/>
                    <a:pt x="1261" y="97"/>
                  </a:cubicBezTo>
                  <a:close/>
                  <a:moveTo>
                    <a:pt x="603" y="63"/>
                  </a:moveTo>
                  <a:cubicBezTo>
                    <a:pt x="603" y="62"/>
                    <a:pt x="603" y="62"/>
                    <a:pt x="603" y="62"/>
                  </a:cubicBezTo>
                  <a:cubicBezTo>
                    <a:pt x="603" y="62"/>
                    <a:pt x="603" y="62"/>
                    <a:pt x="603" y="63"/>
                  </a:cubicBezTo>
                  <a:close/>
                  <a:moveTo>
                    <a:pt x="1673" y="98"/>
                  </a:moveTo>
                  <a:cubicBezTo>
                    <a:pt x="1673" y="97"/>
                    <a:pt x="1673" y="97"/>
                    <a:pt x="1673" y="97"/>
                  </a:cubicBezTo>
                  <a:cubicBezTo>
                    <a:pt x="1673" y="97"/>
                    <a:pt x="1673" y="97"/>
                    <a:pt x="1673" y="98"/>
                  </a:cubicBezTo>
                  <a:close/>
                  <a:moveTo>
                    <a:pt x="580" y="97"/>
                  </a:moveTo>
                  <a:cubicBezTo>
                    <a:pt x="580" y="97"/>
                    <a:pt x="579" y="97"/>
                    <a:pt x="579" y="98"/>
                  </a:cubicBezTo>
                  <a:cubicBezTo>
                    <a:pt x="580" y="98"/>
                    <a:pt x="580" y="98"/>
                    <a:pt x="580" y="97"/>
                  </a:cubicBezTo>
                  <a:close/>
                  <a:moveTo>
                    <a:pt x="1702" y="12"/>
                  </a:moveTo>
                  <a:cubicBezTo>
                    <a:pt x="1702" y="12"/>
                    <a:pt x="1702" y="12"/>
                    <a:pt x="1702" y="12"/>
                  </a:cubicBezTo>
                  <a:cubicBezTo>
                    <a:pt x="1702" y="12"/>
                    <a:pt x="1702" y="12"/>
                    <a:pt x="1702" y="12"/>
                  </a:cubicBezTo>
                  <a:close/>
                  <a:moveTo>
                    <a:pt x="972" y="98"/>
                  </a:moveTo>
                  <a:cubicBezTo>
                    <a:pt x="972" y="97"/>
                    <a:pt x="972" y="97"/>
                    <a:pt x="972" y="97"/>
                  </a:cubicBezTo>
                  <a:cubicBezTo>
                    <a:pt x="972" y="98"/>
                    <a:pt x="972" y="98"/>
                    <a:pt x="972" y="98"/>
                  </a:cubicBezTo>
                  <a:close/>
                  <a:moveTo>
                    <a:pt x="1082" y="97"/>
                  </a:moveTo>
                  <a:cubicBezTo>
                    <a:pt x="1082" y="97"/>
                    <a:pt x="1082" y="97"/>
                    <a:pt x="1082" y="98"/>
                  </a:cubicBezTo>
                  <a:cubicBezTo>
                    <a:pt x="1082" y="98"/>
                    <a:pt x="1082" y="98"/>
                    <a:pt x="1082" y="97"/>
                  </a:cubicBezTo>
                  <a:close/>
                  <a:moveTo>
                    <a:pt x="614" y="62"/>
                  </a:moveTo>
                  <a:cubicBezTo>
                    <a:pt x="614" y="62"/>
                    <a:pt x="614" y="62"/>
                    <a:pt x="614" y="63"/>
                  </a:cubicBezTo>
                  <a:cubicBezTo>
                    <a:pt x="614" y="62"/>
                    <a:pt x="614" y="62"/>
                    <a:pt x="614" y="62"/>
                  </a:cubicBezTo>
                  <a:close/>
                  <a:moveTo>
                    <a:pt x="1686" y="97"/>
                  </a:moveTo>
                  <a:cubicBezTo>
                    <a:pt x="1686" y="98"/>
                    <a:pt x="1686" y="98"/>
                    <a:pt x="1686" y="98"/>
                  </a:cubicBezTo>
                  <a:cubicBezTo>
                    <a:pt x="1686" y="98"/>
                    <a:pt x="1686" y="97"/>
                    <a:pt x="1686" y="97"/>
                  </a:cubicBezTo>
                  <a:close/>
                  <a:moveTo>
                    <a:pt x="631" y="98"/>
                  </a:moveTo>
                  <a:cubicBezTo>
                    <a:pt x="630" y="98"/>
                    <a:pt x="630" y="98"/>
                    <a:pt x="630" y="98"/>
                  </a:cubicBezTo>
                  <a:cubicBezTo>
                    <a:pt x="631" y="98"/>
                    <a:pt x="631" y="98"/>
                    <a:pt x="631" y="98"/>
                  </a:cubicBezTo>
                  <a:close/>
                  <a:moveTo>
                    <a:pt x="800" y="98"/>
                  </a:moveTo>
                  <a:cubicBezTo>
                    <a:pt x="800" y="98"/>
                    <a:pt x="799" y="98"/>
                    <a:pt x="799" y="98"/>
                  </a:cubicBezTo>
                  <a:cubicBezTo>
                    <a:pt x="799" y="98"/>
                    <a:pt x="800" y="98"/>
                    <a:pt x="800" y="98"/>
                  </a:cubicBezTo>
                  <a:close/>
                  <a:moveTo>
                    <a:pt x="973" y="98"/>
                  </a:moveTo>
                  <a:cubicBezTo>
                    <a:pt x="973" y="98"/>
                    <a:pt x="973" y="98"/>
                    <a:pt x="972" y="98"/>
                  </a:cubicBezTo>
                  <a:cubicBezTo>
                    <a:pt x="972" y="98"/>
                    <a:pt x="973" y="98"/>
                    <a:pt x="973" y="98"/>
                  </a:cubicBezTo>
                  <a:close/>
                  <a:moveTo>
                    <a:pt x="1042" y="98"/>
                  </a:moveTo>
                  <a:cubicBezTo>
                    <a:pt x="1042" y="98"/>
                    <a:pt x="1041" y="98"/>
                    <a:pt x="1041" y="98"/>
                  </a:cubicBezTo>
                  <a:cubicBezTo>
                    <a:pt x="1041" y="98"/>
                    <a:pt x="1041" y="98"/>
                    <a:pt x="1042" y="98"/>
                  </a:cubicBezTo>
                  <a:close/>
                  <a:moveTo>
                    <a:pt x="1082" y="98"/>
                  </a:moveTo>
                  <a:cubicBezTo>
                    <a:pt x="1082" y="98"/>
                    <a:pt x="1081" y="98"/>
                    <a:pt x="1081" y="98"/>
                  </a:cubicBezTo>
                  <a:cubicBezTo>
                    <a:pt x="1081" y="98"/>
                    <a:pt x="1082" y="98"/>
                    <a:pt x="1082" y="98"/>
                  </a:cubicBezTo>
                  <a:close/>
                  <a:moveTo>
                    <a:pt x="1260" y="98"/>
                  </a:moveTo>
                  <a:cubicBezTo>
                    <a:pt x="1259" y="98"/>
                    <a:pt x="1259" y="98"/>
                    <a:pt x="1259" y="98"/>
                  </a:cubicBezTo>
                  <a:cubicBezTo>
                    <a:pt x="1259" y="98"/>
                    <a:pt x="1260" y="98"/>
                    <a:pt x="1260" y="98"/>
                  </a:cubicBezTo>
                  <a:close/>
                  <a:moveTo>
                    <a:pt x="1673" y="98"/>
                  </a:moveTo>
                  <a:cubicBezTo>
                    <a:pt x="1673" y="98"/>
                    <a:pt x="1673" y="98"/>
                    <a:pt x="1673" y="98"/>
                  </a:cubicBezTo>
                  <a:cubicBezTo>
                    <a:pt x="1673" y="98"/>
                    <a:pt x="1673" y="98"/>
                    <a:pt x="1673" y="98"/>
                  </a:cubicBezTo>
                  <a:close/>
                  <a:moveTo>
                    <a:pt x="579" y="98"/>
                  </a:moveTo>
                  <a:cubicBezTo>
                    <a:pt x="579" y="98"/>
                    <a:pt x="578" y="98"/>
                    <a:pt x="578" y="98"/>
                  </a:cubicBezTo>
                  <a:cubicBezTo>
                    <a:pt x="578" y="98"/>
                    <a:pt x="579" y="98"/>
                    <a:pt x="579" y="98"/>
                  </a:cubicBezTo>
                  <a:close/>
                  <a:moveTo>
                    <a:pt x="1384" y="43"/>
                  </a:moveTo>
                  <a:cubicBezTo>
                    <a:pt x="1384" y="43"/>
                    <a:pt x="1384" y="43"/>
                    <a:pt x="1384" y="42"/>
                  </a:cubicBezTo>
                  <a:cubicBezTo>
                    <a:pt x="1384" y="43"/>
                    <a:pt x="1384" y="43"/>
                    <a:pt x="1384" y="43"/>
                  </a:cubicBezTo>
                  <a:close/>
                  <a:moveTo>
                    <a:pt x="645" y="62"/>
                  </a:moveTo>
                  <a:cubicBezTo>
                    <a:pt x="645" y="62"/>
                    <a:pt x="645" y="62"/>
                    <a:pt x="645" y="63"/>
                  </a:cubicBezTo>
                  <a:cubicBezTo>
                    <a:pt x="645" y="62"/>
                    <a:pt x="645" y="62"/>
                    <a:pt x="645" y="62"/>
                  </a:cubicBezTo>
                  <a:close/>
                  <a:moveTo>
                    <a:pt x="799" y="98"/>
                  </a:moveTo>
                  <a:cubicBezTo>
                    <a:pt x="799" y="98"/>
                    <a:pt x="799" y="98"/>
                    <a:pt x="799" y="98"/>
                  </a:cubicBezTo>
                  <a:cubicBezTo>
                    <a:pt x="799" y="98"/>
                    <a:pt x="799" y="98"/>
                    <a:pt x="799" y="98"/>
                  </a:cubicBezTo>
                  <a:close/>
                  <a:moveTo>
                    <a:pt x="974" y="98"/>
                  </a:moveTo>
                  <a:cubicBezTo>
                    <a:pt x="973" y="98"/>
                    <a:pt x="973" y="98"/>
                    <a:pt x="973" y="98"/>
                  </a:cubicBezTo>
                  <a:cubicBezTo>
                    <a:pt x="973" y="98"/>
                    <a:pt x="973" y="98"/>
                    <a:pt x="974" y="98"/>
                  </a:cubicBezTo>
                  <a:close/>
                  <a:moveTo>
                    <a:pt x="1220" y="98"/>
                  </a:moveTo>
                  <a:cubicBezTo>
                    <a:pt x="1220" y="98"/>
                    <a:pt x="1220" y="98"/>
                    <a:pt x="1219" y="98"/>
                  </a:cubicBezTo>
                  <a:cubicBezTo>
                    <a:pt x="1219" y="98"/>
                    <a:pt x="1220" y="98"/>
                    <a:pt x="1220" y="98"/>
                  </a:cubicBezTo>
                  <a:close/>
                  <a:moveTo>
                    <a:pt x="1686" y="98"/>
                  </a:moveTo>
                  <a:cubicBezTo>
                    <a:pt x="1686" y="98"/>
                    <a:pt x="1687" y="99"/>
                    <a:pt x="1687" y="99"/>
                  </a:cubicBezTo>
                  <a:cubicBezTo>
                    <a:pt x="1687" y="98"/>
                    <a:pt x="1687" y="98"/>
                    <a:pt x="1686" y="98"/>
                  </a:cubicBezTo>
                  <a:close/>
                  <a:moveTo>
                    <a:pt x="617" y="99"/>
                  </a:moveTo>
                  <a:cubicBezTo>
                    <a:pt x="617" y="99"/>
                    <a:pt x="617" y="99"/>
                    <a:pt x="617" y="98"/>
                  </a:cubicBezTo>
                  <a:cubicBezTo>
                    <a:pt x="617" y="99"/>
                    <a:pt x="617" y="99"/>
                    <a:pt x="617" y="99"/>
                  </a:cubicBezTo>
                  <a:close/>
                  <a:moveTo>
                    <a:pt x="692" y="98"/>
                  </a:moveTo>
                  <a:cubicBezTo>
                    <a:pt x="692" y="98"/>
                    <a:pt x="692" y="98"/>
                    <a:pt x="692" y="99"/>
                  </a:cubicBezTo>
                  <a:cubicBezTo>
                    <a:pt x="692" y="99"/>
                    <a:pt x="692" y="99"/>
                    <a:pt x="692" y="98"/>
                  </a:cubicBezTo>
                  <a:close/>
                  <a:moveTo>
                    <a:pt x="974" y="99"/>
                  </a:moveTo>
                  <a:cubicBezTo>
                    <a:pt x="974" y="98"/>
                    <a:pt x="974" y="98"/>
                    <a:pt x="974" y="98"/>
                  </a:cubicBezTo>
                  <a:cubicBezTo>
                    <a:pt x="974" y="99"/>
                    <a:pt x="974" y="99"/>
                    <a:pt x="974" y="99"/>
                  </a:cubicBezTo>
                  <a:close/>
                  <a:moveTo>
                    <a:pt x="1043" y="99"/>
                  </a:moveTo>
                  <a:cubicBezTo>
                    <a:pt x="1043" y="99"/>
                    <a:pt x="1042" y="98"/>
                    <a:pt x="1042" y="98"/>
                  </a:cubicBezTo>
                  <a:cubicBezTo>
                    <a:pt x="1042" y="99"/>
                    <a:pt x="1043" y="99"/>
                    <a:pt x="1043" y="99"/>
                  </a:cubicBezTo>
                  <a:close/>
                  <a:moveTo>
                    <a:pt x="1081" y="98"/>
                  </a:moveTo>
                  <a:cubicBezTo>
                    <a:pt x="1080" y="98"/>
                    <a:pt x="1080" y="98"/>
                    <a:pt x="1080" y="99"/>
                  </a:cubicBezTo>
                  <a:cubicBezTo>
                    <a:pt x="1080" y="99"/>
                    <a:pt x="1081" y="99"/>
                    <a:pt x="1081" y="98"/>
                  </a:cubicBezTo>
                  <a:close/>
                  <a:moveTo>
                    <a:pt x="1259" y="98"/>
                  </a:moveTo>
                  <a:cubicBezTo>
                    <a:pt x="1258" y="98"/>
                    <a:pt x="1258" y="98"/>
                    <a:pt x="1258" y="99"/>
                  </a:cubicBezTo>
                  <a:cubicBezTo>
                    <a:pt x="1258" y="99"/>
                    <a:pt x="1259" y="99"/>
                    <a:pt x="1259" y="98"/>
                  </a:cubicBezTo>
                  <a:close/>
                  <a:moveTo>
                    <a:pt x="661" y="62"/>
                  </a:moveTo>
                  <a:cubicBezTo>
                    <a:pt x="661" y="62"/>
                    <a:pt x="661" y="62"/>
                    <a:pt x="661" y="62"/>
                  </a:cubicBezTo>
                  <a:cubicBezTo>
                    <a:pt x="661" y="62"/>
                    <a:pt x="661" y="62"/>
                    <a:pt x="661" y="62"/>
                  </a:cubicBezTo>
                  <a:close/>
                  <a:moveTo>
                    <a:pt x="1455" y="98"/>
                  </a:moveTo>
                  <a:cubicBezTo>
                    <a:pt x="1455" y="98"/>
                    <a:pt x="1455" y="98"/>
                    <a:pt x="1455" y="99"/>
                  </a:cubicBezTo>
                  <a:cubicBezTo>
                    <a:pt x="1455" y="99"/>
                    <a:pt x="1455" y="99"/>
                    <a:pt x="1455" y="98"/>
                  </a:cubicBezTo>
                  <a:close/>
                  <a:moveTo>
                    <a:pt x="1674" y="99"/>
                  </a:moveTo>
                  <a:cubicBezTo>
                    <a:pt x="1674" y="99"/>
                    <a:pt x="1674" y="99"/>
                    <a:pt x="1673" y="98"/>
                  </a:cubicBezTo>
                  <a:cubicBezTo>
                    <a:pt x="1673" y="99"/>
                    <a:pt x="1673" y="99"/>
                    <a:pt x="1674" y="99"/>
                  </a:cubicBezTo>
                  <a:close/>
                  <a:moveTo>
                    <a:pt x="578" y="99"/>
                  </a:moveTo>
                  <a:cubicBezTo>
                    <a:pt x="577" y="99"/>
                    <a:pt x="577" y="99"/>
                    <a:pt x="577" y="99"/>
                  </a:cubicBezTo>
                  <a:cubicBezTo>
                    <a:pt x="577" y="99"/>
                    <a:pt x="578" y="99"/>
                    <a:pt x="578" y="99"/>
                  </a:cubicBezTo>
                  <a:close/>
                  <a:moveTo>
                    <a:pt x="630" y="99"/>
                  </a:moveTo>
                  <a:cubicBezTo>
                    <a:pt x="630" y="99"/>
                    <a:pt x="630" y="99"/>
                    <a:pt x="630" y="99"/>
                  </a:cubicBezTo>
                  <a:cubicBezTo>
                    <a:pt x="630" y="99"/>
                    <a:pt x="630" y="99"/>
                    <a:pt x="630" y="99"/>
                  </a:cubicBezTo>
                  <a:close/>
                  <a:moveTo>
                    <a:pt x="761" y="99"/>
                  </a:moveTo>
                  <a:cubicBezTo>
                    <a:pt x="761" y="99"/>
                    <a:pt x="761" y="99"/>
                    <a:pt x="761" y="99"/>
                  </a:cubicBezTo>
                  <a:cubicBezTo>
                    <a:pt x="761" y="99"/>
                    <a:pt x="761" y="99"/>
                    <a:pt x="761" y="99"/>
                  </a:cubicBezTo>
                  <a:close/>
                  <a:moveTo>
                    <a:pt x="798" y="99"/>
                  </a:moveTo>
                  <a:cubicBezTo>
                    <a:pt x="798" y="99"/>
                    <a:pt x="798" y="99"/>
                    <a:pt x="797" y="99"/>
                  </a:cubicBezTo>
                  <a:cubicBezTo>
                    <a:pt x="798" y="99"/>
                    <a:pt x="798" y="99"/>
                    <a:pt x="798" y="99"/>
                  </a:cubicBezTo>
                  <a:close/>
                  <a:moveTo>
                    <a:pt x="975" y="99"/>
                  </a:moveTo>
                  <a:cubicBezTo>
                    <a:pt x="975" y="99"/>
                    <a:pt x="975" y="99"/>
                    <a:pt x="974" y="99"/>
                  </a:cubicBezTo>
                  <a:cubicBezTo>
                    <a:pt x="974" y="99"/>
                    <a:pt x="975" y="99"/>
                    <a:pt x="975" y="99"/>
                  </a:cubicBezTo>
                  <a:close/>
                  <a:moveTo>
                    <a:pt x="1019" y="99"/>
                  </a:moveTo>
                  <a:cubicBezTo>
                    <a:pt x="1019" y="99"/>
                    <a:pt x="1018" y="99"/>
                    <a:pt x="1018" y="99"/>
                  </a:cubicBezTo>
                  <a:cubicBezTo>
                    <a:pt x="1018" y="99"/>
                    <a:pt x="1019" y="99"/>
                    <a:pt x="1019" y="99"/>
                  </a:cubicBezTo>
                  <a:close/>
                  <a:moveTo>
                    <a:pt x="1080" y="99"/>
                  </a:moveTo>
                  <a:cubicBezTo>
                    <a:pt x="1080" y="99"/>
                    <a:pt x="1080" y="99"/>
                    <a:pt x="1079" y="99"/>
                  </a:cubicBezTo>
                  <a:cubicBezTo>
                    <a:pt x="1080" y="99"/>
                    <a:pt x="1080" y="99"/>
                    <a:pt x="1080" y="99"/>
                  </a:cubicBezTo>
                  <a:close/>
                  <a:moveTo>
                    <a:pt x="1221" y="99"/>
                  </a:moveTo>
                  <a:cubicBezTo>
                    <a:pt x="1221" y="99"/>
                    <a:pt x="1221" y="99"/>
                    <a:pt x="1220" y="99"/>
                  </a:cubicBezTo>
                  <a:cubicBezTo>
                    <a:pt x="1221" y="99"/>
                    <a:pt x="1221" y="99"/>
                    <a:pt x="1221" y="99"/>
                  </a:cubicBezTo>
                  <a:close/>
                  <a:moveTo>
                    <a:pt x="1258" y="99"/>
                  </a:moveTo>
                  <a:cubicBezTo>
                    <a:pt x="1258" y="99"/>
                    <a:pt x="1257" y="99"/>
                    <a:pt x="1257" y="99"/>
                  </a:cubicBezTo>
                  <a:cubicBezTo>
                    <a:pt x="1258" y="99"/>
                    <a:pt x="1258" y="99"/>
                    <a:pt x="1258" y="99"/>
                  </a:cubicBezTo>
                  <a:close/>
                  <a:moveTo>
                    <a:pt x="1687" y="99"/>
                  </a:moveTo>
                  <a:cubicBezTo>
                    <a:pt x="1687" y="99"/>
                    <a:pt x="1687" y="99"/>
                    <a:pt x="1687" y="99"/>
                  </a:cubicBezTo>
                  <a:cubicBezTo>
                    <a:pt x="1687" y="99"/>
                    <a:pt x="1687" y="99"/>
                    <a:pt x="1687" y="99"/>
                  </a:cubicBezTo>
                  <a:close/>
                  <a:moveTo>
                    <a:pt x="577" y="99"/>
                  </a:moveTo>
                  <a:cubicBezTo>
                    <a:pt x="577" y="99"/>
                    <a:pt x="577" y="99"/>
                    <a:pt x="576" y="99"/>
                  </a:cubicBezTo>
                  <a:cubicBezTo>
                    <a:pt x="577" y="99"/>
                    <a:pt x="577" y="99"/>
                    <a:pt x="577" y="99"/>
                  </a:cubicBezTo>
                  <a:close/>
                  <a:moveTo>
                    <a:pt x="691" y="99"/>
                  </a:moveTo>
                  <a:cubicBezTo>
                    <a:pt x="691" y="99"/>
                    <a:pt x="691" y="99"/>
                    <a:pt x="691" y="99"/>
                  </a:cubicBezTo>
                  <a:cubicBezTo>
                    <a:pt x="691" y="99"/>
                    <a:pt x="691" y="99"/>
                    <a:pt x="691" y="99"/>
                  </a:cubicBezTo>
                  <a:close/>
                  <a:moveTo>
                    <a:pt x="797" y="99"/>
                  </a:moveTo>
                  <a:cubicBezTo>
                    <a:pt x="797" y="99"/>
                    <a:pt x="797" y="99"/>
                    <a:pt x="797" y="99"/>
                  </a:cubicBezTo>
                  <a:cubicBezTo>
                    <a:pt x="797" y="99"/>
                    <a:pt x="797" y="99"/>
                    <a:pt x="797" y="99"/>
                  </a:cubicBezTo>
                  <a:close/>
                  <a:moveTo>
                    <a:pt x="976" y="99"/>
                  </a:moveTo>
                  <a:cubicBezTo>
                    <a:pt x="976" y="99"/>
                    <a:pt x="975" y="99"/>
                    <a:pt x="975" y="99"/>
                  </a:cubicBezTo>
                  <a:cubicBezTo>
                    <a:pt x="975" y="99"/>
                    <a:pt x="975" y="99"/>
                    <a:pt x="976" y="99"/>
                  </a:cubicBezTo>
                  <a:close/>
                  <a:moveTo>
                    <a:pt x="1018" y="99"/>
                  </a:moveTo>
                  <a:cubicBezTo>
                    <a:pt x="1018" y="99"/>
                    <a:pt x="1018" y="99"/>
                    <a:pt x="1017" y="99"/>
                  </a:cubicBezTo>
                  <a:cubicBezTo>
                    <a:pt x="1018" y="99"/>
                    <a:pt x="1018" y="99"/>
                    <a:pt x="1018" y="99"/>
                  </a:cubicBezTo>
                  <a:close/>
                  <a:moveTo>
                    <a:pt x="1044" y="99"/>
                  </a:moveTo>
                  <a:cubicBezTo>
                    <a:pt x="1044" y="99"/>
                    <a:pt x="1044" y="99"/>
                    <a:pt x="1043" y="99"/>
                  </a:cubicBezTo>
                  <a:cubicBezTo>
                    <a:pt x="1043" y="99"/>
                    <a:pt x="1044" y="99"/>
                    <a:pt x="1044" y="99"/>
                  </a:cubicBezTo>
                  <a:close/>
                  <a:moveTo>
                    <a:pt x="1079" y="99"/>
                  </a:moveTo>
                  <a:cubicBezTo>
                    <a:pt x="1079" y="99"/>
                    <a:pt x="1079" y="99"/>
                    <a:pt x="1079" y="99"/>
                  </a:cubicBezTo>
                  <a:cubicBezTo>
                    <a:pt x="1079" y="99"/>
                    <a:pt x="1079" y="99"/>
                    <a:pt x="1079" y="99"/>
                  </a:cubicBezTo>
                  <a:close/>
                  <a:moveTo>
                    <a:pt x="1222" y="99"/>
                  </a:moveTo>
                  <a:cubicBezTo>
                    <a:pt x="1222" y="99"/>
                    <a:pt x="1221" y="99"/>
                    <a:pt x="1221" y="99"/>
                  </a:cubicBezTo>
                  <a:cubicBezTo>
                    <a:pt x="1221" y="99"/>
                    <a:pt x="1221" y="99"/>
                    <a:pt x="1222" y="99"/>
                  </a:cubicBezTo>
                  <a:close/>
                  <a:moveTo>
                    <a:pt x="1257" y="99"/>
                  </a:moveTo>
                  <a:cubicBezTo>
                    <a:pt x="1257" y="99"/>
                    <a:pt x="1257" y="99"/>
                    <a:pt x="1257" y="99"/>
                  </a:cubicBezTo>
                  <a:cubicBezTo>
                    <a:pt x="1257" y="99"/>
                    <a:pt x="1257" y="99"/>
                    <a:pt x="1257" y="99"/>
                  </a:cubicBezTo>
                  <a:close/>
                  <a:moveTo>
                    <a:pt x="1454" y="99"/>
                  </a:moveTo>
                  <a:cubicBezTo>
                    <a:pt x="1454" y="99"/>
                    <a:pt x="1454" y="99"/>
                    <a:pt x="1454" y="99"/>
                  </a:cubicBezTo>
                  <a:cubicBezTo>
                    <a:pt x="1454" y="99"/>
                    <a:pt x="1454" y="99"/>
                    <a:pt x="1454" y="99"/>
                  </a:cubicBezTo>
                  <a:close/>
                  <a:moveTo>
                    <a:pt x="1674" y="100"/>
                  </a:moveTo>
                  <a:cubicBezTo>
                    <a:pt x="1674" y="99"/>
                    <a:pt x="1674" y="99"/>
                    <a:pt x="1674" y="99"/>
                  </a:cubicBezTo>
                  <a:cubicBezTo>
                    <a:pt x="1674" y="99"/>
                    <a:pt x="1674" y="100"/>
                    <a:pt x="1674" y="100"/>
                  </a:cubicBezTo>
                  <a:close/>
                  <a:moveTo>
                    <a:pt x="576" y="99"/>
                  </a:moveTo>
                  <a:cubicBezTo>
                    <a:pt x="576" y="99"/>
                    <a:pt x="576" y="99"/>
                    <a:pt x="576" y="100"/>
                  </a:cubicBezTo>
                  <a:cubicBezTo>
                    <a:pt x="576" y="100"/>
                    <a:pt x="576" y="100"/>
                    <a:pt x="576" y="99"/>
                  </a:cubicBezTo>
                  <a:close/>
                  <a:moveTo>
                    <a:pt x="618" y="100"/>
                  </a:moveTo>
                  <a:cubicBezTo>
                    <a:pt x="618" y="100"/>
                    <a:pt x="618" y="99"/>
                    <a:pt x="618" y="99"/>
                  </a:cubicBezTo>
                  <a:cubicBezTo>
                    <a:pt x="618" y="100"/>
                    <a:pt x="618" y="100"/>
                    <a:pt x="618" y="100"/>
                  </a:cubicBezTo>
                  <a:close/>
                  <a:moveTo>
                    <a:pt x="630" y="99"/>
                  </a:moveTo>
                  <a:cubicBezTo>
                    <a:pt x="630" y="100"/>
                    <a:pt x="630" y="100"/>
                    <a:pt x="630" y="100"/>
                  </a:cubicBezTo>
                  <a:cubicBezTo>
                    <a:pt x="630" y="100"/>
                    <a:pt x="630" y="100"/>
                    <a:pt x="630" y="99"/>
                  </a:cubicBezTo>
                  <a:close/>
                  <a:moveTo>
                    <a:pt x="659" y="100"/>
                  </a:moveTo>
                  <a:cubicBezTo>
                    <a:pt x="659" y="99"/>
                    <a:pt x="659" y="99"/>
                    <a:pt x="659" y="99"/>
                  </a:cubicBezTo>
                  <a:cubicBezTo>
                    <a:pt x="659" y="100"/>
                    <a:pt x="659" y="100"/>
                    <a:pt x="659" y="100"/>
                  </a:cubicBezTo>
                  <a:close/>
                  <a:moveTo>
                    <a:pt x="762" y="100"/>
                  </a:moveTo>
                  <a:cubicBezTo>
                    <a:pt x="762" y="99"/>
                    <a:pt x="762" y="99"/>
                    <a:pt x="762" y="99"/>
                  </a:cubicBezTo>
                  <a:cubicBezTo>
                    <a:pt x="762" y="100"/>
                    <a:pt x="762" y="100"/>
                    <a:pt x="762" y="100"/>
                  </a:cubicBezTo>
                  <a:close/>
                  <a:moveTo>
                    <a:pt x="797" y="99"/>
                  </a:moveTo>
                  <a:cubicBezTo>
                    <a:pt x="796" y="99"/>
                    <a:pt x="796" y="99"/>
                    <a:pt x="796" y="100"/>
                  </a:cubicBezTo>
                  <a:cubicBezTo>
                    <a:pt x="796" y="100"/>
                    <a:pt x="797" y="100"/>
                    <a:pt x="797" y="99"/>
                  </a:cubicBezTo>
                  <a:close/>
                  <a:moveTo>
                    <a:pt x="977" y="100"/>
                  </a:moveTo>
                  <a:cubicBezTo>
                    <a:pt x="976" y="99"/>
                    <a:pt x="976" y="99"/>
                    <a:pt x="976" y="99"/>
                  </a:cubicBezTo>
                  <a:cubicBezTo>
                    <a:pt x="976" y="100"/>
                    <a:pt x="976" y="100"/>
                    <a:pt x="977" y="100"/>
                  </a:cubicBezTo>
                  <a:close/>
                  <a:moveTo>
                    <a:pt x="973" y="13"/>
                  </a:moveTo>
                  <a:cubicBezTo>
                    <a:pt x="973" y="13"/>
                    <a:pt x="973" y="13"/>
                    <a:pt x="974" y="12"/>
                  </a:cubicBezTo>
                  <a:cubicBezTo>
                    <a:pt x="973" y="12"/>
                    <a:pt x="973" y="12"/>
                    <a:pt x="973" y="13"/>
                  </a:cubicBezTo>
                  <a:close/>
                  <a:moveTo>
                    <a:pt x="1045" y="100"/>
                  </a:moveTo>
                  <a:cubicBezTo>
                    <a:pt x="1044" y="100"/>
                    <a:pt x="1044" y="99"/>
                    <a:pt x="1044" y="99"/>
                  </a:cubicBezTo>
                  <a:cubicBezTo>
                    <a:pt x="1044" y="100"/>
                    <a:pt x="1044" y="100"/>
                    <a:pt x="1045" y="100"/>
                  </a:cubicBezTo>
                  <a:close/>
                  <a:moveTo>
                    <a:pt x="1079" y="99"/>
                  </a:moveTo>
                  <a:cubicBezTo>
                    <a:pt x="1078" y="99"/>
                    <a:pt x="1078" y="99"/>
                    <a:pt x="1078" y="100"/>
                  </a:cubicBezTo>
                  <a:cubicBezTo>
                    <a:pt x="1078" y="100"/>
                    <a:pt x="1079" y="100"/>
                    <a:pt x="1079" y="99"/>
                  </a:cubicBezTo>
                  <a:close/>
                  <a:moveTo>
                    <a:pt x="1257" y="99"/>
                  </a:moveTo>
                  <a:cubicBezTo>
                    <a:pt x="1256" y="99"/>
                    <a:pt x="1256" y="99"/>
                    <a:pt x="1256" y="100"/>
                  </a:cubicBezTo>
                  <a:cubicBezTo>
                    <a:pt x="1256" y="100"/>
                    <a:pt x="1256" y="100"/>
                    <a:pt x="1257" y="99"/>
                  </a:cubicBezTo>
                  <a:close/>
                  <a:moveTo>
                    <a:pt x="1426" y="100"/>
                  </a:moveTo>
                  <a:cubicBezTo>
                    <a:pt x="1426" y="99"/>
                    <a:pt x="1425" y="99"/>
                    <a:pt x="1425" y="99"/>
                  </a:cubicBezTo>
                  <a:cubicBezTo>
                    <a:pt x="1425" y="100"/>
                    <a:pt x="1425" y="100"/>
                    <a:pt x="1426" y="100"/>
                  </a:cubicBezTo>
                  <a:close/>
                  <a:moveTo>
                    <a:pt x="1687" y="99"/>
                  </a:moveTo>
                  <a:cubicBezTo>
                    <a:pt x="1687" y="100"/>
                    <a:pt x="1687" y="100"/>
                    <a:pt x="1687" y="100"/>
                  </a:cubicBezTo>
                  <a:cubicBezTo>
                    <a:pt x="1688" y="100"/>
                    <a:pt x="1687" y="100"/>
                    <a:pt x="1687" y="99"/>
                  </a:cubicBezTo>
                  <a:close/>
                  <a:moveTo>
                    <a:pt x="576" y="100"/>
                  </a:moveTo>
                  <a:cubicBezTo>
                    <a:pt x="575" y="100"/>
                    <a:pt x="575" y="100"/>
                    <a:pt x="575" y="100"/>
                  </a:cubicBezTo>
                  <a:cubicBezTo>
                    <a:pt x="575" y="100"/>
                    <a:pt x="576" y="100"/>
                    <a:pt x="576" y="100"/>
                  </a:cubicBezTo>
                  <a:close/>
                  <a:moveTo>
                    <a:pt x="660" y="100"/>
                  </a:moveTo>
                  <a:cubicBezTo>
                    <a:pt x="660" y="100"/>
                    <a:pt x="660" y="100"/>
                    <a:pt x="659" y="100"/>
                  </a:cubicBezTo>
                  <a:cubicBezTo>
                    <a:pt x="659" y="100"/>
                    <a:pt x="660" y="100"/>
                    <a:pt x="660" y="100"/>
                  </a:cubicBezTo>
                  <a:close/>
                  <a:moveTo>
                    <a:pt x="763" y="100"/>
                  </a:moveTo>
                  <a:cubicBezTo>
                    <a:pt x="763" y="100"/>
                    <a:pt x="763" y="100"/>
                    <a:pt x="762" y="100"/>
                  </a:cubicBezTo>
                  <a:cubicBezTo>
                    <a:pt x="762" y="100"/>
                    <a:pt x="763" y="100"/>
                    <a:pt x="763" y="100"/>
                  </a:cubicBezTo>
                  <a:close/>
                  <a:moveTo>
                    <a:pt x="796" y="100"/>
                  </a:moveTo>
                  <a:cubicBezTo>
                    <a:pt x="796" y="100"/>
                    <a:pt x="795" y="100"/>
                    <a:pt x="795" y="100"/>
                  </a:cubicBezTo>
                  <a:cubicBezTo>
                    <a:pt x="796" y="100"/>
                    <a:pt x="796" y="100"/>
                    <a:pt x="796" y="100"/>
                  </a:cubicBezTo>
                  <a:close/>
                  <a:moveTo>
                    <a:pt x="977" y="100"/>
                  </a:moveTo>
                  <a:cubicBezTo>
                    <a:pt x="977" y="100"/>
                    <a:pt x="977" y="100"/>
                    <a:pt x="977" y="100"/>
                  </a:cubicBezTo>
                  <a:cubicBezTo>
                    <a:pt x="977" y="100"/>
                    <a:pt x="977" y="100"/>
                    <a:pt x="977" y="100"/>
                  </a:cubicBezTo>
                  <a:close/>
                  <a:moveTo>
                    <a:pt x="1016" y="100"/>
                  </a:moveTo>
                  <a:cubicBezTo>
                    <a:pt x="1016" y="100"/>
                    <a:pt x="1016" y="100"/>
                    <a:pt x="1016" y="100"/>
                  </a:cubicBezTo>
                  <a:cubicBezTo>
                    <a:pt x="1016" y="100"/>
                    <a:pt x="1016" y="100"/>
                    <a:pt x="1016" y="100"/>
                  </a:cubicBezTo>
                  <a:close/>
                  <a:moveTo>
                    <a:pt x="1078" y="100"/>
                  </a:moveTo>
                  <a:cubicBezTo>
                    <a:pt x="1078" y="100"/>
                    <a:pt x="1077" y="100"/>
                    <a:pt x="1077" y="100"/>
                  </a:cubicBezTo>
                  <a:cubicBezTo>
                    <a:pt x="1078" y="100"/>
                    <a:pt x="1078" y="100"/>
                    <a:pt x="1078" y="100"/>
                  </a:cubicBezTo>
                  <a:close/>
                  <a:moveTo>
                    <a:pt x="1181" y="100"/>
                  </a:moveTo>
                  <a:cubicBezTo>
                    <a:pt x="1181" y="100"/>
                    <a:pt x="1181" y="100"/>
                    <a:pt x="1180" y="100"/>
                  </a:cubicBezTo>
                  <a:cubicBezTo>
                    <a:pt x="1180" y="100"/>
                    <a:pt x="1181" y="100"/>
                    <a:pt x="1181" y="100"/>
                  </a:cubicBezTo>
                  <a:close/>
                  <a:moveTo>
                    <a:pt x="1256" y="100"/>
                  </a:moveTo>
                  <a:cubicBezTo>
                    <a:pt x="1256" y="100"/>
                    <a:pt x="1255" y="100"/>
                    <a:pt x="1255" y="100"/>
                  </a:cubicBezTo>
                  <a:cubicBezTo>
                    <a:pt x="1255" y="100"/>
                    <a:pt x="1256" y="100"/>
                    <a:pt x="1256" y="100"/>
                  </a:cubicBezTo>
                  <a:close/>
                  <a:moveTo>
                    <a:pt x="1426" y="100"/>
                  </a:moveTo>
                  <a:cubicBezTo>
                    <a:pt x="1426" y="100"/>
                    <a:pt x="1426" y="100"/>
                    <a:pt x="1426" y="100"/>
                  </a:cubicBezTo>
                  <a:cubicBezTo>
                    <a:pt x="1426" y="100"/>
                    <a:pt x="1426" y="100"/>
                    <a:pt x="1426" y="100"/>
                  </a:cubicBezTo>
                  <a:close/>
                  <a:moveTo>
                    <a:pt x="1453" y="100"/>
                  </a:moveTo>
                  <a:cubicBezTo>
                    <a:pt x="1453" y="100"/>
                    <a:pt x="1453" y="100"/>
                    <a:pt x="1453" y="100"/>
                  </a:cubicBezTo>
                  <a:cubicBezTo>
                    <a:pt x="1453" y="100"/>
                    <a:pt x="1453" y="100"/>
                    <a:pt x="1453" y="100"/>
                  </a:cubicBezTo>
                  <a:close/>
                  <a:moveTo>
                    <a:pt x="575" y="100"/>
                  </a:moveTo>
                  <a:cubicBezTo>
                    <a:pt x="575" y="100"/>
                    <a:pt x="574" y="100"/>
                    <a:pt x="574" y="100"/>
                  </a:cubicBezTo>
                  <a:cubicBezTo>
                    <a:pt x="574" y="100"/>
                    <a:pt x="575" y="100"/>
                    <a:pt x="575" y="100"/>
                  </a:cubicBezTo>
                  <a:close/>
                  <a:moveTo>
                    <a:pt x="618" y="101"/>
                  </a:moveTo>
                  <a:cubicBezTo>
                    <a:pt x="618" y="101"/>
                    <a:pt x="618" y="100"/>
                    <a:pt x="618" y="100"/>
                  </a:cubicBezTo>
                  <a:cubicBezTo>
                    <a:pt x="618" y="100"/>
                    <a:pt x="618" y="101"/>
                    <a:pt x="618" y="101"/>
                  </a:cubicBezTo>
                  <a:close/>
                  <a:moveTo>
                    <a:pt x="661" y="100"/>
                  </a:moveTo>
                  <a:cubicBezTo>
                    <a:pt x="661" y="100"/>
                    <a:pt x="660" y="100"/>
                    <a:pt x="660" y="100"/>
                  </a:cubicBezTo>
                  <a:cubicBezTo>
                    <a:pt x="660" y="100"/>
                    <a:pt x="660" y="100"/>
                    <a:pt x="661" y="100"/>
                  </a:cubicBezTo>
                  <a:close/>
                  <a:moveTo>
                    <a:pt x="690" y="100"/>
                  </a:moveTo>
                  <a:cubicBezTo>
                    <a:pt x="689" y="100"/>
                    <a:pt x="689" y="100"/>
                    <a:pt x="689" y="100"/>
                  </a:cubicBezTo>
                  <a:cubicBezTo>
                    <a:pt x="689" y="100"/>
                    <a:pt x="689" y="100"/>
                    <a:pt x="690" y="100"/>
                  </a:cubicBezTo>
                  <a:close/>
                  <a:moveTo>
                    <a:pt x="722" y="100"/>
                  </a:moveTo>
                  <a:cubicBezTo>
                    <a:pt x="721" y="100"/>
                    <a:pt x="721" y="100"/>
                    <a:pt x="721" y="100"/>
                  </a:cubicBezTo>
                  <a:cubicBezTo>
                    <a:pt x="721" y="100"/>
                    <a:pt x="721" y="100"/>
                    <a:pt x="722" y="100"/>
                  </a:cubicBezTo>
                  <a:close/>
                  <a:moveTo>
                    <a:pt x="764" y="100"/>
                  </a:moveTo>
                  <a:cubicBezTo>
                    <a:pt x="764" y="100"/>
                    <a:pt x="763" y="100"/>
                    <a:pt x="763" y="100"/>
                  </a:cubicBezTo>
                  <a:cubicBezTo>
                    <a:pt x="763" y="100"/>
                    <a:pt x="763" y="100"/>
                    <a:pt x="764" y="100"/>
                  </a:cubicBezTo>
                  <a:close/>
                  <a:moveTo>
                    <a:pt x="795" y="100"/>
                  </a:moveTo>
                  <a:cubicBezTo>
                    <a:pt x="795" y="100"/>
                    <a:pt x="794" y="100"/>
                    <a:pt x="794" y="100"/>
                  </a:cubicBezTo>
                  <a:cubicBezTo>
                    <a:pt x="795" y="100"/>
                    <a:pt x="795" y="100"/>
                    <a:pt x="795" y="100"/>
                  </a:cubicBezTo>
                  <a:close/>
                  <a:moveTo>
                    <a:pt x="978" y="100"/>
                  </a:moveTo>
                  <a:cubicBezTo>
                    <a:pt x="978" y="100"/>
                    <a:pt x="978" y="100"/>
                    <a:pt x="977" y="100"/>
                  </a:cubicBezTo>
                  <a:cubicBezTo>
                    <a:pt x="978" y="100"/>
                    <a:pt x="978" y="100"/>
                    <a:pt x="978" y="100"/>
                  </a:cubicBezTo>
                  <a:close/>
                  <a:moveTo>
                    <a:pt x="1015" y="100"/>
                  </a:moveTo>
                  <a:cubicBezTo>
                    <a:pt x="1015" y="100"/>
                    <a:pt x="1015" y="100"/>
                    <a:pt x="1015" y="100"/>
                  </a:cubicBezTo>
                  <a:cubicBezTo>
                    <a:pt x="1015" y="100"/>
                    <a:pt x="1015" y="100"/>
                    <a:pt x="1015" y="100"/>
                  </a:cubicBezTo>
                  <a:close/>
                  <a:moveTo>
                    <a:pt x="1077" y="100"/>
                  </a:moveTo>
                  <a:cubicBezTo>
                    <a:pt x="1077" y="100"/>
                    <a:pt x="1077" y="100"/>
                    <a:pt x="1076" y="100"/>
                  </a:cubicBezTo>
                  <a:cubicBezTo>
                    <a:pt x="1077" y="100"/>
                    <a:pt x="1077" y="100"/>
                    <a:pt x="1077" y="100"/>
                  </a:cubicBezTo>
                  <a:close/>
                  <a:moveTo>
                    <a:pt x="1224" y="100"/>
                  </a:moveTo>
                  <a:cubicBezTo>
                    <a:pt x="1223" y="100"/>
                    <a:pt x="1223" y="100"/>
                    <a:pt x="1223" y="100"/>
                  </a:cubicBezTo>
                  <a:cubicBezTo>
                    <a:pt x="1223" y="100"/>
                    <a:pt x="1223" y="100"/>
                    <a:pt x="1224" y="100"/>
                  </a:cubicBezTo>
                  <a:close/>
                  <a:moveTo>
                    <a:pt x="832" y="49"/>
                  </a:moveTo>
                  <a:cubicBezTo>
                    <a:pt x="831" y="49"/>
                    <a:pt x="831" y="50"/>
                    <a:pt x="831" y="50"/>
                  </a:cubicBezTo>
                  <a:cubicBezTo>
                    <a:pt x="831" y="50"/>
                    <a:pt x="832" y="50"/>
                    <a:pt x="832" y="49"/>
                  </a:cubicBezTo>
                  <a:close/>
                  <a:moveTo>
                    <a:pt x="1427" y="100"/>
                  </a:moveTo>
                  <a:cubicBezTo>
                    <a:pt x="1427" y="100"/>
                    <a:pt x="1427" y="100"/>
                    <a:pt x="1426" y="100"/>
                  </a:cubicBezTo>
                  <a:cubicBezTo>
                    <a:pt x="1427" y="100"/>
                    <a:pt x="1427" y="100"/>
                    <a:pt x="1427" y="100"/>
                  </a:cubicBezTo>
                  <a:close/>
                  <a:moveTo>
                    <a:pt x="1453" y="100"/>
                  </a:moveTo>
                  <a:cubicBezTo>
                    <a:pt x="1452" y="100"/>
                    <a:pt x="1452" y="100"/>
                    <a:pt x="1452" y="100"/>
                  </a:cubicBezTo>
                  <a:cubicBezTo>
                    <a:pt x="1452" y="100"/>
                    <a:pt x="1452" y="100"/>
                    <a:pt x="1453" y="100"/>
                  </a:cubicBezTo>
                  <a:close/>
                  <a:moveTo>
                    <a:pt x="1674" y="101"/>
                  </a:moveTo>
                  <a:cubicBezTo>
                    <a:pt x="1674" y="100"/>
                    <a:pt x="1674" y="100"/>
                    <a:pt x="1674" y="100"/>
                  </a:cubicBezTo>
                  <a:cubicBezTo>
                    <a:pt x="1674" y="100"/>
                    <a:pt x="1674" y="101"/>
                    <a:pt x="1674" y="101"/>
                  </a:cubicBezTo>
                  <a:close/>
                  <a:moveTo>
                    <a:pt x="1687" y="100"/>
                  </a:moveTo>
                  <a:cubicBezTo>
                    <a:pt x="1687" y="100"/>
                    <a:pt x="1688" y="101"/>
                    <a:pt x="1688" y="101"/>
                  </a:cubicBezTo>
                  <a:cubicBezTo>
                    <a:pt x="1688" y="101"/>
                    <a:pt x="1688" y="100"/>
                    <a:pt x="1687" y="100"/>
                  </a:cubicBezTo>
                  <a:close/>
                  <a:moveTo>
                    <a:pt x="574" y="100"/>
                  </a:moveTo>
                  <a:cubicBezTo>
                    <a:pt x="574" y="100"/>
                    <a:pt x="573" y="101"/>
                    <a:pt x="573" y="101"/>
                  </a:cubicBezTo>
                  <a:cubicBezTo>
                    <a:pt x="574" y="101"/>
                    <a:pt x="574" y="101"/>
                    <a:pt x="574" y="100"/>
                  </a:cubicBezTo>
                  <a:close/>
                  <a:moveTo>
                    <a:pt x="630" y="100"/>
                  </a:moveTo>
                  <a:cubicBezTo>
                    <a:pt x="629" y="101"/>
                    <a:pt x="629" y="101"/>
                    <a:pt x="629" y="101"/>
                  </a:cubicBezTo>
                  <a:cubicBezTo>
                    <a:pt x="630" y="101"/>
                    <a:pt x="630" y="101"/>
                    <a:pt x="630" y="100"/>
                  </a:cubicBezTo>
                  <a:close/>
                  <a:moveTo>
                    <a:pt x="662" y="101"/>
                  </a:moveTo>
                  <a:cubicBezTo>
                    <a:pt x="662" y="101"/>
                    <a:pt x="661" y="100"/>
                    <a:pt x="661" y="101"/>
                  </a:cubicBezTo>
                  <a:cubicBezTo>
                    <a:pt x="661" y="101"/>
                    <a:pt x="661" y="101"/>
                    <a:pt x="662" y="101"/>
                  </a:cubicBezTo>
                  <a:close/>
                  <a:moveTo>
                    <a:pt x="689" y="100"/>
                  </a:moveTo>
                  <a:cubicBezTo>
                    <a:pt x="689" y="100"/>
                    <a:pt x="688" y="100"/>
                    <a:pt x="688" y="101"/>
                  </a:cubicBezTo>
                  <a:cubicBezTo>
                    <a:pt x="688" y="101"/>
                    <a:pt x="689" y="101"/>
                    <a:pt x="689" y="100"/>
                  </a:cubicBezTo>
                  <a:close/>
                  <a:moveTo>
                    <a:pt x="764" y="101"/>
                  </a:moveTo>
                  <a:cubicBezTo>
                    <a:pt x="764" y="100"/>
                    <a:pt x="764" y="100"/>
                    <a:pt x="764" y="100"/>
                  </a:cubicBezTo>
                  <a:cubicBezTo>
                    <a:pt x="764" y="101"/>
                    <a:pt x="764" y="101"/>
                    <a:pt x="764" y="101"/>
                  </a:cubicBezTo>
                  <a:close/>
                  <a:moveTo>
                    <a:pt x="857" y="50"/>
                  </a:moveTo>
                  <a:cubicBezTo>
                    <a:pt x="857" y="50"/>
                    <a:pt x="857" y="49"/>
                    <a:pt x="857" y="49"/>
                  </a:cubicBezTo>
                  <a:cubicBezTo>
                    <a:pt x="857" y="50"/>
                    <a:pt x="857" y="50"/>
                    <a:pt x="857" y="50"/>
                  </a:cubicBezTo>
                  <a:close/>
                  <a:moveTo>
                    <a:pt x="979" y="101"/>
                  </a:moveTo>
                  <a:cubicBezTo>
                    <a:pt x="979" y="101"/>
                    <a:pt x="979" y="100"/>
                    <a:pt x="978" y="100"/>
                  </a:cubicBezTo>
                  <a:cubicBezTo>
                    <a:pt x="979" y="101"/>
                    <a:pt x="979" y="101"/>
                    <a:pt x="979" y="101"/>
                  </a:cubicBezTo>
                  <a:close/>
                  <a:moveTo>
                    <a:pt x="1014" y="101"/>
                  </a:moveTo>
                  <a:cubicBezTo>
                    <a:pt x="1014" y="100"/>
                    <a:pt x="1014" y="101"/>
                    <a:pt x="1013" y="101"/>
                  </a:cubicBezTo>
                  <a:cubicBezTo>
                    <a:pt x="1014" y="101"/>
                    <a:pt x="1014" y="101"/>
                    <a:pt x="1014" y="101"/>
                  </a:cubicBezTo>
                  <a:close/>
                  <a:moveTo>
                    <a:pt x="1047" y="101"/>
                  </a:moveTo>
                  <a:cubicBezTo>
                    <a:pt x="1047" y="101"/>
                    <a:pt x="1046" y="100"/>
                    <a:pt x="1046" y="100"/>
                  </a:cubicBezTo>
                  <a:cubicBezTo>
                    <a:pt x="1046" y="101"/>
                    <a:pt x="1046" y="101"/>
                    <a:pt x="1047" y="101"/>
                  </a:cubicBezTo>
                  <a:close/>
                  <a:moveTo>
                    <a:pt x="1076" y="100"/>
                  </a:moveTo>
                  <a:cubicBezTo>
                    <a:pt x="1076" y="100"/>
                    <a:pt x="1076" y="101"/>
                    <a:pt x="1076" y="101"/>
                  </a:cubicBezTo>
                  <a:cubicBezTo>
                    <a:pt x="1076" y="101"/>
                    <a:pt x="1076" y="101"/>
                    <a:pt x="1076" y="100"/>
                  </a:cubicBezTo>
                  <a:close/>
                  <a:moveTo>
                    <a:pt x="1182" y="101"/>
                  </a:moveTo>
                  <a:cubicBezTo>
                    <a:pt x="1182" y="101"/>
                    <a:pt x="1182" y="100"/>
                    <a:pt x="1181" y="100"/>
                  </a:cubicBezTo>
                  <a:cubicBezTo>
                    <a:pt x="1182" y="101"/>
                    <a:pt x="1182" y="101"/>
                    <a:pt x="1182" y="101"/>
                  </a:cubicBezTo>
                  <a:close/>
                  <a:moveTo>
                    <a:pt x="1225" y="101"/>
                  </a:moveTo>
                  <a:cubicBezTo>
                    <a:pt x="1224" y="101"/>
                    <a:pt x="1224" y="100"/>
                    <a:pt x="1224" y="101"/>
                  </a:cubicBezTo>
                  <a:cubicBezTo>
                    <a:pt x="1224" y="101"/>
                    <a:pt x="1224" y="101"/>
                    <a:pt x="1225" y="101"/>
                  </a:cubicBezTo>
                  <a:close/>
                  <a:moveTo>
                    <a:pt x="1254" y="100"/>
                  </a:moveTo>
                  <a:cubicBezTo>
                    <a:pt x="1254" y="100"/>
                    <a:pt x="1254" y="101"/>
                    <a:pt x="1253" y="101"/>
                  </a:cubicBezTo>
                  <a:cubicBezTo>
                    <a:pt x="1254" y="101"/>
                    <a:pt x="1254" y="101"/>
                    <a:pt x="1254" y="100"/>
                  </a:cubicBezTo>
                  <a:close/>
                  <a:moveTo>
                    <a:pt x="1428" y="101"/>
                  </a:moveTo>
                  <a:cubicBezTo>
                    <a:pt x="1428" y="101"/>
                    <a:pt x="1427" y="100"/>
                    <a:pt x="1427" y="100"/>
                  </a:cubicBezTo>
                  <a:cubicBezTo>
                    <a:pt x="1427" y="101"/>
                    <a:pt x="1428" y="101"/>
                    <a:pt x="1428" y="101"/>
                  </a:cubicBezTo>
                  <a:close/>
                  <a:moveTo>
                    <a:pt x="1452" y="100"/>
                  </a:moveTo>
                  <a:cubicBezTo>
                    <a:pt x="1452" y="100"/>
                    <a:pt x="1451" y="100"/>
                    <a:pt x="1451" y="101"/>
                  </a:cubicBezTo>
                  <a:cubicBezTo>
                    <a:pt x="1451" y="101"/>
                    <a:pt x="1452" y="101"/>
                    <a:pt x="1452" y="100"/>
                  </a:cubicBezTo>
                  <a:close/>
                  <a:moveTo>
                    <a:pt x="676" y="43"/>
                  </a:moveTo>
                  <a:cubicBezTo>
                    <a:pt x="676" y="43"/>
                    <a:pt x="676" y="43"/>
                    <a:pt x="676" y="43"/>
                  </a:cubicBezTo>
                  <a:cubicBezTo>
                    <a:pt x="676" y="43"/>
                    <a:pt x="676" y="43"/>
                    <a:pt x="676" y="43"/>
                  </a:cubicBezTo>
                  <a:close/>
                  <a:moveTo>
                    <a:pt x="662" y="101"/>
                  </a:moveTo>
                  <a:cubicBezTo>
                    <a:pt x="662" y="101"/>
                    <a:pt x="662" y="101"/>
                    <a:pt x="662" y="101"/>
                  </a:cubicBezTo>
                  <a:cubicBezTo>
                    <a:pt x="662" y="101"/>
                    <a:pt x="662" y="101"/>
                    <a:pt x="662" y="101"/>
                  </a:cubicBezTo>
                  <a:close/>
                  <a:moveTo>
                    <a:pt x="688" y="101"/>
                  </a:moveTo>
                  <a:cubicBezTo>
                    <a:pt x="688" y="101"/>
                    <a:pt x="687" y="101"/>
                    <a:pt x="687" y="101"/>
                  </a:cubicBezTo>
                  <a:cubicBezTo>
                    <a:pt x="687" y="101"/>
                    <a:pt x="688" y="101"/>
                    <a:pt x="688" y="101"/>
                  </a:cubicBezTo>
                  <a:close/>
                  <a:moveTo>
                    <a:pt x="723" y="101"/>
                  </a:moveTo>
                  <a:cubicBezTo>
                    <a:pt x="723" y="101"/>
                    <a:pt x="722" y="101"/>
                    <a:pt x="722" y="101"/>
                  </a:cubicBezTo>
                  <a:cubicBezTo>
                    <a:pt x="722" y="101"/>
                    <a:pt x="722" y="101"/>
                    <a:pt x="723" y="101"/>
                  </a:cubicBezTo>
                  <a:close/>
                  <a:moveTo>
                    <a:pt x="1495" y="13"/>
                  </a:moveTo>
                  <a:cubicBezTo>
                    <a:pt x="1495" y="13"/>
                    <a:pt x="1495" y="13"/>
                    <a:pt x="1495" y="12"/>
                  </a:cubicBezTo>
                  <a:cubicBezTo>
                    <a:pt x="1495" y="12"/>
                    <a:pt x="1495" y="12"/>
                    <a:pt x="1495" y="13"/>
                  </a:cubicBezTo>
                  <a:close/>
                  <a:moveTo>
                    <a:pt x="793" y="101"/>
                  </a:moveTo>
                  <a:cubicBezTo>
                    <a:pt x="793" y="101"/>
                    <a:pt x="793" y="101"/>
                    <a:pt x="792" y="101"/>
                  </a:cubicBezTo>
                  <a:cubicBezTo>
                    <a:pt x="793" y="101"/>
                    <a:pt x="793" y="101"/>
                    <a:pt x="793" y="101"/>
                  </a:cubicBezTo>
                  <a:close/>
                  <a:moveTo>
                    <a:pt x="980" y="101"/>
                  </a:moveTo>
                  <a:cubicBezTo>
                    <a:pt x="980" y="101"/>
                    <a:pt x="980" y="101"/>
                    <a:pt x="980" y="101"/>
                  </a:cubicBezTo>
                  <a:cubicBezTo>
                    <a:pt x="980" y="101"/>
                    <a:pt x="980" y="101"/>
                    <a:pt x="980" y="101"/>
                  </a:cubicBezTo>
                  <a:close/>
                  <a:moveTo>
                    <a:pt x="874" y="49"/>
                  </a:moveTo>
                  <a:cubicBezTo>
                    <a:pt x="874" y="49"/>
                    <a:pt x="874" y="50"/>
                    <a:pt x="874" y="50"/>
                  </a:cubicBezTo>
                  <a:cubicBezTo>
                    <a:pt x="874" y="50"/>
                    <a:pt x="874" y="50"/>
                    <a:pt x="874" y="49"/>
                  </a:cubicBezTo>
                  <a:close/>
                  <a:moveTo>
                    <a:pt x="1047" y="101"/>
                  </a:moveTo>
                  <a:cubicBezTo>
                    <a:pt x="1047" y="101"/>
                    <a:pt x="1047" y="101"/>
                    <a:pt x="1047" y="101"/>
                  </a:cubicBezTo>
                  <a:cubicBezTo>
                    <a:pt x="1047" y="101"/>
                    <a:pt x="1047" y="101"/>
                    <a:pt x="1047" y="101"/>
                  </a:cubicBezTo>
                  <a:close/>
                  <a:moveTo>
                    <a:pt x="800" y="43"/>
                  </a:moveTo>
                  <a:cubicBezTo>
                    <a:pt x="800" y="43"/>
                    <a:pt x="800" y="43"/>
                    <a:pt x="800" y="43"/>
                  </a:cubicBezTo>
                  <a:cubicBezTo>
                    <a:pt x="800" y="43"/>
                    <a:pt x="800" y="43"/>
                    <a:pt x="800" y="43"/>
                  </a:cubicBezTo>
                  <a:close/>
                  <a:moveTo>
                    <a:pt x="1183" y="101"/>
                  </a:moveTo>
                  <a:cubicBezTo>
                    <a:pt x="1183" y="101"/>
                    <a:pt x="1182" y="101"/>
                    <a:pt x="1182" y="101"/>
                  </a:cubicBezTo>
                  <a:cubicBezTo>
                    <a:pt x="1182" y="101"/>
                    <a:pt x="1182" y="101"/>
                    <a:pt x="1183" y="101"/>
                  </a:cubicBezTo>
                  <a:close/>
                  <a:moveTo>
                    <a:pt x="1225" y="101"/>
                  </a:moveTo>
                  <a:cubicBezTo>
                    <a:pt x="1225" y="101"/>
                    <a:pt x="1225" y="101"/>
                    <a:pt x="1225" y="101"/>
                  </a:cubicBezTo>
                  <a:cubicBezTo>
                    <a:pt x="1225" y="101"/>
                    <a:pt x="1225" y="101"/>
                    <a:pt x="1225" y="101"/>
                  </a:cubicBezTo>
                  <a:close/>
                  <a:moveTo>
                    <a:pt x="1253" y="101"/>
                  </a:moveTo>
                  <a:cubicBezTo>
                    <a:pt x="1253" y="101"/>
                    <a:pt x="1253" y="101"/>
                    <a:pt x="1252" y="101"/>
                  </a:cubicBezTo>
                  <a:cubicBezTo>
                    <a:pt x="1253" y="101"/>
                    <a:pt x="1253" y="101"/>
                    <a:pt x="1253" y="101"/>
                  </a:cubicBezTo>
                  <a:close/>
                  <a:moveTo>
                    <a:pt x="1429" y="101"/>
                  </a:moveTo>
                  <a:cubicBezTo>
                    <a:pt x="1428" y="101"/>
                    <a:pt x="1428" y="101"/>
                    <a:pt x="1428" y="101"/>
                  </a:cubicBezTo>
                  <a:cubicBezTo>
                    <a:pt x="1428" y="101"/>
                    <a:pt x="1428" y="101"/>
                    <a:pt x="1429" y="101"/>
                  </a:cubicBezTo>
                  <a:close/>
                  <a:moveTo>
                    <a:pt x="1451" y="101"/>
                  </a:moveTo>
                  <a:cubicBezTo>
                    <a:pt x="1451" y="101"/>
                    <a:pt x="1451" y="101"/>
                    <a:pt x="1450" y="101"/>
                  </a:cubicBezTo>
                  <a:cubicBezTo>
                    <a:pt x="1451" y="101"/>
                    <a:pt x="1451" y="101"/>
                    <a:pt x="1451" y="101"/>
                  </a:cubicBezTo>
                  <a:close/>
                  <a:moveTo>
                    <a:pt x="1675" y="101"/>
                  </a:moveTo>
                  <a:cubicBezTo>
                    <a:pt x="1675" y="101"/>
                    <a:pt x="1675" y="101"/>
                    <a:pt x="1674" y="101"/>
                  </a:cubicBezTo>
                  <a:cubicBezTo>
                    <a:pt x="1674" y="101"/>
                    <a:pt x="1674" y="101"/>
                    <a:pt x="1675" y="101"/>
                  </a:cubicBezTo>
                  <a:close/>
                  <a:moveTo>
                    <a:pt x="900" y="50"/>
                  </a:moveTo>
                  <a:cubicBezTo>
                    <a:pt x="900" y="50"/>
                    <a:pt x="900" y="49"/>
                    <a:pt x="899" y="49"/>
                  </a:cubicBezTo>
                  <a:cubicBezTo>
                    <a:pt x="899" y="50"/>
                    <a:pt x="899" y="50"/>
                    <a:pt x="900" y="50"/>
                  </a:cubicBezTo>
                  <a:close/>
                  <a:moveTo>
                    <a:pt x="840" y="43"/>
                  </a:moveTo>
                  <a:cubicBezTo>
                    <a:pt x="839" y="43"/>
                    <a:pt x="839" y="43"/>
                    <a:pt x="839" y="43"/>
                  </a:cubicBezTo>
                  <a:cubicBezTo>
                    <a:pt x="839" y="43"/>
                    <a:pt x="839" y="43"/>
                    <a:pt x="840" y="43"/>
                  </a:cubicBezTo>
                  <a:close/>
                  <a:moveTo>
                    <a:pt x="663" y="101"/>
                  </a:moveTo>
                  <a:cubicBezTo>
                    <a:pt x="663" y="101"/>
                    <a:pt x="663" y="101"/>
                    <a:pt x="663" y="101"/>
                  </a:cubicBezTo>
                  <a:cubicBezTo>
                    <a:pt x="663" y="101"/>
                    <a:pt x="663" y="102"/>
                    <a:pt x="663" y="101"/>
                  </a:cubicBezTo>
                  <a:close/>
                  <a:moveTo>
                    <a:pt x="687" y="101"/>
                  </a:moveTo>
                  <a:cubicBezTo>
                    <a:pt x="687" y="101"/>
                    <a:pt x="686" y="101"/>
                    <a:pt x="686" y="101"/>
                  </a:cubicBezTo>
                  <a:cubicBezTo>
                    <a:pt x="687" y="102"/>
                    <a:pt x="687" y="101"/>
                    <a:pt x="687" y="101"/>
                  </a:cubicBezTo>
                  <a:close/>
                  <a:moveTo>
                    <a:pt x="723" y="101"/>
                  </a:moveTo>
                  <a:cubicBezTo>
                    <a:pt x="723" y="101"/>
                    <a:pt x="723" y="101"/>
                    <a:pt x="723" y="101"/>
                  </a:cubicBezTo>
                  <a:cubicBezTo>
                    <a:pt x="723" y="101"/>
                    <a:pt x="723" y="101"/>
                    <a:pt x="723" y="101"/>
                  </a:cubicBezTo>
                  <a:close/>
                  <a:moveTo>
                    <a:pt x="742" y="101"/>
                  </a:moveTo>
                  <a:cubicBezTo>
                    <a:pt x="741" y="101"/>
                    <a:pt x="741" y="101"/>
                    <a:pt x="741" y="102"/>
                  </a:cubicBezTo>
                  <a:cubicBezTo>
                    <a:pt x="741" y="102"/>
                    <a:pt x="742" y="101"/>
                    <a:pt x="742" y="101"/>
                  </a:cubicBezTo>
                  <a:close/>
                  <a:moveTo>
                    <a:pt x="766" y="101"/>
                  </a:moveTo>
                  <a:cubicBezTo>
                    <a:pt x="766" y="101"/>
                    <a:pt x="766" y="101"/>
                    <a:pt x="765" y="101"/>
                  </a:cubicBezTo>
                  <a:cubicBezTo>
                    <a:pt x="766" y="101"/>
                    <a:pt x="766" y="102"/>
                    <a:pt x="766" y="101"/>
                  </a:cubicBezTo>
                  <a:close/>
                  <a:moveTo>
                    <a:pt x="972" y="13"/>
                  </a:moveTo>
                  <a:cubicBezTo>
                    <a:pt x="973" y="13"/>
                    <a:pt x="973" y="13"/>
                    <a:pt x="973" y="13"/>
                  </a:cubicBezTo>
                  <a:cubicBezTo>
                    <a:pt x="973" y="13"/>
                    <a:pt x="972" y="13"/>
                    <a:pt x="972" y="13"/>
                  </a:cubicBezTo>
                  <a:close/>
                  <a:moveTo>
                    <a:pt x="870" y="43"/>
                  </a:moveTo>
                  <a:cubicBezTo>
                    <a:pt x="870" y="43"/>
                    <a:pt x="870" y="43"/>
                    <a:pt x="870" y="43"/>
                  </a:cubicBezTo>
                  <a:cubicBezTo>
                    <a:pt x="870" y="43"/>
                    <a:pt x="870" y="43"/>
                    <a:pt x="870" y="43"/>
                  </a:cubicBezTo>
                  <a:close/>
                  <a:moveTo>
                    <a:pt x="882" y="43"/>
                  </a:moveTo>
                  <a:cubicBezTo>
                    <a:pt x="882" y="43"/>
                    <a:pt x="882" y="43"/>
                    <a:pt x="882" y="43"/>
                  </a:cubicBezTo>
                  <a:cubicBezTo>
                    <a:pt x="882" y="43"/>
                    <a:pt x="882" y="43"/>
                    <a:pt x="882" y="43"/>
                  </a:cubicBezTo>
                  <a:close/>
                  <a:moveTo>
                    <a:pt x="909" y="43"/>
                  </a:moveTo>
                  <a:cubicBezTo>
                    <a:pt x="909" y="43"/>
                    <a:pt x="909" y="43"/>
                    <a:pt x="910" y="43"/>
                  </a:cubicBezTo>
                  <a:cubicBezTo>
                    <a:pt x="910" y="43"/>
                    <a:pt x="909" y="43"/>
                    <a:pt x="909" y="43"/>
                  </a:cubicBezTo>
                  <a:close/>
                  <a:moveTo>
                    <a:pt x="1033" y="50"/>
                  </a:moveTo>
                  <a:cubicBezTo>
                    <a:pt x="1033" y="50"/>
                    <a:pt x="1033" y="50"/>
                    <a:pt x="1033" y="49"/>
                  </a:cubicBezTo>
                  <a:cubicBezTo>
                    <a:pt x="1033" y="49"/>
                    <a:pt x="1033" y="50"/>
                    <a:pt x="1033" y="50"/>
                  </a:cubicBezTo>
                  <a:close/>
                  <a:moveTo>
                    <a:pt x="1183" y="102"/>
                  </a:moveTo>
                  <a:cubicBezTo>
                    <a:pt x="1183" y="101"/>
                    <a:pt x="1183" y="101"/>
                    <a:pt x="1183" y="101"/>
                  </a:cubicBezTo>
                  <a:cubicBezTo>
                    <a:pt x="1183" y="101"/>
                    <a:pt x="1183" y="102"/>
                    <a:pt x="1183" y="102"/>
                  </a:cubicBezTo>
                  <a:close/>
                  <a:moveTo>
                    <a:pt x="1202" y="101"/>
                  </a:moveTo>
                  <a:cubicBezTo>
                    <a:pt x="1202" y="101"/>
                    <a:pt x="1201" y="101"/>
                    <a:pt x="1201" y="101"/>
                  </a:cubicBezTo>
                  <a:cubicBezTo>
                    <a:pt x="1201" y="101"/>
                    <a:pt x="1202" y="101"/>
                    <a:pt x="1202" y="101"/>
                  </a:cubicBezTo>
                  <a:close/>
                  <a:moveTo>
                    <a:pt x="1290" y="43"/>
                  </a:moveTo>
                  <a:cubicBezTo>
                    <a:pt x="1290" y="43"/>
                    <a:pt x="1290" y="43"/>
                    <a:pt x="1290" y="43"/>
                  </a:cubicBezTo>
                  <a:cubicBezTo>
                    <a:pt x="1290" y="43"/>
                    <a:pt x="1290" y="43"/>
                    <a:pt x="1290" y="43"/>
                  </a:cubicBezTo>
                  <a:close/>
                  <a:moveTo>
                    <a:pt x="1252" y="101"/>
                  </a:moveTo>
                  <a:cubicBezTo>
                    <a:pt x="1252" y="101"/>
                    <a:pt x="1251" y="101"/>
                    <a:pt x="1251" y="101"/>
                  </a:cubicBezTo>
                  <a:cubicBezTo>
                    <a:pt x="1252" y="102"/>
                    <a:pt x="1252" y="101"/>
                    <a:pt x="1252" y="101"/>
                  </a:cubicBezTo>
                  <a:close/>
                  <a:moveTo>
                    <a:pt x="1429" y="101"/>
                  </a:moveTo>
                  <a:cubicBezTo>
                    <a:pt x="1429" y="101"/>
                    <a:pt x="1429" y="101"/>
                    <a:pt x="1429" y="101"/>
                  </a:cubicBezTo>
                  <a:cubicBezTo>
                    <a:pt x="1429" y="101"/>
                    <a:pt x="1429" y="102"/>
                    <a:pt x="1429" y="101"/>
                  </a:cubicBezTo>
                  <a:close/>
                  <a:moveTo>
                    <a:pt x="1450" y="101"/>
                  </a:moveTo>
                  <a:cubicBezTo>
                    <a:pt x="1450" y="101"/>
                    <a:pt x="1450" y="101"/>
                    <a:pt x="1449" y="102"/>
                  </a:cubicBezTo>
                  <a:cubicBezTo>
                    <a:pt x="1450" y="102"/>
                    <a:pt x="1450" y="101"/>
                    <a:pt x="1450" y="101"/>
                  </a:cubicBezTo>
                  <a:close/>
                  <a:moveTo>
                    <a:pt x="1396" y="43"/>
                  </a:moveTo>
                  <a:cubicBezTo>
                    <a:pt x="1395" y="43"/>
                    <a:pt x="1395" y="43"/>
                    <a:pt x="1395" y="43"/>
                  </a:cubicBezTo>
                  <a:cubicBezTo>
                    <a:pt x="1396" y="43"/>
                    <a:pt x="1396" y="43"/>
                    <a:pt x="1396" y="43"/>
                  </a:cubicBezTo>
                  <a:close/>
                  <a:moveTo>
                    <a:pt x="1568" y="43"/>
                  </a:moveTo>
                  <a:cubicBezTo>
                    <a:pt x="1568" y="43"/>
                    <a:pt x="1568" y="43"/>
                    <a:pt x="1568" y="43"/>
                  </a:cubicBezTo>
                  <a:cubicBezTo>
                    <a:pt x="1568" y="43"/>
                    <a:pt x="1568" y="43"/>
                    <a:pt x="1568" y="43"/>
                  </a:cubicBezTo>
                  <a:close/>
                  <a:moveTo>
                    <a:pt x="1683" y="43"/>
                  </a:moveTo>
                  <a:cubicBezTo>
                    <a:pt x="1682" y="43"/>
                    <a:pt x="1682" y="43"/>
                    <a:pt x="1682" y="43"/>
                  </a:cubicBezTo>
                  <a:cubicBezTo>
                    <a:pt x="1683" y="43"/>
                    <a:pt x="1683" y="43"/>
                    <a:pt x="1683" y="43"/>
                  </a:cubicBezTo>
                  <a:close/>
                  <a:moveTo>
                    <a:pt x="686" y="102"/>
                  </a:moveTo>
                  <a:cubicBezTo>
                    <a:pt x="686" y="102"/>
                    <a:pt x="685" y="102"/>
                    <a:pt x="685" y="102"/>
                  </a:cubicBezTo>
                  <a:cubicBezTo>
                    <a:pt x="686" y="102"/>
                    <a:pt x="686" y="102"/>
                    <a:pt x="686" y="102"/>
                  </a:cubicBezTo>
                  <a:close/>
                  <a:moveTo>
                    <a:pt x="1494" y="13"/>
                  </a:moveTo>
                  <a:cubicBezTo>
                    <a:pt x="1494" y="13"/>
                    <a:pt x="1494" y="13"/>
                    <a:pt x="1494" y="13"/>
                  </a:cubicBezTo>
                  <a:cubicBezTo>
                    <a:pt x="1494" y="13"/>
                    <a:pt x="1494" y="13"/>
                    <a:pt x="1494" y="13"/>
                  </a:cubicBezTo>
                  <a:close/>
                  <a:moveTo>
                    <a:pt x="741" y="102"/>
                  </a:moveTo>
                  <a:cubicBezTo>
                    <a:pt x="741" y="101"/>
                    <a:pt x="740" y="102"/>
                    <a:pt x="740" y="102"/>
                  </a:cubicBezTo>
                  <a:cubicBezTo>
                    <a:pt x="741" y="102"/>
                    <a:pt x="741" y="102"/>
                    <a:pt x="741" y="102"/>
                  </a:cubicBezTo>
                  <a:close/>
                  <a:moveTo>
                    <a:pt x="767" y="102"/>
                  </a:moveTo>
                  <a:cubicBezTo>
                    <a:pt x="767" y="102"/>
                    <a:pt x="767" y="101"/>
                    <a:pt x="766" y="102"/>
                  </a:cubicBezTo>
                  <a:cubicBezTo>
                    <a:pt x="767" y="102"/>
                    <a:pt x="767" y="102"/>
                    <a:pt x="767" y="102"/>
                  </a:cubicBezTo>
                  <a:close/>
                  <a:moveTo>
                    <a:pt x="1736" y="43"/>
                  </a:moveTo>
                  <a:cubicBezTo>
                    <a:pt x="1736" y="43"/>
                    <a:pt x="1737" y="43"/>
                    <a:pt x="1737" y="43"/>
                  </a:cubicBezTo>
                  <a:cubicBezTo>
                    <a:pt x="1736" y="43"/>
                    <a:pt x="1736" y="43"/>
                    <a:pt x="1736" y="43"/>
                  </a:cubicBezTo>
                  <a:close/>
                  <a:moveTo>
                    <a:pt x="678" y="62"/>
                  </a:moveTo>
                  <a:cubicBezTo>
                    <a:pt x="679" y="62"/>
                    <a:pt x="679" y="62"/>
                    <a:pt x="679" y="62"/>
                  </a:cubicBezTo>
                  <a:cubicBezTo>
                    <a:pt x="679" y="62"/>
                    <a:pt x="679" y="62"/>
                    <a:pt x="678" y="62"/>
                  </a:cubicBezTo>
                  <a:close/>
                  <a:moveTo>
                    <a:pt x="641" y="44"/>
                  </a:moveTo>
                  <a:cubicBezTo>
                    <a:pt x="641" y="44"/>
                    <a:pt x="641" y="43"/>
                    <a:pt x="641" y="43"/>
                  </a:cubicBezTo>
                  <a:cubicBezTo>
                    <a:pt x="641" y="43"/>
                    <a:pt x="641" y="44"/>
                    <a:pt x="641" y="44"/>
                  </a:cubicBezTo>
                  <a:close/>
                  <a:moveTo>
                    <a:pt x="1746" y="48"/>
                  </a:moveTo>
                  <a:cubicBezTo>
                    <a:pt x="1745" y="48"/>
                    <a:pt x="1745" y="49"/>
                    <a:pt x="1745" y="49"/>
                  </a:cubicBezTo>
                  <a:cubicBezTo>
                    <a:pt x="1746" y="49"/>
                    <a:pt x="1746" y="49"/>
                    <a:pt x="1746" y="48"/>
                  </a:cubicBezTo>
                  <a:close/>
                  <a:moveTo>
                    <a:pt x="660" y="44"/>
                  </a:moveTo>
                  <a:cubicBezTo>
                    <a:pt x="661" y="44"/>
                    <a:pt x="661" y="43"/>
                    <a:pt x="661" y="43"/>
                  </a:cubicBezTo>
                  <a:cubicBezTo>
                    <a:pt x="660" y="43"/>
                    <a:pt x="660" y="43"/>
                    <a:pt x="660" y="44"/>
                  </a:cubicBezTo>
                  <a:close/>
                  <a:moveTo>
                    <a:pt x="676" y="43"/>
                  </a:moveTo>
                  <a:cubicBezTo>
                    <a:pt x="675" y="43"/>
                    <a:pt x="675" y="43"/>
                    <a:pt x="675" y="43"/>
                  </a:cubicBezTo>
                  <a:cubicBezTo>
                    <a:pt x="675" y="43"/>
                    <a:pt x="675" y="43"/>
                    <a:pt x="676" y="43"/>
                  </a:cubicBezTo>
                  <a:close/>
                  <a:moveTo>
                    <a:pt x="1184" y="102"/>
                  </a:moveTo>
                  <a:cubicBezTo>
                    <a:pt x="1184" y="102"/>
                    <a:pt x="1184" y="102"/>
                    <a:pt x="1183" y="102"/>
                  </a:cubicBezTo>
                  <a:cubicBezTo>
                    <a:pt x="1184" y="102"/>
                    <a:pt x="1184" y="102"/>
                    <a:pt x="1184" y="102"/>
                  </a:cubicBezTo>
                  <a:close/>
                  <a:moveTo>
                    <a:pt x="1201" y="102"/>
                  </a:moveTo>
                  <a:cubicBezTo>
                    <a:pt x="1201" y="102"/>
                    <a:pt x="1200" y="102"/>
                    <a:pt x="1200" y="102"/>
                  </a:cubicBezTo>
                  <a:cubicBezTo>
                    <a:pt x="1200" y="102"/>
                    <a:pt x="1201" y="102"/>
                    <a:pt x="1201" y="102"/>
                  </a:cubicBezTo>
                  <a:close/>
                  <a:moveTo>
                    <a:pt x="971" y="14"/>
                  </a:moveTo>
                  <a:cubicBezTo>
                    <a:pt x="972" y="14"/>
                    <a:pt x="972" y="14"/>
                    <a:pt x="972" y="13"/>
                  </a:cubicBezTo>
                  <a:cubicBezTo>
                    <a:pt x="972" y="13"/>
                    <a:pt x="971" y="14"/>
                    <a:pt x="971" y="14"/>
                  </a:cubicBezTo>
                  <a:close/>
                  <a:moveTo>
                    <a:pt x="829" y="44"/>
                  </a:moveTo>
                  <a:cubicBezTo>
                    <a:pt x="829" y="44"/>
                    <a:pt x="829" y="43"/>
                    <a:pt x="829" y="43"/>
                  </a:cubicBezTo>
                  <a:cubicBezTo>
                    <a:pt x="829" y="43"/>
                    <a:pt x="829" y="43"/>
                    <a:pt x="829" y="44"/>
                  </a:cubicBezTo>
                  <a:close/>
                  <a:moveTo>
                    <a:pt x="839" y="43"/>
                  </a:moveTo>
                  <a:cubicBezTo>
                    <a:pt x="839" y="43"/>
                    <a:pt x="838" y="43"/>
                    <a:pt x="838" y="43"/>
                  </a:cubicBezTo>
                  <a:cubicBezTo>
                    <a:pt x="838" y="43"/>
                    <a:pt x="839" y="43"/>
                    <a:pt x="839" y="43"/>
                  </a:cubicBezTo>
                  <a:close/>
                  <a:moveTo>
                    <a:pt x="1449" y="101"/>
                  </a:moveTo>
                  <a:cubicBezTo>
                    <a:pt x="1449" y="101"/>
                    <a:pt x="1449" y="102"/>
                    <a:pt x="1449" y="102"/>
                  </a:cubicBezTo>
                  <a:cubicBezTo>
                    <a:pt x="1449" y="102"/>
                    <a:pt x="1449" y="102"/>
                    <a:pt x="1449" y="101"/>
                  </a:cubicBezTo>
                  <a:close/>
                  <a:moveTo>
                    <a:pt x="1291" y="53"/>
                  </a:moveTo>
                  <a:cubicBezTo>
                    <a:pt x="1290" y="53"/>
                    <a:pt x="1290" y="54"/>
                    <a:pt x="1290" y="54"/>
                  </a:cubicBezTo>
                  <a:cubicBezTo>
                    <a:pt x="1291" y="54"/>
                    <a:pt x="1291" y="53"/>
                    <a:pt x="1291" y="53"/>
                  </a:cubicBezTo>
                  <a:close/>
                  <a:moveTo>
                    <a:pt x="1493" y="14"/>
                  </a:moveTo>
                  <a:cubicBezTo>
                    <a:pt x="1493" y="14"/>
                    <a:pt x="1493" y="14"/>
                    <a:pt x="1494" y="13"/>
                  </a:cubicBezTo>
                  <a:cubicBezTo>
                    <a:pt x="1493" y="13"/>
                    <a:pt x="1493" y="14"/>
                    <a:pt x="1493" y="14"/>
                  </a:cubicBezTo>
                  <a:close/>
                  <a:moveTo>
                    <a:pt x="851" y="43"/>
                  </a:moveTo>
                  <a:cubicBezTo>
                    <a:pt x="851" y="43"/>
                    <a:pt x="851" y="43"/>
                    <a:pt x="850" y="43"/>
                  </a:cubicBezTo>
                  <a:cubicBezTo>
                    <a:pt x="851" y="43"/>
                    <a:pt x="851" y="43"/>
                    <a:pt x="851" y="43"/>
                  </a:cubicBezTo>
                  <a:close/>
                  <a:moveTo>
                    <a:pt x="867" y="43"/>
                  </a:moveTo>
                  <a:cubicBezTo>
                    <a:pt x="867" y="43"/>
                    <a:pt x="867" y="44"/>
                    <a:pt x="867" y="44"/>
                  </a:cubicBezTo>
                  <a:cubicBezTo>
                    <a:pt x="867" y="43"/>
                    <a:pt x="867" y="43"/>
                    <a:pt x="867" y="43"/>
                  </a:cubicBezTo>
                  <a:close/>
                  <a:moveTo>
                    <a:pt x="725" y="102"/>
                  </a:moveTo>
                  <a:cubicBezTo>
                    <a:pt x="725" y="102"/>
                    <a:pt x="725" y="102"/>
                    <a:pt x="724" y="102"/>
                  </a:cubicBezTo>
                  <a:cubicBezTo>
                    <a:pt x="725" y="102"/>
                    <a:pt x="725" y="102"/>
                    <a:pt x="725" y="102"/>
                  </a:cubicBezTo>
                  <a:close/>
                  <a:moveTo>
                    <a:pt x="882" y="43"/>
                  </a:moveTo>
                  <a:cubicBezTo>
                    <a:pt x="881" y="43"/>
                    <a:pt x="881" y="43"/>
                    <a:pt x="881" y="43"/>
                  </a:cubicBezTo>
                  <a:cubicBezTo>
                    <a:pt x="881" y="43"/>
                    <a:pt x="882" y="43"/>
                    <a:pt x="882" y="43"/>
                  </a:cubicBezTo>
                  <a:close/>
                  <a:moveTo>
                    <a:pt x="894" y="43"/>
                  </a:moveTo>
                  <a:cubicBezTo>
                    <a:pt x="894" y="43"/>
                    <a:pt x="893" y="43"/>
                    <a:pt x="893" y="43"/>
                  </a:cubicBezTo>
                  <a:cubicBezTo>
                    <a:pt x="893" y="43"/>
                    <a:pt x="894" y="43"/>
                    <a:pt x="894" y="43"/>
                  </a:cubicBezTo>
                  <a:close/>
                  <a:moveTo>
                    <a:pt x="1123" y="43"/>
                  </a:moveTo>
                  <a:cubicBezTo>
                    <a:pt x="1122" y="43"/>
                    <a:pt x="1122" y="43"/>
                    <a:pt x="1122" y="43"/>
                  </a:cubicBezTo>
                  <a:cubicBezTo>
                    <a:pt x="1122" y="43"/>
                    <a:pt x="1122" y="43"/>
                    <a:pt x="1123" y="43"/>
                  </a:cubicBezTo>
                  <a:close/>
                  <a:moveTo>
                    <a:pt x="1670" y="56"/>
                  </a:moveTo>
                  <a:cubicBezTo>
                    <a:pt x="1670" y="56"/>
                    <a:pt x="1670" y="56"/>
                    <a:pt x="1669" y="57"/>
                  </a:cubicBezTo>
                  <a:cubicBezTo>
                    <a:pt x="1670" y="57"/>
                    <a:pt x="1670" y="57"/>
                    <a:pt x="1670" y="56"/>
                  </a:cubicBezTo>
                  <a:close/>
                  <a:moveTo>
                    <a:pt x="1135" y="43"/>
                  </a:moveTo>
                  <a:cubicBezTo>
                    <a:pt x="1135" y="43"/>
                    <a:pt x="1135" y="43"/>
                    <a:pt x="1135" y="43"/>
                  </a:cubicBezTo>
                  <a:cubicBezTo>
                    <a:pt x="1135" y="43"/>
                    <a:pt x="1135" y="43"/>
                    <a:pt x="1135" y="43"/>
                  </a:cubicBezTo>
                  <a:close/>
                  <a:moveTo>
                    <a:pt x="1151" y="43"/>
                  </a:moveTo>
                  <a:cubicBezTo>
                    <a:pt x="1151" y="43"/>
                    <a:pt x="1152" y="44"/>
                    <a:pt x="1152" y="44"/>
                  </a:cubicBezTo>
                  <a:cubicBezTo>
                    <a:pt x="1152" y="43"/>
                    <a:pt x="1152" y="43"/>
                    <a:pt x="1151" y="43"/>
                  </a:cubicBezTo>
                  <a:close/>
                  <a:moveTo>
                    <a:pt x="1492" y="14"/>
                  </a:moveTo>
                  <a:cubicBezTo>
                    <a:pt x="1493" y="14"/>
                    <a:pt x="1493" y="14"/>
                    <a:pt x="1493" y="14"/>
                  </a:cubicBezTo>
                  <a:cubicBezTo>
                    <a:pt x="1493" y="14"/>
                    <a:pt x="1492" y="14"/>
                    <a:pt x="1492" y="14"/>
                  </a:cubicBezTo>
                  <a:close/>
                  <a:moveTo>
                    <a:pt x="1260" y="43"/>
                  </a:moveTo>
                  <a:cubicBezTo>
                    <a:pt x="1260" y="43"/>
                    <a:pt x="1260" y="44"/>
                    <a:pt x="1260" y="44"/>
                  </a:cubicBezTo>
                  <a:cubicBezTo>
                    <a:pt x="1260" y="43"/>
                    <a:pt x="1260" y="43"/>
                    <a:pt x="1260" y="43"/>
                  </a:cubicBezTo>
                  <a:close/>
                  <a:moveTo>
                    <a:pt x="1384" y="44"/>
                  </a:moveTo>
                  <a:cubicBezTo>
                    <a:pt x="1384" y="44"/>
                    <a:pt x="1384" y="43"/>
                    <a:pt x="1384" y="43"/>
                  </a:cubicBezTo>
                  <a:cubicBezTo>
                    <a:pt x="1384" y="43"/>
                    <a:pt x="1384" y="43"/>
                    <a:pt x="1384" y="44"/>
                  </a:cubicBezTo>
                  <a:close/>
                  <a:moveTo>
                    <a:pt x="725" y="14"/>
                  </a:moveTo>
                  <a:cubicBezTo>
                    <a:pt x="725" y="15"/>
                    <a:pt x="725" y="15"/>
                    <a:pt x="725" y="15"/>
                  </a:cubicBezTo>
                  <a:cubicBezTo>
                    <a:pt x="725" y="14"/>
                    <a:pt x="725" y="14"/>
                    <a:pt x="725" y="14"/>
                  </a:cubicBezTo>
                  <a:close/>
                  <a:moveTo>
                    <a:pt x="1580" y="43"/>
                  </a:moveTo>
                  <a:cubicBezTo>
                    <a:pt x="1580" y="43"/>
                    <a:pt x="1580" y="43"/>
                    <a:pt x="1580" y="44"/>
                  </a:cubicBezTo>
                  <a:cubicBezTo>
                    <a:pt x="1580" y="44"/>
                    <a:pt x="1580" y="43"/>
                    <a:pt x="1580" y="43"/>
                  </a:cubicBezTo>
                  <a:close/>
                  <a:moveTo>
                    <a:pt x="596" y="44"/>
                  </a:moveTo>
                  <a:cubicBezTo>
                    <a:pt x="596" y="44"/>
                    <a:pt x="596" y="43"/>
                    <a:pt x="596" y="43"/>
                  </a:cubicBezTo>
                  <a:cubicBezTo>
                    <a:pt x="596" y="44"/>
                    <a:pt x="596" y="44"/>
                    <a:pt x="596" y="44"/>
                  </a:cubicBezTo>
                  <a:close/>
                  <a:moveTo>
                    <a:pt x="1492" y="15"/>
                  </a:moveTo>
                  <a:cubicBezTo>
                    <a:pt x="1492" y="15"/>
                    <a:pt x="1492" y="14"/>
                    <a:pt x="1492" y="14"/>
                  </a:cubicBezTo>
                  <a:cubicBezTo>
                    <a:pt x="1492" y="14"/>
                    <a:pt x="1492" y="14"/>
                    <a:pt x="1492" y="15"/>
                  </a:cubicBezTo>
                  <a:close/>
                  <a:moveTo>
                    <a:pt x="1211" y="50"/>
                  </a:moveTo>
                  <a:cubicBezTo>
                    <a:pt x="1211" y="50"/>
                    <a:pt x="1211" y="50"/>
                    <a:pt x="1211" y="49"/>
                  </a:cubicBezTo>
                  <a:cubicBezTo>
                    <a:pt x="1211" y="49"/>
                    <a:pt x="1211" y="50"/>
                    <a:pt x="1211" y="50"/>
                  </a:cubicBezTo>
                  <a:close/>
                  <a:moveTo>
                    <a:pt x="629" y="102"/>
                  </a:moveTo>
                  <a:cubicBezTo>
                    <a:pt x="629" y="102"/>
                    <a:pt x="629" y="103"/>
                    <a:pt x="629" y="103"/>
                  </a:cubicBezTo>
                  <a:cubicBezTo>
                    <a:pt x="629" y="103"/>
                    <a:pt x="629" y="102"/>
                    <a:pt x="629" y="102"/>
                  </a:cubicBezTo>
                  <a:close/>
                  <a:moveTo>
                    <a:pt x="1293" y="49"/>
                  </a:moveTo>
                  <a:cubicBezTo>
                    <a:pt x="1293" y="49"/>
                    <a:pt x="1292" y="50"/>
                    <a:pt x="1292" y="50"/>
                  </a:cubicBezTo>
                  <a:cubicBezTo>
                    <a:pt x="1293" y="50"/>
                    <a:pt x="1293" y="50"/>
                    <a:pt x="1293" y="49"/>
                  </a:cubicBezTo>
                  <a:close/>
                  <a:moveTo>
                    <a:pt x="577" y="57"/>
                  </a:moveTo>
                  <a:cubicBezTo>
                    <a:pt x="577" y="57"/>
                    <a:pt x="577" y="57"/>
                    <a:pt x="577" y="57"/>
                  </a:cubicBezTo>
                  <a:cubicBezTo>
                    <a:pt x="577" y="57"/>
                    <a:pt x="577" y="57"/>
                    <a:pt x="577" y="57"/>
                  </a:cubicBezTo>
                  <a:close/>
                  <a:moveTo>
                    <a:pt x="724" y="15"/>
                  </a:moveTo>
                  <a:cubicBezTo>
                    <a:pt x="724" y="15"/>
                    <a:pt x="724" y="15"/>
                    <a:pt x="725" y="15"/>
                  </a:cubicBezTo>
                  <a:cubicBezTo>
                    <a:pt x="724" y="15"/>
                    <a:pt x="724" y="15"/>
                    <a:pt x="724" y="15"/>
                  </a:cubicBezTo>
                  <a:close/>
                  <a:moveTo>
                    <a:pt x="970" y="15"/>
                  </a:moveTo>
                  <a:cubicBezTo>
                    <a:pt x="970" y="15"/>
                    <a:pt x="970" y="15"/>
                    <a:pt x="970" y="14"/>
                  </a:cubicBezTo>
                  <a:cubicBezTo>
                    <a:pt x="970" y="15"/>
                    <a:pt x="970" y="15"/>
                    <a:pt x="970" y="15"/>
                  </a:cubicBezTo>
                  <a:close/>
                  <a:moveTo>
                    <a:pt x="1392" y="15"/>
                  </a:moveTo>
                  <a:cubicBezTo>
                    <a:pt x="1392" y="15"/>
                    <a:pt x="1392" y="15"/>
                    <a:pt x="1392" y="15"/>
                  </a:cubicBezTo>
                  <a:cubicBezTo>
                    <a:pt x="1392" y="15"/>
                    <a:pt x="1392" y="15"/>
                    <a:pt x="1392" y="15"/>
                  </a:cubicBezTo>
                  <a:close/>
                  <a:moveTo>
                    <a:pt x="1263" y="48"/>
                  </a:moveTo>
                  <a:cubicBezTo>
                    <a:pt x="1263" y="48"/>
                    <a:pt x="1263" y="48"/>
                    <a:pt x="1263" y="48"/>
                  </a:cubicBezTo>
                  <a:cubicBezTo>
                    <a:pt x="1263" y="48"/>
                    <a:pt x="1263" y="48"/>
                    <a:pt x="1263" y="48"/>
                  </a:cubicBezTo>
                  <a:close/>
                  <a:moveTo>
                    <a:pt x="634" y="63"/>
                  </a:moveTo>
                  <a:cubicBezTo>
                    <a:pt x="634" y="63"/>
                    <a:pt x="634" y="62"/>
                    <a:pt x="634" y="62"/>
                  </a:cubicBezTo>
                  <a:cubicBezTo>
                    <a:pt x="634" y="62"/>
                    <a:pt x="634" y="63"/>
                    <a:pt x="634" y="63"/>
                  </a:cubicBezTo>
                  <a:close/>
                  <a:moveTo>
                    <a:pt x="873" y="52"/>
                  </a:moveTo>
                  <a:cubicBezTo>
                    <a:pt x="873" y="52"/>
                    <a:pt x="873" y="52"/>
                    <a:pt x="873" y="52"/>
                  </a:cubicBezTo>
                  <a:cubicBezTo>
                    <a:pt x="873" y="52"/>
                    <a:pt x="873" y="52"/>
                    <a:pt x="873" y="52"/>
                  </a:cubicBezTo>
                  <a:close/>
                  <a:moveTo>
                    <a:pt x="679" y="62"/>
                  </a:moveTo>
                  <a:cubicBezTo>
                    <a:pt x="679" y="62"/>
                    <a:pt x="679" y="63"/>
                    <a:pt x="680" y="63"/>
                  </a:cubicBezTo>
                  <a:cubicBezTo>
                    <a:pt x="680" y="62"/>
                    <a:pt x="679" y="62"/>
                    <a:pt x="679" y="62"/>
                  </a:cubicBezTo>
                  <a:close/>
                  <a:moveTo>
                    <a:pt x="1380" y="62"/>
                  </a:moveTo>
                  <a:cubicBezTo>
                    <a:pt x="1380" y="62"/>
                    <a:pt x="1380" y="62"/>
                    <a:pt x="1380" y="63"/>
                  </a:cubicBezTo>
                  <a:cubicBezTo>
                    <a:pt x="1380" y="63"/>
                    <a:pt x="1380" y="62"/>
                    <a:pt x="1380" y="62"/>
                  </a:cubicBezTo>
                  <a:close/>
                  <a:moveTo>
                    <a:pt x="611" y="53"/>
                  </a:moveTo>
                  <a:cubicBezTo>
                    <a:pt x="611" y="53"/>
                    <a:pt x="611" y="53"/>
                    <a:pt x="611" y="54"/>
                  </a:cubicBezTo>
                  <a:cubicBezTo>
                    <a:pt x="611" y="53"/>
                    <a:pt x="611" y="53"/>
                    <a:pt x="611" y="53"/>
                  </a:cubicBezTo>
                  <a:close/>
                  <a:moveTo>
                    <a:pt x="1491" y="15"/>
                  </a:moveTo>
                  <a:cubicBezTo>
                    <a:pt x="1491" y="15"/>
                    <a:pt x="1491" y="15"/>
                    <a:pt x="1492" y="15"/>
                  </a:cubicBezTo>
                  <a:cubicBezTo>
                    <a:pt x="1491" y="15"/>
                    <a:pt x="1491" y="15"/>
                    <a:pt x="1491" y="15"/>
                  </a:cubicBezTo>
                  <a:close/>
                  <a:moveTo>
                    <a:pt x="1733" y="49"/>
                  </a:moveTo>
                  <a:cubicBezTo>
                    <a:pt x="1733" y="49"/>
                    <a:pt x="1733" y="49"/>
                    <a:pt x="1733" y="48"/>
                  </a:cubicBezTo>
                  <a:cubicBezTo>
                    <a:pt x="1733" y="48"/>
                    <a:pt x="1733" y="49"/>
                    <a:pt x="1733" y="49"/>
                  </a:cubicBezTo>
                  <a:close/>
                  <a:moveTo>
                    <a:pt x="601" y="57"/>
                  </a:moveTo>
                  <a:cubicBezTo>
                    <a:pt x="601" y="57"/>
                    <a:pt x="601" y="57"/>
                    <a:pt x="601" y="57"/>
                  </a:cubicBezTo>
                  <a:cubicBezTo>
                    <a:pt x="601" y="57"/>
                    <a:pt x="601" y="57"/>
                    <a:pt x="601" y="57"/>
                  </a:cubicBezTo>
                  <a:close/>
                  <a:moveTo>
                    <a:pt x="1653" y="62"/>
                  </a:moveTo>
                  <a:cubicBezTo>
                    <a:pt x="1653" y="62"/>
                    <a:pt x="1652" y="62"/>
                    <a:pt x="1652" y="62"/>
                  </a:cubicBezTo>
                  <a:cubicBezTo>
                    <a:pt x="1652" y="63"/>
                    <a:pt x="1653" y="63"/>
                    <a:pt x="1653" y="62"/>
                  </a:cubicBezTo>
                  <a:close/>
                  <a:moveTo>
                    <a:pt x="647" y="56"/>
                  </a:moveTo>
                  <a:cubicBezTo>
                    <a:pt x="647" y="57"/>
                    <a:pt x="647" y="57"/>
                    <a:pt x="647" y="57"/>
                  </a:cubicBezTo>
                  <a:cubicBezTo>
                    <a:pt x="647" y="57"/>
                    <a:pt x="647" y="57"/>
                    <a:pt x="647" y="56"/>
                  </a:cubicBezTo>
                  <a:close/>
                  <a:moveTo>
                    <a:pt x="965" y="39"/>
                  </a:moveTo>
                  <a:cubicBezTo>
                    <a:pt x="965" y="39"/>
                    <a:pt x="965" y="40"/>
                    <a:pt x="965" y="40"/>
                  </a:cubicBezTo>
                  <a:cubicBezTo>
                    <a:pt x="965" y="40"/>
                    <a:pt x="965" y="39"/>
                    <a:pt x="965" y="39"/>
                  </a:cubicBezTo>
                  <a:close/>
                  <a:moveTo>
                    <a:pt x="618" y="103"/>
                  </a:moveTo>
                  <a:cubicBezTo>
                    <a:pt x="618" y="103"/>
                    <a:pt x="618" y="103"/>
                    <a:pt x="618" y="103"/>
                  </a:cubicBezTo>
                  <a:cubicBezTo>
                    <a:pt x="618" y="103"/>
                    <a:pt x="617" y="103"/>
                    <a:pt x="618" y="103"/>
                  </a:cubicBezTo>
                  <a:close/>
                  <a:moveTo>
                    <a:pt x="852" y="44"/>
                  </a:moveTo>
                  <a:cubicBezTo>
                    <a:pt x="852" y="43"/>
                    <a:pt x="851" y="43"/>
                    <a:pt x="851" y="43"/>
                  </a:cubicBezTo>
                  <a:cubicBezTo>
                    <a:pt x="851" y="44"/>
                    <a:pt x="851" y="44"/>
                    <a:pt x="852" y="44"/>
                  </a:cubicBezTo>
                  <a:close/>
                  <a:moveTo>
                    <a:pt x="671" y="57"/>
                  </a:moveTo>
                  <a:cubicBezTo>
                    <a:pt x="671" y="57"/>
                    <a:pt x="671" y="57"/>
                    <a:pt x="671" y="57"/>
                  </a:cubicBezTo>
                  <a:cubicBezTo>
                    <a:pt x="671" y="57"/>
                    <a:pt x="671" y="57"/>
                    <a:pt x="671" y="57"/>
                  </a:cubicBezTo>
                  <a:close/>
                  <a:moveTo>
                    <a:pt x="749" y="54"/>
                  </a:moveTo>
                  <a:cubicBezTo>
                    <a:pt x="750" y="53"/>
                    <a:pt x="750" y="53"/>
                    <a:pt x="750" y="53"/>
                  </a:cubicBezTo>
                  <a:cubicBezTo>
                    <a:pt x="749" y="53"/>
                    <a:pt x="749" y="53"/>
                    <a:pt x="749" y="54"/>
                  </a:cubicBezTo>
                  <a:close/>
                  <a:moveTo>
                    <a:pt x="680" y="63"/>
                  </a:moveTo>
                  <a:cubicBezTo>
                    <a:pt x="680" y="63"/>
                    <a:pt x="680" y="63"/>
                    <a:pt x="680" y="63"/>
                  </a:cubicBezTo>
                  <a:cubicBezTo>
                    <a:pt x="680" y="63"/>
                    <a:pt x="680" y="63"/>
                    <a:pt x="680" y="63"/>
                  </a:cubicBezTo>
                  <a:close/>
                  <a:moveTo>
                    <a:pt x="638" y="52"/>
                  </a:moveTo>
                  <a:cubicBezTo>
                    <a:pt x="638" y="52"/>
                    <a:pt x="638" y="52"/>
                    <a:pt x="638" y="52"/>
                  </a:cubicBezTo>
                  <a:cubicBezTo>
                    <a:pt x="638" y="52"/>
                    <a:pt x="638" y="52"/>
                    <a:pt x="638" y="52"/>
                  </a:cubicBezTo>
                  <a:close/>
                  <a:moveTo>
                    <a:pt x="1577" y="49"/>
                  </a:moveTo>
                  <a:cubicBezTo>
                    <a:pt x="1577" y="49"/>
                    <a:pt x="1576" y="50"/>
                    <a:pt x="1576" y="50"/>
                  </a:cubicBezTo>
                  <a:cubicBezTo>
                    <a:pt x="1577" y="50"/>
                    <a:pt x="1577" y="50"/>
                    <a:pt x="1577" y="49"/>
                  </a:cubicBezTo>
                  <a:close/>
                  <a:moveTo>
                    <a:pt x="574" y="55"/>
                  </a:moveTo>
                  <a:cubicBezTo>
                    <a:pt x="574" y="55"/>
                    <a:pt x="575" y="55"/>
                    <a:pt x="575" y="55"/>
                  </a:cubicBezTo>
                  <a:cubicBezTo>
                    <a:pt x="575" y="55"/>
                    <a:pt x="575" y="55"/>
                    <a:pt x="574" y="55"/>
                  </a:cubicBezTo>
                  <a:close/>
                  <a:moveTo>
                    <a:pt x="723" y="15"/>
                  </a:moveTo>
                  <a:cubicBezTo>
                    <a:pt x="723" y="15"/>
                    <a:pt x="723" y="15"/>
                    <a:pt x="723" y="15"/>
                  </a:cubicBezTo>
                  <a:cubicBezTo>
                    <a:pt x="723" y="15"/>
                    <a:pt x="723" y="15"/>
                    <a:pt x="723" y="15"/>
                  </a:cubicBezTo>
                  <a:close/>
                  <a:moveTo>
                    <a:pt x="1564" y="62"/>
                  </a:moveTo>
                  <a:cubicBezTo>
                    <a:pt x="1564" y="62"/>
                    <a:pt x="1564" y="63"/>
                    <a:pt x="1564" y="63"/>
                  </a:cubicBezTo>
                  <a:cubicBezTo>
                    <a:pt x="1564" y="63"/>
                    <a:pt x="1564" y="63"/>
                    <a:pt x="1564" y="62"/>
                  </a:cubicBezTo>
                  <a:close/>
                  <a:moveTo>
                    <a:pt x="1744" y="51"/>
                  </a:moveTo>
                  <a:cubicBezTo>
                    <a:pt x="1743" y="51"/>
                    <a:pt x="1743" y="52"/>
                    <a:pt x="1743" y="52"/>
                  </a:cubicBezTo>
                  <a:cubicBezTo>
                    <a:pt x="1743" y="52"/>
                    <a:pt x="1744" y="52"/>
                    <a:pt x="1744" y="51"/>
                  </a:cubicBezTo>
                  <a:close/>
                  <a:moveTo>
                    <a:pt x="895" y="44"/>
                  </a:moveTo>
                  <a:cubicBezTo>
                    <a:pt x="894" y="43"/>
                    <a:pt x="894" y="43"/>
                    <a:pt x="894" y="43"/>
                  </a:cubicBezTo>
                  <a:cubicBezTo>
                    <a:pt x="894" y="44"/>
                    <a:pt x="894" y="44"/>
                    <a:pt x="895" y="44"/>
                  </a:cubicBezTo>
                  <a:close/>
                  <a:moveTo>
                    <a:pt x="752" y="48"/>
                  </a:moveTo>
                  <a:cubicBezTo>
                    <a:pt x="752" y="48"/>
                    <a:pt x="752" y="48"/>
                    <a:pt x="752" y="48"/>
                  </a:cubicBezTo>
                  <a:cubicBezTo>
                    <a:pt x="752" y="48"/>
                    <a:pt x="752" y="48"/>
                    <a:pt x="752" y="48"/>
                  </a:cubicBezTo>
                  <a:close/>
                  <a:moveTo>
                    <a:pt x="1654" y="63"/>
                  </a:moveTo>
                  <a:cubicBezTo>
                    <a:pt x="1654" y="63"/>
                    <a:pt x="1653" y="63"/>
                    <a:pt x="1653" y="63"/>
                  </a:cubicBezTo>
                  <a:cubicBezTo>
                    <a:pt x="1653" y="63"/>
                    <a:pt x="1653" y="63"/>
                    <a:pt x="1654" y="63"/>
                  </a:cubicBezTo>
                  <a:close/>
                  <a:moveTo>
                    <a:pt x="1490" y="15"/>
                  </a:moveTo>
                  <a:cubicBezTo>
                    <a:pt x="1490" y="15"/>
                    <a:pt x="1491" y="15"/>
                    <a:pt x="1491" y="15"/>
                  </a:cubicBezTo>
                  <a:cubicBezTo>
                    <a:pt x="1491" y="15"/>
                    <a:pt x="1490" y="15"/>
                    <a:pt x="1490" y="15"/>
                  </a:cubicBezTo>
                  <a:close/>
                  <a:moveTo>
                    <a:pt x="1732" y="62"/>
                  </a:moveTo>
                  <a:cubicBezTo>
                    <a:pt x="1732" y="62"/>
                    <a:pt x="1732" y="63"/>
                    <a:pt x="1732" y="63"/>
                  </a:cubicBezTo>
                  <a:cubicBezTo>
                    <a:pt x="1732" y="63"/>
                    <a:pt x="1732" y="63"/>
                    <a:pt x="1732" y="62"/>
                  </a:cubicBezTo>
                  <a:close/>
                  <a:moveTo>
                    <a:pt x="604" y="64"/>
                  </a:moveTo>
                  <a:cubicBezTo>
                    <a:pt x="604" y="63"/>
                    <a:pt x="604" y="63"/>
                    <a:pt x="603" y="63"/>
                  </a:cubicBezTo>
                  <a:cubicBezTo>
                    <a:pt x="603" y="63"/>
                    <a:pt x="603" y="63"/>
                    <a:pt x="604" y="64"/>
                  </a:cubicBezTo>
                  <a:close/>
                  <a:moveTo>
                    <a:pt x="910" y="43"/>
                  </a:moveTo>
                  <a:cubicBezTo>
                    <a:pt x="910" y="44"/>
                    <a:pt x="910" y="44"/>
                    <a:pt x="910" y="44"/>
                  </a:cubicBezTo>
                  <a:cubicBezTo>
                    <a:pt x="910" y="44"/>
                    <a:pt x="910" y="44"/>
                    <a:pt x="910" y="43"/>
                  </a:cubicBezTo>
                  <a:close/>
                  <a:moveTo>
                    <a:pt x="722" y="16"/>
                  </a:moveTo>
                  <a:cubicBezTo>
                    <a:pt x="722" y="16"/>
                    <a:pt x="722" y="16"/>
                    <a:pt x="722" y="15"/>
                  </a:cubicBezTo>
                  <a:cubicBezTo>
                    <a:pt x="722" y="15"/>
                    <a:pt x="722" y="15"/>
                    <a:pt x="722" y="16"/>
                  </a:cubicBezTo>
                  <a:close/>
                  <a:moveTo>
                    <a:pt x="1489" y="16"/>
                  </a:moveTo>
                  <a:cubicBezTo>
                    <a:pt x="1490" y="16"/>
                    <a:pt x="1490" y="16"/>
                    <a:pt x="1490" y="15"/>
                  </a:cubicBezTo>
                  <a:cubicBezTo>
                    <a:pt x="1490" y="15"/>
                    <a:pt x="1490" y="15"/>
                    <a:pt x="1489" y="16"/>
                  </a:cubicBezTo>
                  <a:close/>
                  <a:moveTo>
                    <a:pt x="562" y="48"/>
                  </a:moveTo>
                  <a:cubicBezTo>
                    <a:pt x="562" y="48"/>
                    <a:pt x="562" y="48"/>
                    <a:pt x="563" y="48"/>
                  </a:cubicBezTo>
                  <a:cubicBezTo>
                    <a:pt x="563" y="48"/>
                    <a:pt x="562" y="48"/>
                    <a:pt x="562" y="48"/>
                  </a:cubicBezTo>
                  <a:close/>
                  <a:moveTo>
                    <a:pt x="1680" y="47"/>
                  </a:moveTo>
                  <a:cubicBezTo>
                    <a:pt x="1680" y="47"/>
                    <a:pt x="1680" y="48"/>
                    <a:pt x="1680" y="48"/>
                  </a:cubicBezTo>
                  <a:cubicBezTo>
                    <a:pt x="1680" y="48"/>
                    <a:pt x="1680" y="48"/>
                    <a:pt x="1680" y="47"/>
                  </a:cubicBezTo>
                  <a:close/>
                  <a:moveTo>
                    <a:pt x="654" y="39"/>
                  </a:moveTo>
                  <a:cubicBezTo>
                    <a:pt x="654" y="39"/>
                    <a:pt x="654" y="39"/>
                    <a:pt x="654" y="40"/>
                  </a:cubicBezTo>
                  <a:cubicBezTo>
                    <a:pt x="654" y="39"/>
                    <a:pt x="654" y="39"/>
                    <a:pt x="654" y="39"/>
                  </a:cubicBezTo>
                  <a:close/>
                  <a:moveTo>
                    <a:pt x="606" y="39"/>
                  </a:moveTo>
                  <a:cubicBezTo>
                    <a:pt x="606" y="39"/>
                    <a:pt x="606" y="39"/>
                    <a:pt x="606" y="40"/>
                  </a:cubicBezTo>
                  <a:cubicBezTo>
                    <a:pt x="606" y="39"/>
                    <a:pt x="606" y="39"/>
                    <a:pt x="606" y="39"/>
                  </a:cubicBezTo>
                  <a:close/>
                  <a:moveTo>
                    <a:pt x="594" y="40"/>
                  </a:moveTo>
                  <a:cubicBezTo>
                    <a:pt x="594" y="39"/>
                    <a:pt x="594" y="39"/>
                    <a:pt x="594" y="39"/>
                  </a:cubicBezTo>
                  <a:cubicBezTo>
                    <a:pt x="594" y="39"/>
                    <a:pt x="594" y="39"/>
                    <a:pt x="594" y="40"/>
                  </a:cubicBezTo>
                  <a:close/>
                  <a:moveTo>
                    <a:pt x="1381" y="48"/>
                  </a:moveTo>
                  <a:cubicBezTo>
                    <a:pt x="1381" y="48"/>
                    <a:pt x="1382" y="48"/>
                    <a:pt x="1382" y="47"/>
                  </a:cubicBezTo>
                  <a:cubicBezTo>
                    <a:pt x="1381" y="47"/>
                    <a:pt x="1381" y="48"/>
                    <a:pt x="1381" y="48"/>
                  </a:cubicBezTo>
                  <a:close/>
                  <a:moveTo>
                    <a:pt x="1575" y="51"/>
                  </a:moveTo>
                  <a:cubicBezTo>
                    <a:pt x="1575" y="52"/>
                    <a:pt x="1575" y="52"/>
                    <a:pt x="1575" y="52"/>
                  </a:cubicBezTo>
                  <a:cubicBezTo>
                    <a:pt x="1575" y="52"/>
                    <a:pt x="1575" y="52"/>
                    <a:pt x="1575" y="51"/>
                  </a:cubicBezTo>
                  <a:close/>
                  <a:moveTo>
                    <a:pt x="1212" y="48"/>
                  </a:moveTo>
                  <a:cubicBezTo>
                    <a:pt x="1212" y="48"/>
                    <a:pt x="1212" y="48"/>
                    <a:pt x="1212" y="47"/>
                  </a:cubicBezTo>
                  <a:cubicBezTo>
                    <a:pt x="1212" y="47"/>
                    <a:pt x="1212" y="48"/>
                    <a:pt x="1212" y="48"/>
                  </a:cubicBezTo>
                  <a:close/>
                  <a:moveTo>
                    <a:pt x="647" y="56"/>
                  </a:moveTo>
                  <a:cubicBezTo>
                    <a:pt x="647" y="56"/>
                    <a:pt x="647" y="56"/>
                    <a:pt x="647" y="56"/>
                  </a:cubicBezTo>
                  <a:cubicBezTo>
                    <a:pt x="647" y="56"/>
                    <a:pt x="647" y="56"/>
                    <a:pt x="647" y="56"/>
                  </a:cubicBezTo>
                  <a:close/>
                  <a:moveTo>
                    <a:pt x="1085" y="47"/>
                  </a:moveTo>
                  <a:cubicBezTo>
                    <a:pt x="1085" y="48"/>
                    <a:pt x="1085" y="48"/>
                    <a:pt x="1085" y="48"/>
                  </a:cubicBezTo>
                  <a:cubicBezTo>
                    <a:pt x="1085" y="48"/>
                    <a:pt x="1085" y="47"/>
                    <a:pt x="1085" y="47"/>
                  </a:cubicBezTo>
                  <a:close/>
                  <a:moveTo>
                    <a:pt x="1034" y="48"/>
                  </a:moveTo>
                  <a:cubicBezTo>
                    <a:pt x="1034" y="48"/>
                    <a:pt x="1035" y="48"/>
                    <a:pt x="1035" y="47"/>
                  </a:cubicBezTo>
                  <a:cubicBezTo>
                    <a:pt x="1034" y="47"/>
                    <a:pt x="1034" y="48"/>
                    <a:pt x="1034" y="48"/>
                  </a:cubicBezTo>
                  <a:close/>
                  <a:moveTo>
                    <a:pt x="899" y="48"/>
                  </a:moveTo>
                  <a:cubicBezTo>
                    <a:pt x="899" y="48"/>
                    <a:pt x="899" y="47"/>
                    <a:pt x="898" y="47"/>
                  </a:cubicBezTo>
                  <a:cubicBezTo>
                    <a:pt x="898" y="47"/>
                    <a:pt x="898" y="48"/>
                    <a:pt x="899" y="48"/>
                  </a:cubicBezTo>
                  <a:close/>
                  <a:moveTo>
                    <a:pt x="636" y="56"/>
                  </a:moveTo>
                  <a:cubicBezTo>
                    <a:pt x="637" y="56"/>
                    <a:pt x="637" y="56"/>
                    <a:pt x="637" y="56"/>
                  </a:cubicBezTo>
                  <a:cubicBezTo>
                    <a:pt x="636" y="56"/>
                    <a:pt x="636" y="56"/>
                    <a:pt x="636" y="56"/>
                  </a:cubicBezTo>
                  <a:close/>
                  <a:moveTo>
                    <a:pt x="1210" y="52"/>
                  </a:moveTo>
                  <a:cubicBezTo>
                    <a:pt x="1210" y="52"/>
                    <a:pt x="1210" y="52"/>
                    <a:pt x="1210" y="51"/>
                  </a:cubicBezTo>
                  <a:cubicBezTo>
                    <a:pt x="1210" y="52"/>
                    <a:pt x="1210" y="52"/>
                    <a:pt x="1210" y="52"/>
                  </a:cubicBezTo>
                  <a:close/>
                  <a:moveTo>
                    <a:pt x="617" y="104"/>
                  </a:moveTo>
                  <a:cubicBezTo>
                    <a:pt x="617" y="104"/>
                    <a:pt x="618" y="104"/>
                    <a:pt x="618" y="103"/>
                  </a:cubicBezTo>
                  <a:cubicBezTo>
                    <a:pt x="617" y="103"/>
                    <a:pt x="617" y="104"/>
                    <a:pt x="617" y="104"/>
                  </a:cubicBezTo>
                  <a:close/>
                  <a:moveTo>
                    <a:pt x="628" y="104"/>
                  </a:moveTo>
                  <a:cubicBezTo>
                    <a:pt x="628" y="104"/>
                    <a:pt x="628" y="104"/>
                    <a:pt x="628" y="105"/>
                  </a:cubicBezTo>
                  <a:cubicBezTo>
                    <a:pt x="628" y="104"/>
                    <a:pt x="628" y="104"/>
                    <a:pt x="628" y="104"/>
                  </a:cubicBezTo>
                  <a:close/>
                  <a:moveTo>
                    <a:pt x="617" y="105"/>
                  </a:moveTo>
                  <a:cubicBezTo>
                    <a:pt x="617" y="105"/>
                    <a:pt x="617" y="105"/>
                    <a:pt x="617" y="104"/>
                  </a:cubicBezTo>
                  <a:cubicBezTo>
                    <a:pt x="617" y="104"/>
                    <a:pt x="617" y="105"/>
                    <a:pt x="617" y="105"/>
                  </a:cubicBezTo>
                  <a:close/>
                  <a:moveTo>
                    <a:pt x="721" y="16"/>
                  </a:moveTo>
                  <a:cubicBezTo>
                    <a:pt x="721" y="16"/>
                    <a:pt x="721" y="16"/>
                    <a:pt x="721" y="16"/>
                  </a:cubicBezTo>
                  <a:cubicBezTo>
                    <a:pt x="721" y="16"/>
                    <a:pt x="721" y="16"/>
                    <a:pt x="721" y="16"/>
                  </a:cubicBezTo>
                  <a:close/>
                  <a:moveTo>
                    <a:pt x="616" y="106"/>
                  </a:moveTo>
                  <a:cubicBezTo>
                    <a:pt x="617" y="106"/>
                    <a:pt x="617" y="105"/>
                    <a:pt x="617" y="105"/>
                  </a:cubicBezTo>
                  <a:cubicBezTo>
                    <a:pt x="616" y="105"/>
                    <a:pt x="616" y="105"/>
                    <a:pt x="616" y="106"/>
                  </a:cubicBezTo>
                  <a:close/>
                  <a:moveTo>
                    <a:pt x="616" y="107"/>
                  </a:moveTo>
                  <a:cubicBezTo>
                    <a:pt x="616" y="106"/>
                    <a:pt x="616" y="106"/>
                    <a:pt x="617" y="106"/>
                  </a:cubicBezTo>
                  <a:cubicBezTo>
                    <a:pt x="616" y="106"/>
                    <a:pt x="616" y="106"/>
                    <a:pt x="616" y="107"/>
                  </a:cubicBezTo>
                  <a:close/>
                  <a:moveTo>
                    <a:pt x="628" y="106"/>
                  </a:moveTo>
                  <a:cubicBezTo>
                    <a:pt x="627" y="106"/>
                    <a:pt x="627" y="106"/>
                    <a:pt x="627" y="106"/>
                  </a:cubicBezTo>
                  <a:cubicBezTo>
                    <a:pt x="628" y="106"/>
                    <a:pt x="628" y="106"/>
                    <a:pt x="628" y="106"/>
                  </a:cubicBezTo>
                  <a:close/>
                  <a:moveTo>
                    <a:pt x="1745" y="49"/>
                  </a:moveTo>
                  <a:cubicBezTo>
                    <a:pt x="1745" y="49"/>
                    <a:pt x="1745" y="50"/>
                    <a:pt x="1745" y="50"/>
                  </a:cubicBezTo>
                  <a:cubicBezTo>
                    <a:pt x="1745" y="50"/>
                    <a:pt x="1745" y="50"/>
                    <a:pt x="1745" y="49"/>
                  </a:cubicBezTo>
                  <a:close/>
                  <a:moveTo>
                    <a:pt x="616" y="107"/>
                  </a:moveTo>
                  <a:cubicBezTo>
                    <a:pt x="616" y="107"/>
                    <a:pt x="616" y="107"/>
                    <a:pt x="616" y="107"/>
                  </a:cubicBezTo>
                  <a:cubicBezTo>
                    <a:pt x="616" y="107"/>
                    <a:pt x="616" y="107"/>
                    <a:pt x="616" y="107"/>
                  </a:cubicBezTo>
                  <a:close/>
                  <a:moveTo>
                    <a:pt x="615" y="108"/>
                  </a:moveTo>
                  <a:cubicBezTo>
                    <a:pt x="616" y="108"/>
                    <a:pt x="616" y="108"/>
                    <a:pt x="616" y="107"/>
                  </a:cubicBezTo>
                  <a:cubicBezTo>
                    <a:pt x="615" y="108"/>
                    <a:pt x="615" y="108"/>
                    <a:pt x="615" y="108"/>
                  </a:cubicBezTo>
                  <a:close/>
                  <a:moveTo>
                    <a:pt x="627" y="107"/>
                  </a:moveTo>
                  <a:cubicBezTo>
                    <a:pt x="627" y="108"/>
                    <a:pt x="627" y="108"/>
                    <a:pt x="627" y="108"/>
                  </a:cubicBezTo>
                  <a:cubicBezTo>
                    <a:pt x="627" y="108"/>
                    <a:pt x="627" y="108"/>
                    <a:pt x="627" y="107"/>
                  </a:cubicBezTo>
                  <a:close/>
                  <a:moveTo>
                    <a:pt x="615" y="109"/>
                  </a:moveTo>
                  <a:cubicBezTo>
                    <a:pt x="615" y="109"/>
                    <a:pt x="615" y="109"/>
                    <a:pt x="615" y="108"/>
                  </a:cubicBezTo>
                  <a:cubicBezTo>
                    <a:pt x="615" y="109"/>
                    <a:pt x="615" y="109"/>
                    <a:pt x="615" y="109"/>
                  </a:cubicBezTo>
                  <a:close/>
                  <a:moveTo>
                    <a:pt x="626" y="108"/>
                  </a:moveTo>
                  <a:cubicBezTo>
                    <a:pt x="626" y="109"/>
                    <a:pt x="626" y="109"/>
                    <a:pt x="626" y="109"/>
                  </a:cubicBezTo>
                  <a:cubicBezTo>
                    <a:pt x="627" y="109"/>
                    <a:pt x="627" y="109"/>
                    <a:pt x="626" y="108"/>
                  </a:cubicBezTo>
                  <a:close/>
                  <a:moveTo>
                    <a:pt x="615" y="110"/>
                  </a:moveTo>
                  <a:cubicBezTo>
                    <a:pt x="615" y="110"/>
                    <a:pt x="615" y="109"/>
                    <a:pt x="615" y="109"/>
                  </a:cubicBezTo>
                  <a:cubicBezTo>
                    <a:pt x="615" y="109"/>
                    <a:pt x="615" y="110"/>
                    <a:pt x="615" y="110"/>
                  </a:cubicBezTo>
                  <a:close/>
                  <a:moveTo>
                    <a:pt x="626" y="109"/>
                  </a:moveTo>
                  <a:cubicBezTo>
                    <a:pt x="626" y="109"/>
                    <a:pt x="626" y="110"/>
                    <a:pt x="626" y="110"/>
                  </a:cubicBezTo>
                  <a:cubicBezTo>
                    <a:pt x="626" y="110"/>
                    <a:pt x="626" y="109"/>
                    <a:pt x="626" y="109"/>
                  </a:cubicBezTo>
                  <a:close/>
                  <a:moveTo>
                    <a:pt x="614" y="111"/>
                  </a:moveTo>
                  <a:cubicBezTo>
                    <a:pt x="615" y="111"/>
                    <a:pt x="615" y="110"/>
                    <a:pt x="615" y="110"/>
                  </a:cubicBezTo>
                  <a:cubicBezTo>
                    <a:pt x="614" y="110"/>
                    <a:pt x="614" y="110"/>
                    <a:pt x="614" y="111"/>
                  </a:cubicBezTo>
                  <a:close/>
                  <a:moveTo>
                    <a:pt x="626" y="110"/>
                  </a:moveTo>
                  <a:cubicBezTo>
                    <a:pt x="626" y="110"/>
                    <a:pt x="625" y="111"/>
                    <a:pt x="625" y="111"/>
                  </a:cubicBezTo>
                  <a:cubicBezTo>
                    <a:pt x="626" y="111"/>
                    <a:pt x="626" y="110"/>
                    <a:pt x="626" y="110"/>
                  </a:cubicBezTo>
                  <a:close/>
                  <a:moveTo>
                    <a:pt x="614" y="112"/>
                  </a:moveTo>
                  <a:cubicBezTo>
                    <a:pt x="614" y="111"/>
                    <a:pt x="614" y="111"/>
                    <a:pt x="614" y="111"/>
                  </a:cubicBezTo>
                  <a:cubicBezTo>
                    <a:pt x="614" y="111"/>
                    <a:pt x="614" y="111"/>
                    <a:pt x="614" y="112"/>
                  </a:cubicBezTo>
                  <a:close/>
                  <a:moveTo>
                    <a:pt x="625" y="111"/>
                  </a:moveTo>
                  <a:cubicBezTo>
                    <a:pt x="625" y="111"/>
                    <a:pt x="625" y="111"/>
                    <a:pt x="625" y="112"/>
                  </a:cubicBezTo>
                  <a:cubicBezTo>
                    <a:pt x="625" y="111"/>
                    <a:pt x="625" y="111"/>
                    <a:pt x="625" y="111"/>
                  </a:cubicBezTo>
                  <a:close/>
                  <a:moveTo>
                    <a:pt x="614" y="112"/>
                  </a:moveTo>
                  <a:cubicBezTo>
                    <a:pt x="614" y="112"/>
                    <a:pt x="614" y="112"/>
                    <a:pt x="614" y="112"/>
                  </a:cubicBezTo>
                  <a:cubicBezTo>
                    <a:pt x="614" y="112"/>
                    <a:pt x="614" y="112"/>
                    <a:pt x="614" y="112"/>
                  </a:cubicBezTo>
                  <a:close/>
                  <a:moveTo>
                    <a:pt x="625" y="112"/>
                  </a:moveTo>
                  <a:cubicBezTo>
                    <a:pt x="625" y="112"/>
                    <a:pt x="625" y="112"/>
                    <a:pt x="625" y="113"/>
                  </a:cubicBezTo>
                  <a:cubicBezTo>
                    <a:pt x="625" y="112"/>
                    <a:pt x="625" y="112"/>
                    <a:pt x="625" y="112"/>
                  </a:cubicBezTo>
                  <a:close/>
                  <a:moveTo>
                    <a:pt x="613" y="113"/>
                  </a:moveTo>
                  <a:cubicBezTo>
                    <a:pt x="614" y="113"/>
                    <a:pt x="614" y="113"/>
                    <a:pt x="614" y="112"/>
                  </a:cubicBezTo>
                  <a:cubicBezTo>
                    <a:pt x="613" y="113"/>
                    <a:pt x="613" y="113"/>
                    <a:pt x="613" y="113"/>
                  </a:cubicBezTo>
                  <a:close/>
                  <a:moveTo>
                    <a:pt x="625" y="113"/>
                  </a:moveTo>
                  <a:cubicBezTo>
                    <a:pt x="625" y="113"/>
                    <a:pt x="624" y="113"/>
                    <a:pt x="624" y="113"/>
                  </a:cubicBezTo>
                  <a:cubicBezTo>
                    <a:pt x="625" y="113"/>
                    <a:pt x="625" y="113"/>
                    <a:pt x="625" y="113"/>
                  </a:cubicBezTo>
                  <a:close/>
                  <a:moveTo>
                    <a:pt x="613" y="114"/>
                  </a:moveTo>
                  <a:cubicBezTo>
                    <a:pt x="613" y="114"/>
                    <a:pt x="613" y="114"/>
                    <a:pt x="613" y="113"/>
                  </a:cubicBezTo>
                  <a:cubicBezTo>
                    <a:pt x="613" y="114"/>
                    <a:pt x="613" y="114"/>
                    <a:pt x="613" y="114"/>
                  </a:cubicBezTo>
                  <a:close/>
                  <a:moveTo>
                    <a:pt x="624" y="114"/>
                  </a:moveTo>
                  <a:cubicBezTo>
                    <a:pt x="624" y="114"/>
                    <a:pt x="624" y="114"/>
                    <a:pt x="624" y="114"/>
                  </a:cubicBezTo>
                  <a:cubicBezTo>
                    <a:pt x="624" y="114"/>
                    <a:pt x="624" y="114"/>
                    <a:pt x="624" y="114"/>
                  </a:cubicBezTo>
                  <a:close/>
                  <a:moveTo>
                    <a:pt x="613" y="115"/>
                  </a:moveTo>
                  <a:cubicBezTo>
                    <a:pt x="613" y="115"/>
                    <a:pt x="613" y="114"/>
                    <a:pt x="613" y="114"/>
                  </a:cubicBezTo>
                  <a:cubicBezTo>
                    <a:pt x="613" y="114"/>
                    <a:pt x="613" y="114"/>
                    <a:pt x="613" y="115"/>
                  </a:cubicBezTo>
                  <a:close/>
                  <a:moveTo>
                    <a:pt x="624" y="114"/>
                  </a:moveTo>
                  <a:cubicBezTo>
                    <a:pt x="624" y="115"/>
                    <a:pt x="624" y="115"/>
                    <a:pt x="624" y="115"/>
                  </a:cubicBezTo>
                  <a:cubicBezTo>
                    <a:pt x="624" y="115"/>
                    <a:pt x="624" y="115"/>
                    <a:pt x="624" y="114"/>
                  </a:cubicBezTo>
                  <a:close/>
                  <a:moveTo>
                    <a:pt x="612" y="116"/>
                  </a:moveTo>
                  <a:cubicBezTo>
                    <a:pt x="613" y="115"/>
                    <a:pt x="613" y="115"/>
                    <a:pt x="613" y="115"/>
                  </a:cubicBezTo>
                  <a:cubicBezTo>
                    <a:pt x="612" y="115"/>
                    <a:pt x="612" y="115"/>
                    <a:pt x="612" y="116"/>
                  </a:cubicBezTo>
                  <a:close/>
                  <a:moveTo>
                    <a:pt x="624" y="115"/>
                  </a:moveTo>
                  <a:cubicBezTo>
                    <a:pt x="623" y="115"/>
                    <a:pt x="623" y="115"/>
                    <a:pt x="623" y="116"/>
                  </a:cubicBezTo>
                  <a:cubicBezTo>
                    <a:pt x="624" y="116"/>
                    <a:pt x="624" y="115"/>
                    <a:pt x="624" y="115"/>
                  </a:cubicBezTo>
                  <a:close/>
                  <a:moveTo>
                    <a:pt x="612" y="116"/>
                  </a:moveTo>
                  <a:cubicBezTo>
                    <a:pt x="612" y="116"/>
                    <a:pt x="612" y="116"/>
                    <a:pt x="612" y="115"/>
                  </a:cubicBezTo>
                  <a:cubicBezTo>
                    <a:pt x="612" y="116"/>
                    <a:pt x="612" y="116"/>
                    <a:pt x="612" y="116"/>
                  </a:cubicBezTo>
                  <a:close/>
                  <a:moveTo>
                    <a:pt x="623" y="116"/>
                  </a:moveTo>
                  <a:cubicBezTo>
                    <a:pt x="623" y="116"/>
                    <a:pt x="623" y="116"/>
                    <a:pt x="623" y="116"/>
                  </a:cubicBezTo>
                  <a:cubicBezTo>
                    <a:pt x="623" y="116"/>
                    <a:pt x="623" y="116"/>
                    <a:pt x="623" y="116"/>
                  </a:cubicBezTo>
                  <a:close/>
                  <a:moveTo>
                    <a:pt x="612" y="117"/>
                  </a:moveTo>
                  <a:cubicBezTo>
                    <a:pt x="612" y="117"/>
                    <a:pt x="612" y="116"/>
                    <a:pt x="612" y="116"/>
                  </a:cubicBezTo>
                  <a:cubicBezTo>
                    <a:pt x="612" y="116"/>
                    <a:pt x="612" y="117"/>
                    <a:pt x="612" y="117"/>
                  </a:cubicBezTo>
                  <a:close/>
                  <a:moveTo>
                    <a:pt x="623" y="116"/>
                  </a:moveTo>
                  <a:cubicBezTo>
                    <a:pt x="623" y="117"/>
                    <a:pt x="623" y="117"/>
                    <a:pt x="623" y="117"/>
                  </a:cubicBezTo>
                  <a:cubicBezTo>
                    <a:pt x="623" y="117"/>
                    <a:pt x="623" y="117"/>
                    <a:pt x="623" y="116"/>
                  </a:cubicBezTo>
                  <a:close/>
                  <a:moveTo>
                    <a:pt x="611" y="118"/>
                  </a:moveTo>
                  <a:cubicBezTo>
                    <a:pt x="611" y="117"/>
                    <a:pt x="612" y="117"/>
                    <a:pt x="612" y="117"/>
                  </a:cubicBezTo>
                  <a:cubicBezTo>
                    <a:pt x="611" y="117"/>
                    <a:pt x="611" y="117"/>
                    <a:pt x="611" y="118"/>
                  </a:cubicBezTo>
                  <a:close/>
                  <a:moveTo>
                    <a:pt x="623" y="117"/>
                  </a:moveTo>
                  <a:cubicBezTo>
                    <a:pt x="622" y="117"/>
                    <a:pt x="622" y="118"/>
                    <a:pt x="622" y="118"/>
                  </a:cubicBezTo>
                  <a:cubicBezTo>
                    <a:pt x="623" y="118"/>
                    <a:pt x="623" y="117"/>
                    <a:pt x="623" y="117"/>
                  </a:cubicBezTo>
                  <a:close/>
                  <a:moveTo>
                    <a:pt x="611" y="119"/>
                  </a:moveTo>
                  <a:cubicBezTo>
                    <a:pt x="611" y="118"/>
                    <a:pt x="611" y="118"/>
                    <a:pt x="611" y="118"/>
                  </a:cubicBezTo>
                  <a:cubicBezTo>
                    <a:pt x="611" y="118"/>
                    <a:pt x="611" y="118"/>
                    <a:pt x="611" y="119"/>
                  </a:cubicBezTo>
                  <a:close/>
                  <a:moveTo>
                    <a:pt x="622" y="118"/>
                  </a:moveTo>
                  <a:cubicBezTo>
                    <a:pt x="622" y="118"/>
                    <a:pt x="622" y="118"/>
                    <a:pt x="622" y="119"/>
                  </a:cubicBezTo>
                  <a:cubicBezTo>
                    <a:pt x="622" y="118"/>
                    <a:pt x="622" y="118"/>
                    <a:pt x="622" y="118"/>
                  </a:cubicBezTo>
                  <a:close/>
                  <a:moveTo>
                    <a:pt x="622" y="119"/>
                  </a:moveTo>
                  <a:cubicBezTo>
                    <a:pt x="622" y="119"/>
                    <a:pt x="622" y="119"/>
                    <a:pt x="622" y="119"/>
                  </a:cubicBezTo>
                  <a:cubicBezTo>
                    <a:pt x="622" y="119"/>
                    <a:pt x="622" y="119"/>
                    <a:pt x="622" y="119"/>
                  </a:cubicBezTo>
                  <a:close/>
                  <a:moveTo>
                    <a:pt x="622" y="119"/>
                  </a:moveTo>
                  <a:cubicBezTo>
                    <a:pt x="621" y="119"/>
                    <a:pt x="621" y="120"/>
                    <a:pt x="621" y="120"/>
                  </a:cubicBezTo>
                  <a:cubicBezTo>
                    <a:pt x="622" y="120"/>
                    <a:pt x="622" y="120"/>
                    <a:pt x="622" y="119"/>
                  </a:cubicBezTo>
                  <a:close/>
                  <a:moveTo>
                    <a:pt x="621" y="120"/>
                  </a:moveTo>
                  <a:cubicBezTo>
                    <a:pt x="621" y="120"/>
                    <a:pt x="621" y="121"/>
                    <a:pt x="621" y="121"/>
                  </a:cubicBezTo>
                  <a:cubicBezTo>
                    <a:pt x="621" y="121"/>
                    <a:pt x="621" y="121"/>
                    <a:pt x="621" y="120"/>
                  </a:cubicBezTo>
                  <a:close/>
                  <a:moveTo>
                    <a:pt x="621" y="121"/>
                  </a:moveTo>
                  <a:cubicBezTo>
                    <a:pt x="620" y="121"/>
                    <a:pt x="620" y="121"/>
                    <a:pt x="620" y="122"/>
                  </a:cubicBezTo>
                  <a:cubicBezTo>
                    <a:pt x="621" y="122"/>
                    <a:pt x="621" y="121"/>
                    <a:pt x="621" y="121"/>
                  </a:cubicBezTo>
                  <a:close/>
                  <a:moveTo>
                    <a:pt x="614" y="63"/>
                  </a:moveTo>
                  <a:cubicBezTo>
                    <a:pt x="614" y="63"/>
                    <a:pt x="614" y="63"/>
                    <a:pt x="615" y="64"/>
                  </a:cubicBezTo>
                  <a:cubicBezTo>
                    <a:pt x="615" y="63"/>
                    <a:pt x="615" y="63"/>
                    <a:pt x="614" y="63"/>
                  </a:cubicBezTo>
                  <a:close/>
                  <a:moveTo>
                    <a:pt x="606" y="122"/>
                  </a:moveTo>
                  <a:cubicBezTo>
                    <a:pt x="606" y="122"/>
                    <a:pt x="607" y="122"/>
                    <a:pt x="607" y="122"/>
                  </a:cubicBezTo>
                  <a:cubicBezTo>
                    <a:pt x="606" y="122"/>
                    <a:pt x="606" y="122"/>
                    <a:pt x="606" y="122"/>
                  </a:cubicBezTo>
                  <a:close/>
                  <a:moveTo>
                    <a:pt x="620" y="122"/>
                  </a:moveTo>
                  <a:cubicBezTo>
                    <a:pt x="620" y="122"/>
                    <a:pt x="620" y="122"/>
                    <a:pt x="619" y="123"/>
                  </a:cubicBezTo>
                  <a:cubicBezTo>
                    <a:pt x="620" y="123"/>
                    <a:pt x="620" y="122"/>
                    <a:pt x="620" y="122"/>
                  </a:cubicBezTo>
                  <a:close/>
                  <a:moveTo>
                    <a:pt x="1209" y="54"/>
                  </a:moveTo>
                  <a:cubicBezTo>
                    <a:pt x="1210" y="54"/>
                    <a:pt x="1210" y="53"/>
                    <a:pt x="1210" y="53"/>
                  </a:cubicBezTo>
                  <a:cubicBezTo>
                    <a:pt x="1209" y="53"/>
                    <a:pt x="1209" y="54"/>
                    <a:pt x="1209" y="54"/>
                  </a:cubicBezTo>
                  <a:close/>
                  <a:moveTo>
                    <a:pt x="605" y="123"/>
                  </a:moveTo>
                  <a:cubicBezTo>
                    <a:pt x="606" y="123"/>
                    <a:pt x="606" y="123"/>
                    <a:pt x="606" y="122"/>
                  </a:cubicBezTo>
                  <a:cubicBezTo>
                    <a:pt x="606" y="122"/>
                    <a:pt x="605" y="122"/>
                    <a:pt x="605" y="123"/>
                  </a:cubicBezTo>
                  <a:close/>
                  <a:moveTo>
                    <a:pt x="1136" y="44"/>
                  </a:moveTo>
                  <a:cubicBezTo>
                    <a:pt x="1136" y="43"/>
                    <a:pt x="1136" y="43"/>
                    <a:pt x="1135" y="43"/>
                  </a:cubicBezTo>
                  <a:cubicBezTo>
                    <a:pt x="1136" y="44"/>
                    <a:pt x="1136" y="44"/>
                    <a:pt x="1136" y="44"/>
                  </a:cubicBezTo>
                  <a:close/>
                  <a:moveTo>
                    <a:pt x="605" y="123"/>
                  </a:moveTo>
                  <a:cubicBezTo>
                    <a:pt x="605" y="123"/>
                    <a:pt x="605" y="123"/>
                    <a:pt x="605" y="123"/>
                  </a:cubicBezTo>
                  <a:cubicBezTo>
                    <a:pt x="605" y="123"/>
                    <a:pt x="605" y="123"/>
                    <a:pt x="605" y="123"/>
                  </a:cubicBezTo>
                  <a:close/>
                  <a:moveTo>
                    <a:pt x="1489" y="16"/>
                  </a:moveTo>
                  <a:cubicBezTo>
                    <a:pt x="1489" y="16"/>
                    <a:pt x="1489" y="16"/>
                    <a:pt x="1490" y="16"/>
                  </a:cubicBezTo>
                  <a:cubicBezTo>
                    <a:pt x="1489" y="16"/>
                    <a:pt x="1489" y="16"/>
                    <a:pt x="1489" y="16"/>
                  </a:cubicBezTo>
                  <a:close/>
                  <a:moveTo>
                    <a:pt x="566" y="50"/>
                  </a:moveTo>
                  <a:cubicBezTo>
                    <a:pt x="566" y="50"/>
                    <a:pt x="566" y="50"/>
                    <a:pt x="566" y="50"/>
                  </a:cubicBezTo>
                  <a:cubicBezTo>
                    <a:pt x="566" y="50"/>
                    <a:pt x="566" y="50"/>
                    <a:pt x="566" y="50"/>
                  </a:cubicBezTo>
                  <a:close/>
                  <a:moveTo>
                    <a:pt x="662" y="64"/>
                  </a:moveTo>
                  <a:cubicBezTo>
                    <a:pt x="662" y="63"/>
                    <a:pt x="662" y="63"/>
                    <a:pt x="661" y="63"/>
                  </a:cubicBezTo>
                  <a:cubicBezTo>
                    <a:pt x="661" y="63"/>
                    <a:pt x="661" y="63"/>
                    <a:pt x="662" y="64"/>
                  </a:cubicBezTo>
                  <a:close/>
                  <a:moveTo>
                    <a:pt x="719" y="16"/>
                  </a:moveTo>
                  <a:cubicBezTo>
                    <a:pt x="720" y="16"/>
                    <a:pt x="720" y="16"/>
                    <a:pt x="720" y="16"/>
                  </a:cubicBezTo>
                  <a:cubicBezTo>
                    <a:pt x="720" y="16"/>
                    <a:pt x="720" y="16"/>
                    <a:pt x="719" y="16"/>
                  </a:cubicBezTo>
                  <a:close/>
                  <a:moveTo>
                    <a:pt x="681" y="63"/>
                  </a:moveTo>
                  <a:cubicBezTo>
                    <a:pt x="681" y="63"/>
                    <a:pt x="681" y="63"/>
                    <a:pt x="682" y="63"/>
                  </a:cubicBezTo>
                  <a:cubicBezTo>
                    <a:pt x="681" y="63"/>
                    <a:pt x="681" y="63"/>
                    <a:pt x="681" y="63"/>
                  </a:cubicBezTo>
                  <a:close/>
                  <a:moveTo>
                    <a:pt x="607" y="41"/>
                  </a:moveTo>
                  <a:cubicBezTo>
                    <a:pt x="607" y="41"/>
                    <a:pt x="607" y="42"/>
                    <a:pt x="607" y="42"/>
                  </a:cubicBezTo>
                  <a:cubicBezTo>
                    <a:pt x="607" y="41"/>
                    <a:pt x="607" y="41"/>
                    <a:pt x="607" y="41"/>
                  </a:cubicBezTo>
                  <a:close/>
                  <a:moveTo>
                    <a:pt x="613" y="129"/>
                  </a:moveTo>
                  <a:cubicBezTo>
                    <a:pt x="613" y="129"/>
                    <a:pt x="613" y="129"/>
                    <a:pt x="613" y="130"/>
                  </a:cubicBezTo>
                  <a:cubicBezTo>
                    <a:pt x="613" y="130"/>
                    <a:pt x="613" y="130"/>
                    <a:pt x="613" y="129"/>
                  </a:cubicBezTo>
                  <a:close/>
                  <a:moveTo>
                    <a:pt x="612" y="130"/>
                  </a:moveTo>
                  <a:cubicBezTo>
                    <a:pt x="612" y="130"/>
                    <a:pt x="612" y="130"/>
                    <a:pt x="612" y="130"/>
                  </a:cubicBezTo>
                  <a:cubicBezTo>
                    <a:pt x="612" y="130"/>
                    <a:pt x="612" y="130"/>
                    <a:pt x="612" y="130"/>
                  </a:cubicBezTo>
                  <a:close/>
                  <a:moveTo>
                    <a:pt x="610" y="131"/>
                  </a:moveTo>
                  <a:cubicBezTo>
                    <a:pt x="610" y="131"/>
                    <a:pt x="610" y="131"/>
                    <a:pt x="610" y="131"/>
                  </a:cubicBezTo>
                  <a:cubicBezTo>
                    <a:pt x="610" y="131"/>
                    <a:pt x="610" y="131"/>
                    <a:pt x="610" y="131"/>
                  </a:cubicBezTo>
                  <a:close/>
                  <a:moveTo>
                    <a:pt x="609" y="131"/>
                  </a:moveTo>
                  <a:cubicBezTo>
                    <a:pt x="609" y="131"/>
                    <a:pt x="609" y="132"/>
                    <a:pt x="609" y="132"/>
                  </a:cubicBezTo>
                  <a:cubicBezTo>
                    <a:pt x="609" y="132"/>
                    <a:pt x="609" y="132"/>
                    <a:pt x="609" y="131"/>
                  </a:cubicBezTo>
                  <a:close/>
                  <a:moveTo>
                    <a:pt x="609" y="132"/>
                  </a:moveTo>
                  <a:cubicBezTo>
                    <a:pt x="608" y="132"/>
                    <a:pt x="608" y="132"/>
                    <a:pt x="608" y="132"/>
                  </a:cubicBezTo>
                  <a:cubicBezTo>
                    <a:pt x="608" y="132"/>
                    <a:pt x="609" y="132"/>
                    <a:pt x="609" y="132"/>
                  </a:cubicBezTo>
                  <a:close/>
                  <a:moveTo>
                    <a:pt x="1290" y="44"/>
                  </a:moveTo>
                  <a:cubicBezTo>
                    <a:pt x="1290" y="44"/>
                    <a:pt x="1290" y="44"/>
                    <a:pt x="1290" y="43"/>
                  </a:cubicBezTo>
                  <a:cubicBezTo>
                    <a:pt x="1290" y="44"/>
                    <a:pt x="1290" y="44"/>
                    <a:pt x="1290" y="44"/>
                  </a:cubicBezTo>
                  <a:close/>
                  <a:moveTo>
                    <a:pt x="653" y="42"/>
                  </a:moveTo>
                  <a:cubicBezTo>
                    <a:pt x="653" y="42"/>
                    <a:pt x="653" y="42"/>
                    <a:pt x="653" y="42"/>
                  </a:cubicBezTo>
                  <a:cubicBezTo>
                    <a:pt x="653" y="42"/>
                    <a:pt x="653" y="42"/>
                    <a:pt x="653" y="42"/>
                  </a:cubicBezTo>
                  <a:close/>
                  <a:moveTo>
                    <a:pt x="751" y="87"/>
                  </a:moveTo>
                  <a:cubicBezTo>
                    <a:pt x="751" y="87"/>
                    <a:pt x="751" y="87"/>
                    <a:pt x="750" y="87"/>
                  </a:cubicBezTo>
                  <a:cubicBezTo>
                    <a:pt x="750" y="87"/>
                    <a:pt x="751" y="87"/>
                    <a:pt x="751" y="87"/>
                  </a:cubicBezTo>
                  <a:close/>
                  <a:moveTo>
                    <a:pt x="1364" y="74"/>
                  </a:moveTo>
                  <a:cubicBezTo>
                    <a:pt x="1364" y="74"/>
                    <a:pt x="1364" y="74"/>
                    <a:pt x="1364" y="74"/>
                  </a:cubicBezTo>
                  <a:cubicBezTo>
                    <a:pt x="1364" y="74"/>
                    <a:pt x="1364" y="74"/>
                    <a:pt x="1364" y="74"/>
                  </a:cubicBezTo>
                  <a:close/>
                  <a:moveTo>
                    <a:pt x="796" y="39"/>
                  </a:moveTo>
                  <a:cubicBezTo>
                    <a:pt x="796" y="39"/>
                    <a:pt x="796" y="39"/>
                    <a:pt x="796" y="39"/>
                  </a:cubicBezTo>
                  <a:cubicBezTo>
                    <a:pt x="796" y="39"/>
                    <a:pt x="796" y="39"/>
                    <a:pt x="796" y="39"/>
                  </a:cubicBezTo>
                  <a:close/>
                  <a:moveTo>
                    <a:pt x="1535" y="74"/>
                  </a:moveTo>
                  <a:cubicBezTo>
                    <a:pt x="1535" y="74"/>
                    <a:pt x="1535" y="74"/>
                    <a:pt x="1535" y="74"/>
                  </a:cubicBezTo>
                  <a:cubicBezTo>
                    <a:pt x="1535" y="74"/>
                    <a:pt x="1535" y="74"/>
                    <a:pt x="1535" y="74"/>
                  </a:cubicBezTo>
                  <a:close/>
                  <a:moveTo>
                    <a:pt x="833" y="39"/>
                  </a:moveTo>
                  <a:cubicBezTo>
                    <a:pt x="833" y="39"/>
                    <a:pt x="833" y="39"/>
                    <a:pt x="833" y="39"/>
                  </a:cubicBezTo>
                  <a:cubicBezTo>
                    <a:pt x="833" y="39"/>
                    <a:pt x="833" y="39"/>
                    <a:pt x="833" y="39"/>
                  </a:cubicBezTo>
                  <a:close/>
                  <a:moveTo>
                    <a:pt x="1703" y="74"/>
                  </a:moveTo>
                  <a:cubicBezTo>
                    <a:pt x="1703" y="74"/>
                    <a:pt x="1704" y="74"/>
                    <a:pt x="1704" y="74"/>
                  </a:cubicBezTo>
                  <a:cubicBezTo>
                    <a:pt x="1703" y="74"/>
                    <a:pt x="1703" y="74"/>
                    <a:pt x="1703" y="74"/>
                  </a:cubicBezTo>
                  <a:close/>
                  <a:moveTo>
                    <a:pt x="1717" y="74"/>
                  </a:moveTo>
                  <a:cubicBezTo>
                    <a:pt x="1717" y="74"/>
                    <a:pt x="1716" y="74"/>
                    <a:pt x="1716" y="74"/>
                  </a:cubicBezTo>
                  <a:cubicBezTo>
                    <a:pt x="1717" y="74"/>
                    <a:pt x="1717" y="74"/>
                    <a:pt x="1717" y="74"/>
                  </a:cubicBezTo>
                  <a:close/>
                  <a:moveTo>
                    <a:pt x="864" y="39"/>
                  </a:moveTo>
                  <a:cubicBezTo>
                    <a:pt x="864" y="39"/>
                    <a:pt x="864" y="39"/>
                    <a:pt x="864" y="39"/>
                  </a:cubicBezTo>
                  <a:cubicBezTo>
                    <a:pt x="864" y="39"/>
                    <a:pt x="864" y="39"/>
                    <a:pt x="864" y="39"/>
                  </a:cubicBezTo>
                  <a:close/>
                  <a:moveTo>
                    <a:pt x="874" y="39"/>
                  </a:moveTo>
                  <a:cubicBezTo>
                    <a:pt x="874" y="39"/>
                    <a:pt x="874" y="39"/>
                    <a:pt x="874" y="39"/>
                  </a:cubicBezTo>
                  <a:cubicBezTo>
                    <a:pt x="874" y="39"/>
                    <a:pt x="874" y="39"/>
                    <a:pt x="874" y="39"/>
                  </a:cubicBezTo>
                  <a:close/>
                  <a:moveTo>
                    <a:pt x="1042" y="39"/>
                  </a:moveTo>
                  <a:cubicBezTo>
                    <a:pt x="1042" y="39"/>
                    <a:pt x="1042" y="39"/>
                    <a:pt x="1042" y="39"/>
                  </a:cubicBezTo>
                  <a:cubicBezTo>
                    <a:pt x="1042" y="39"/>
                    <a:pt x="1042" y="39"/>
                    <a:pt x="1042" y="39"/>
                  </a:cubicBezTo>
                  <a:close/>
                  <a:moveTo>
                    <a:pt x="1115" y="39"/>
                  </a:moveTo>
                  <a:cubicBezTo>
                    <a:pt x="1116" y="39"/>
                    <a:pt x="1116" y="39"/>
                    <a:pt x="1116" y="39"/>
                  </a:cubicBezTo>
                  <a:cubicBezTo>
                    <a:pt x="1115" y="39"/>
                    <a:pt x="1115" y="39"/>
                    <a:pt x="1115" y="39"/>
                  </a:cubicBezTo>
                  <a:close/>
                  <a:moveTo>
                    <a:pt x="1148" y="39"/>
                  </a:moveTo>
                  <a:cubicBezTo>
                    <a:pt x="1148" y="39"/>
                    <a:pt x="1148" y="39"/>
                    <a:pt x="1149" y="39"/>
                  </a:cubicBezTo>
                  <a:cubicBezTo>
                    <a:pt x="1149" y="39"/>
                    <a:pt x="1148" y="39"/>
                    <a:pt x="1148" y="39"/>
                  </a:cubicBezTo>
                  <a:close/>
                  <a:moveTo>
                    <a:pt x="1220" y="39"/>
                  </a:moveTo>
                  <a:cubicBezTo>
                    <a:pt x="1220" y="39"/>
                    <a:pt x="1220" y="39"/>
                    <a:pt x="1220" y="39"/>
                  </a:cubicBezTo>
                  <a:cubicBezTo>
                    <a:pt x="1220" y="39"/>
                    <a:pt x="1220" y="39"/>
                    <a:pt x="1220" y="39"/>
                  </a:cubicBezTo>
                  <a:close/>
                  <a:moveTo>
                    <a:pt x="1351" y="75"/>
                  </a:moveTo>
                  <a:cubicBezTo>
                    <a:pt x="1351" y="75"/>
                    <a:pt x="1351" y="75"/>
                    <a:pt x="1351" y="74"/>
                  </a:cubicBezTo>
                  <a:cubicBezTo>
                    <a:pt x="1351" y="74"/>
                    <a:pt x="1351" y="75"/>
                    <a:pt x="1351" y="75"/>
                  </a:cubicBezTo>
                  <a:close/>
                  <a:moveTo>
                    <a:pt x="1364" y="74"/>
                  </a:moveTo>
                  <a:cubicBezTo>
                    <a:pt x="1364" y="74"/>
                    <a:pt x="1364" y="74"/>
                    <a:pt x="1364" y="75"/>
                  </a:cubicBezTo>
                  <a:cubicBezTo>
                    <a:pt x="1364" y="75"/>
                    <a:pt x="1364" y="75"/>
                    <a:pt x="1364" y="74"/>
                  </a:cubicBezTo>
                  <a:close/>
                  <a:moveTo>
                    <a:pt x="1535" y="75"/>
                  </a:moveTo>
                  <a:cubicBezTo>
                    <a:pt x="1535" y="75"/>
                    <a:pt x="1535" y="75"/>
                    <a:pt x="1535" y="74"/>
                  </a:cubicBezTo>
                  <a:cubicBezTo>
                    <a:pt x="1535" y="74"/>
                    <a:pt x="1535" y="75"/>
                    <a:pt x="1535" y="75"/>
                  </a:cubicBezTo>
                  <a:close/>
                  <a:moveTo>
                    <a:pt x="1548" y="74"/>
                  </a:moveTo>
                  <a:cubicBezTo>
                    <a:pt x="1548" y="74"/>
                    <a:pt x="1548" y="74"/>
                    <a:pt x="1548" y="75"/>
                  </a:cubicBezTo>
                  <a:cubicBezTo>
                    <a:pt x="1548" y="75"/>
                    <a:pt x="1548" y="74"/>
                    <a:pt x="1548" y="74"/>
                  </a:cubicBezTo>
                  <a:close/>
                  <a:moveTo>
                    <a:pt x="1256" y="39"/>
                  </a:moveTo>
                  <a:cubicBezTo>
                    <a:pt x="1256" y="39"/>
                    <a:pt x="1256" y="39"/>
                    <a:pt x="1256" y="39"/>
                  </a:cubicBezTo>
                  <a:cubicBezTo>
                    <a:pt x="1256" y="39"/>
                    <a:pt x="1256" y="39"/>
                    <a:pt x="1256" y="39"/>
                  </a:cubicBezTo>
                  <a:close/>
                  <a:moveTo>
                    <a:pt x="1703" y="75"/>
                  </a:moveTo>
                  <a:cubicBezTo>
                    <a:pt x="1703" y="75"/>
                    <a:pt x="1703" y="75"/>
                    <a:pt x="1703" y="74"/>
                  </a:cubicBezTo>
                  <a:cubicBezTo>
                    <a:pt x="1703" y="74"/>
                    <a:pt x="1703" y="75"/>
                    <a:pt x="1703" y="75"/>
                  </a:cubicBezTo>
                  <a:close/>
                  <a:moveTo>
                    <a:pt x="1716" y="74"/>
                  </a:moveTo>
                  <a:cubicBezTo>
                    <a:pt x="1716" y="74"/>
                    <a:pt x="1716" y="74"/>
                    <a:pt x="1716" y="75"/>
                  </a:cubicBezTo>
                  <a:cubicBezTo>
                    <a:pt x="1716" y="75"/>
                    <a:pt x="1716" y="74"/>
                    <a:pt x="1716" y="74"/>
                  </a:cubicBezTo>
                  <a:close/>
                  <a:moveTo>
                    <a:pt x="551" y="39"/>
                  </a:moveTo>
                  <a:cubicBezTo>
                    <a:pt x="551" y="39"/>
                    <a:pt x="551" y="39"/>
                    <a:pt x="551" y="39"/>
                  </a:cubicBezTo>
                  <a:cubicBezTo>
                    <a:pt x="551" y="39"/>
                    <a:pt x="551" y="39"/>
                    <a:pt x="551" y="39"/>
                  </a:cubicBezTo>
                  <a:close/>
                  <a:moveTo>
                    <a:pt x="664" y="39"/>
                  </a:moveTo>
                  <a:cubicBezTo>
                    <a:pt x="664" y="39"/>
                    <a:pt x="664" y="39"/>
                    <a:pt x="664" y="39"/>
                  </a:cubicBezTo>
                  <a:cubicBezTo>
                    <a:pt x="664" y="39"/>
                    <a:pt x="664" y="39"/>
                    <a:pt x="664" y="39"/>
                  </a:cubicBezTo>
                  <a:close/>
                  <a:moveTo>
                    <a:pt x="698" y="75"/>
                  </a:moveTo>
                  <a:cubicBezTo>
                    <a:pt x="698" y="75"/>
                    <a:pt x="698" y="75"/>
                    <a:pt x="698" y="75"/>
                  </a:cubicBezTo>
                  <a:cubicBezTo>
                    <a:pt x="698" y="75"/>
                    <a:pt x="698" y="75"/>
                    <a:pt x="698" y="75"/>
                  </a:cubicBezTo>
                  <a:close/>
                  <a:moveTo>
                    <a:pt x="796" y="39"/>
                  </a:moveTo>
                  <a:cubicBezTo>
                    <a:pt x="796" y="39"/>
                    <a:pt x="797" y="39"/>
                    <a:pt x="797" y="39"/>
                  </a:cubicBezTo>
                  <a:cubicBezTo>
                    <a:pt x="797" y="39"/>
                    <a:pt x="797" y="39"/>
                    <a:pt x="796" y="39"/>
                  </a:cubicBezTo>
                  <a:close/>
                  <a:moveTo>
                    <a:pt x="1350" y="75"/>
                  </a:moveTo>
                  <a:cubicBezTo>
                    <a:pt x="1350" y="75"/>
                    <a:pt x="1351" y="75"/>
                    <a:pt x="1351" y="75"/>
                  </a:cubicBezTo>
                  <a:cubicBezTo>
                    <a:pt x="1350" y="75"/>
                    <a:pt x="1350" y="75"/>
                    <a:pt x="1350" y="75"/>
                  </a:cubicBezTo>
                  <a:close/>
                  <a:moveTo>
                    <a:pt x="832" y="39"/>
                  </a:moveTo>
                  <a:cubicBezTo>
                    <a:pt x="832" y="39"/>
                    <a:pt x="833" y="39"/>
                    <a:pt x="833" y="39"/>
                  </a:cubicBezTo>
                  <a:cubicBezTo>
                    <a:pt x="832" y="39"/>
                    <a:pt x="832" y="39"/>
                    <a:pt x="832" y="39"/>
                  </a:cubicBezTo>
                  <a:close/>
                  <a:moveTo>
                    <a:pt x="864" y="39"/>
                  </a:moveTo>
                  <a:cubicBezTo>
                    <a:pt x="864" y="39"/>
                    <a:pt x="864" y="39"/>
                    <a:pt x="864" y="39"/>
                  </a:cubicBezTo>
                  <a:cubicBezTo>
                    <a:pt x="864" y="39"/>
                    <a:pt x="864" y="39"/>
                    <a:pt x="864" y="39"/>
                  </a:cubicBezTo>
                  <a:close/>
                  <a:moveTo>
                    <a:pt x="1534" y="75"/>
                  </a:moveTo>
                  <a:cubicBezTo>
                    <a:pt x="1535" y="75"/>
                    <a:pt x="1535" y="75"/>
                    <a:pt x="1535" y="75"/>
                  </a:cubicBezTo>
                  <a:cubicBezTo>
                    <a:pt x="1535" y="75"/>
                    <a:pt x="1534" y="75"/>
                    <a:pt x="1534" y="75"/>
                  </a:cubicBezTo>
                  <a:close/>
                  <a:moveTo>
                    <a:pt x="1548" y="75"/>
                  </a:moveTo>
                  <a:cubicBezTo>
                    <a:pt x="1548" y="75"/>
                    <a:pt x="1548" y="75"/>
                    <a:pt x="1548" y="75"/>
                  </a:cubicBezTo>
                  <a:cubicBezTo>
                    <a:pt x="1548" y="75"/>
                    <a:pt x="1548" y="75"/>
                    <a:pt x="1548" y="75"/>
                  </a:cubicBezTo>
                  <a:close/>
                  <a:moveTo>
                    <a:pt x="873" y="39"/>
                  </a:moveTo>
                  <a:cubicBezTo>
                    <a:pt x="874" y="39"/>
                    <a:pt x="874" y="39"/>
                    <a:pt x="874" y="39"/>
                  </a:cubicBezTo>
                  <a:cubicBezTo>
                    <a:pt x="874" y="39"/>
                    <a:pt x="873" y="39"/>
                    <a:pt x="873" y="39"/>
                  </a:cubicBezTo>
                  <a:close/>
                  <a:moveTo>
                    <a:pt x="1703" y="75"/>
                  </a:moveTo>
                  <a:cubicBezTo>
                    <a:pt x="1703" y="75"/>
                    <a:pt x="1703" y="75"/>
                    <a:pt x="1703" y="75"/>
                  </a:cubicBezTo>
                  <a:cubicBezTo>
                    <a:pt x="1703" y="75"/>
                    <a:pt x="1703" y="75"/>
                    <a:pt x="1703" y="75"/>
                  </a:cubicBezTo>
                  <a:close/>
                  <a:moveTo>
                    <a:pt x="1716" y="75"/>
                  </a:moveTo>
                  <a:cubicBezTo>
                    <a:pt x="1716" y="75"/>
                    <a:pt x="1716" y="75"/>
                    <a:pt x="1716" y="75"/>
                  </a:cubicBezTo>
                  <a:cubicBezTo>
                    <a:pt x="1716" y="75"/>
                    <a:pt x="1716" y="75"/>
                    <a:pt x="1716" y="75"/>
                  </a:cubicBezTo>
                  <a:close/>
                  <a:moveTo>
                    <a:pt x="1041" y="39"/>
                  </a:moveTo>
                  <a:cubicBezTo>
                    <a:pt x="1042" y="39"/>
                    <a:pt x="1042" y="39"/>
                    <a:pt x="1042" y="39"/>
                  </a:cubicBezTo>
                  <a:cubicBezTo>
                    <a:pt x="1042" y="39"/>
                    <a:pt x="1042" y="39"/>
                    <a:pt x="1041" y="39"/>
                  </a:cubicBezTo>
                  <a:close/>
                  <a:moveTo>
                    <a:pt x="1115" y="39"/>
                  </a:moveTo>
                  <a:cubicBezTo>
                    <a:pt x="1115" y="39"/>
                    <a:pt x="1115" y="39"/>
                    <a:pt x="1115" y="39"/>
                  </a:cubicBezTo>
                  <a:cubicBezTo>
                    <a:pt x="1115" y="39"/>
                    <a:pt x="1115" y="39"/>
                    <a:pt x="1115" y="39"/>
                  </a:cubicBezTo>
                  <a:close/>
                  <a:moveTo>
                    <a:pt x="1219" y="39"/>
                  </a:moveTo>
                  <a:cubicBezTo>
                    <a:pt x="1220" y="39"/>
                    <a:pt x="1220" y="39"/>
                    <a:pt x="1220" y="39"/>
                  </a:cubicBezTo>
                  <a:cubicBezTo>
                    <a:pt x="1220" y="39"/>
                    <a:pt x="1219" y="39"/>
                    <a:pt x="1219" y="39"/>
                  </a:cubicBezTo>
                  <a:close/>
                  <a:moveTo>
                    <a:pt x="1293" y="39"/>
                  </a:moveTo>
                  <a:cubicBezTo>
                    <a:pt x="1293" y="39"/>
                    <a:pt x="1293" y="39"/>
                    <a:pt x="1293" y="39"/>
                  </a:cubicBezTo>
                  <a:cubicBezTo>
                    <a:pt x="1293" y="39"/>
                    <a:pt x="1293" y="39"/>
                    <a:pt x="1293" y="39"/>
                  </a:cubicBezTo>
                  <a:close/>
                  <a:moveTo>
                    <a:pt x="1350" y="75"/>
                  </a:moveTo>
                  <a:cubicBezTo>
                    <a:pt x="1350" y="75"/>
                    <a:pt x="1350" y="75"/>
                    <a:pt x="1350" y="75"/>
                  </a:cubicBezTo>
                  <a:cubicBezTo>
                    <a:pt x="1350" y="75"/>
                    <a:pt x="1350" y="75"/>
                    <a:pt x="1350" y="75"/>
                  </a:cubicBezTo>
                  <a:close/>
                  <a:moveTo>
                    <a:pt x="663" y="40"/>
                  </a:moveTo>
                  <a:cubicBezTo>
                    <a:pt x="664" y="40"/>
                    <a:pt x="664" y="39"/>
                    <a:pt x="664" y="39"/>
                  </a:cubicBezTo>
                  <a:cubicBezTo>
                    <a:pt x="664" y="39"/>
                    <a:pt x="664" y="39"/>
                    <a:pt x="663" y="40"/>
                  </a:cubicBezTo>
                  <a:close/>
                  <a:moveTo>
                    <a:pt x="759" y="40"/>
                  </a:moveTo>
                  <a:cubicBezTo>
                    <a:pt x="759" y="40"/>
                    <a:pt x="759" y="39"/>
                    <a:pt x="759" y="39"/>
                  </a:cubicBezTo>
                  <a:cubicBezTo>
                    <a:pt x="759" y="39"/>
                    <a:pt x="759" y="39"/>
                    <a:pt x="759" y="40"/>
                  </a:cubicBezTo>
                  <a:close/>
                  <a:moveTo>
                    <a:pt x="797" y="39"/>
                  </a:moveTo>
                  <a:cubicBezTo>
                    <a:pt x="797" y="39"/>
                    <a:pt x="797" y="40"/>
                    <a:pt x="797" y="40"/>
                  </a:cubicBezTo>
                  <a:cubicBezTo>
                    <a:pt x="797" y="39"/>
                    <a:pt x="797" y="39"/>
                    <a:pt x="797" y="39"/>
                  </a:cubicBezTo>
                  <a:close/>
                  <a:moveTo>
                    <a:pt x="832" y="40"/>
                  </a:moveTo>
                  <a:cubicBezTo>
                    <a:pt x="832" y="40"/>
                    <a:pt x="832" y="39"/>
                    <a:pt x="832" y="39"/>
                  </a:cubicBezTo>
                  <a:cubicBezTo>
                    <a:pt x="832" y="39"/>
                    <a:pt x="832" y="39"/>
                    <a:pt x="832" y="40"/>
                  </a:cubicBezTo>
                  <a:close/>
                  <a:moveTo>
                    <a:pt x="873" y="40"/>
                  </a:moveTo>
                  <a:cubicBezTo>
                    <a:pt x="873" y="40"/>
                    <a:pt x="873" y="39"/>
                    <a:pt x="873" y="39"/>
                  </a:cubicBezTo>
                  <a:cubicBezTo>
                    <a:pt x="873" y="39"/>
                    <a:pt x="873" y="39"/>
                    <a:pt x="873" y="40"/>
                  </a:cubicBezTo>
                  <a:close/>
                  <a:moveTo>
                    <a:pt x="1115" y="40"/>
                  </a:moveTo>
                  <a:cubicBezTo>
                    <a:pt x="1115" y="40"/>
                    <a:pt x="1115" y="39"/>
                    <a:pt x="1115" y="39"/>
                  </a:cubicBezTo>
                  <a:cubicBezTo>
                    <a:pt x="1115" y="39"/>
                    <a:pt x="1115" y="39"/>
                    <a:pt x="1115" y="40"/>
                  </a:cubicBezTo>
                  <a:close/>
                  <a:moveTo>
                    <a:pt x="682" y="76"/>
                  </a:moveTo>
                  <a:cubicBezTo>
                    <a:pt x="682" y="75"/>
                    <a:pt x="682" y="75"/>
                    <a:pt x="682" y="75"/>
                  </a:cubicBezTo>
                  <a:cubicBezTo>
                    <a:pt x="682" y="76"/>
                    <a:pt x="682" y="76"/>
                    <a:pt x="682" y="76"/>
                  </a:cubicBezTo>
                  <a:close/>
                  <a:moveTo>
                    <a:pt x="698" y="75"/>
                  </a:moveTo>
                  <a:cubicBezTo>
                    <a:pt x="698" y="76"/>
                    <a:pt x="698" y="76"/>
                    <a:pt x="698" y="76"/>
                  </a:cubicBezTo>
                  <a:cubicBezTo>
                    <a:pt x="698" y="76"/>
                    <a:pt x="698" y="76"/>
                    <a:pt x="698" y="75"/>
                  </a:cubicBezTo>
                  <a:close/>
                  <a:moveTo>
                    <a:pt x="1292" y="40"/>
                  </a:moveTo>
                  <a:cubicBezTo>
                    <a:pt x="1293" y="40"/>
                    <a:pt x="1293" y="39"/>
                    <a:pt x="1293" y="39"/>
                  </a:cubicBezTo>
                  <a:cubicBezTo>
                    <a:pt x="1293" y="39"/>
                    <a:pt x="1293" y="39"/>
                    <a:pt x="1292" y="40"/>
                  </a:cubicBezTo>
                  <a:close/>
                  <a:moveTo>
                    <a:pt x="663" y="40"/>
                  </a:moveTo>
                  <a:cubicBezTo>
                    <a:pt x="663" y="40"/>
                    <a:pt x="663" y="40"/>
                    <a:pt x="663" y="40"/>
                  </a:cubicBezTo>
                  <a:cubicBezTo>
                    <a:pt x="663" y="40"/>
                    <a:pt x="663" y="40"/>
                    <a:pt x="663" y="40"/>
                  </a:cubicBezTo>
                  <a:close/>
                  <a:moveTo>
                    <a:pt x="1350" y="76"/>
                  </a:moveTo>
                  <a:cubicBezTo>
                    <a:pt x="1350" y="76"/>
                    <a:pt x="1350" y="76"/>
                    <a:pt x="1350" y="75"/>
                  </a:cubicBezTo>
                  <a:cubicBezTo>
                    <a:pt x="1350" y="76"/>
                    <a:pt x="1350" y="76"/>
                    <a:pt x="1350" y="76"/>
                  </a:cubicBezTo>
                  <a:close/>
                  <a:moveTo>
                    <a:pt x="1363" y="75"/>
                  </a:moveTo>
                  <a:cubicBezTo>
                    <a:pt x="1363" y="75"/>
                    <a:pt x="1362" y="76"/>
                    <a:pt x="1362" y="76"/>
                  </a:cubicBezTo>
                  <a:cubicBezTo>
                    <a:pt x="1363" y="76"/>
                    <a:pt x="1363" y="76"/>
                    <a:pt x="1363" y="75"/>
                  </a:cubicBezTo>
                  <a:close/>
                  <a:moveTo>
                    <a:pt x="758" y="40"/>
                  </a:moveTo>
                  <a:cubicBezTo>
                    <a:pt x="759" y="40"/>
                    <a:pt x="759" y="40"/>
                    <a:pt x="759" y="40"/>
                  </a:cubicBezTo>
                  <a:cubicBezTo>
                    <a:pt x="759" y="40"/>
                    <a:pt x="759" y="40"/>
                    <a:pt x="758" y="40"/>
                  </a:cubicBezTo>
                  <a:close/>
                  <a:moveTo>
                    <a:pt x="797" y="40"/>
                  </a:moveTo>
                  <a:cubicBezTo>
                    <a:pt x="797" y="40"/>
                    <a:pt x="797" y="40"/>
                    <a:pt x="797" y="40"/>
                  </a:cubicBezTo>
                  <a:cubicBezTo>
                    <a:pt x="797" y="40"/>
                    <a:pt x="797" y="40"/>
                    <a:pt x="797" y="40"/>
                  </a:cubicBezTo>
                  <a:close/>
                  <a:moveTo>
                    <a:pt x="832" y="40"/>
                  </a:moveTo>
                  <a:cubicBezTo>
                    <a:pt x="832" y="40"/>
                    <a:pt x="832" y="40"/>
                    <a:pt x="832" y="40"/>
                  </a:cubicBezTo>
                  <a:cubicBezTo>
                    <a:pt x="832" y="40"/>
                    <a:pt x="832" y="40"/>
                    <a:pt x="832" y="40"/>
                  </a:cubicBezTo>
                  <a:close/>
                  <a:moveTo>
                    <a:pt x="873" y="40"/>
                  </a:moveTo>
                  <a:cubicBezTo>
                    <a:pt x="873" y="40"/>
                    <a:pt x="873" y="40"/>
                    <a:pt x="873" y="40"/>
                  </a:cubicBezTo>
                  <a:cubicBezTo>
                    <a:pt x="873" y="40"/>
                    <a:pt x="873" y="40"/>
                    <a:pt x="873" y="40"/>
                  </a:cubicBezTo>
                  <a:close/>
                  <a:moveTo>
                    <a:pt x="907" y="40"/>
                  </a:moveTo>
                  <a:cubicBezTo>
                    <a:pt x="907" y="40"/>
                    <a:pt x="907" y="40"/>
                    <a:pt x="907" y="40"/>
                  </a:cubicBezTo>
                  <a:cubicBezTo>
                    <a:pt x="907" y="40"/>
                    <a:pt x="907" y="40"/>
                    <a:pt x="907" y="40"/>
                  </a:cubicBezTo>
                  <a:close/>
                  <a:moveTo>
                    <a:pt x="1114" y="40"/>
                  </a:moveTo>
                  <a:cubicBezTo>
                    <a:pt x="1114" y="40"/>
                    <a:pt x="1115" y="40"/>
                    <a:pt x="1115" y="40"/>
                  </a:cubicBezTo>
                  <a:cubicBezTo>
                    <a:pt x="1114" y="40"/>
                    <a:pt x="1114" y="40"/>
                    <a:pt x="1114" y="40"/>
                  </a:cubicBezTo>
                  <a:close/>
                  <a:moveTo>
                    <a:pt x="1292" y="40"/>
                  </a:moveTo>
                  <a:cubicBezTo>
                    <a:pt x="1292" y="40"/>
                    <a:pt x="1292" y="40"/>
                    <a:pt x="1292" y="40"/>
                  </a:cubicBezTo>
                  <a:cubicBezTo>
                    <a:pt x="1292" y="40"/>
                    <a:pt x="1292" y="40"/>
                    <a:pt x="1292" y="40"/>
                  </a:cubicBezTo>
                  <a:close/>
                  <a:moveTo>
                    <a:pt x="1362" y="76"/>
                  </a:moveTo>
                  <a:cubicBezTo>
                    <a:pt x="1362" y="76"/>
                    <a:pt x="1362" y="76"/>
                    <a:pt x="1362" y="76"/>
                  </a:cubicBezTo>
                  <a:cubicBezTo>
                    <a:pt x="1362" y="76"/>
                    <a:pt x="1362" y="76"/>
                    <a:pt x="1362" y="76"/>
                  </a:cubicBezTo>
                  <a:close/>
                  <a:moveTo>
                    <a:pt x="663" y="40"/>
                  </a:moveTo>
                  <a:cubicBezTo>
                    <a:pt x="663" y="40"/>
                    <a:pt x="663" y="40"/>
                    <a:pt x="663" y="40"/>
                  </a:cubicBezTo>
                  <a:cubicBezTo>
                    <a:pt x="663" y="40"/>
                    <a:pt x="663" y="40"/>
                    <a:pt x="663" y="40"/>
                  </a:cubicBezTo>
                  <a:close/>
                  <a:moveTo>
                    <a:pt x="758" y="40"/>
                  </a:moveTo>
                  <a:cubicBezTo>
                    <a:pt x="758" y="40"/>
                    <a:pt x="758" y="40"/>
                    <a:pt x="758" y="40"/>
                  </a:cubicBezTo>
                  <a:cubicBezTo>
                    <a:pt x="758" y="40"/>
                    <a:pt x="758" y="40"/>
                    <a:pt x="758" y="40"/>
                  </a:cubicBezTo>
                  <a:close/>
                  <a:moveTo>
                    <a:pt x="797" y="40"/>
                  </a:moveTo>
                  <a:cubicBezTo>
                    <a:pt x="797" y="40"/>
                    <a:pt x="798" y="40"/>
                    <a:pt x="798" y="40"/>
                  </a:cubicBezTo>
                  <a:cubicBezTo>
                    <a:pt x="798" y="40"/>
                    <a:pt x="798" y="40"/>
                    <a:pt x="797" y="40"/>
                  </a:cubicBezTo>
                  <a:close/>
                  <a:moveTo>
                    <a:pt x="831" y="40"/>
                  </a:moveTo>
                  <a:cubicBezTo>
                    <a:pt x="831" y="40"/>
                    <a:pt x="832" y="40"/>
                    <a:pt x="832" y="40"/>
                  </a:cubicBezTo>
                  <a:cubicBezTo>
                    <a:pt x="831" y="40"/>
                    <a:pt x="831" y="40"/>
                    <a:pt x="831" y="40"/>
                  </a:cubicBezTo>
                  <a:close/>
                  <a:moveTo>
                    <a:pt x="872" y="40"/>
                  </a:moveTo>
                  <a:cubicBezTo>
                    <a:pt x="873" y="40"/>
                    <a:pt x="873" y="40"/>
                    <a:pt x="873" y="40"/>
                  </a:cubicBezTo>
                  <a:cubicBezTo>
                    <a:pt x="873" y="40"/>
                    <a:pt x="872" y="40"/>
                    <a:pt x="872" y="40"/>
                  </a:cubicBezTo>
                  <a:close/>
                  <a:moveTo>
                    <a:pt x="907" y="40"/>
                  </a:moveTo>
                  <a:cubicBezTo>
                    <a:pt x="907" y="40"/>
                    <a:pt x="908" y="40"/>
                    <a:pt x="908" y="40"/>
                  </a:cubicBezTo>
                  <a:cubicBezTo>
                    <a:pt x="908" y="40"/>
                    <a:pt x="908" y="40"/>
                    <a:pt x="907" y="40"/>
                  </a:cubicBezTo>
                  <a:close/>
                  <a:moveTo>
                    <a:pt x="1114" y="40"/>
                  </a:moveTo>
                  <a:cubicBezTo>
                    <a:pt x="1114" y="40"/>
                    <a:pt x="1114" y="40"/>
                    <a:pt x="1114" y="40"/>
                  </a:cubicBezTo>
                  <a:cubicBezTo>
                    <a:pt x="1114" y="40"/>
                    <a:pt x="1114" y="40"/>
                    <a:pt x="1114" y="40"/>
                  </a:cubicBezTo>
                  <a:close/>
                  <a:moveTo>
                    <a:pt x="1362" y="76"/>
                  </a:moveTo>
                  <a:cubicBezTo>
                    <a:pt x="1362" y="76"/>
                    <a:pt x="1362" y="76"/>
                    <a:pt x="1362" y="76"/>
                  </a:cubicBezTo>
                  <a:cubicBezTo>
                    <a:pt x="1362" y="76"/>
                    <a:pt x="1362" y="76"/>
                    <a:pt x="1362" y="76"/>
                  </a:cubicBezTo>
                  <a:close/>
                  <a:moveTo>
                    <a:pt x="1149" y="40"/>
                  </a:moveTo>
                  <a:cubicBezTo>
                    <a:pt x="1149" y="40"/>
                    <a:pt x="1149" y="40"/>
                    <a:pt x="1150" y="40"/>
                  </a:cubicBezTo>
                  <a:cubicBezTo>
                    <a:pt x="1150" y="40"/>
                    <a:pt x="1149" y="40"/>
                    <a:pt x="1149" y="40"/>
                  </a:cubicBezTo>
                  <a:close/>
                  <a:moveTo>
                    <a:pt x="1533" y="77"/>
                  </a:moveTo>
                  <a:cubicBezTo>
                    <a:pt x="1534" y="76"/>
                    <a:pt x="1534" y="76"/>
                    <a:pt x="1534" y="76"/>
                  </a:cubicBezTo>
                  <a:cubicBezTo>
                    <a:pt x="1534" y="76"/>
                    <a:pt x="1533" y="76"/>
                    <a:pt x="1533" y="77"/>
                  </a:cubicBezTo>
                  <a:close/>
                  <a:moveTo>
                    <a:pt x="1546" y="76"/>
                  </a:moveTo>
                  <a:cubicBezTo>
                    <a:pt x="1546" y="76"/>
                    <a:pt x="1546" y="76"/>
                    <a:pt x="1546" y="76"/>
                  </a:cubicBezTo>
                  <a:cubicBezTo>
                    <a:pt x="1546" y="76"/>
                    <a:pt x="1546" y="76"/>
                    <a:pt x="1546" y="76"/>
                  </a:cubicBezTo>
                  <a:close/>
                  <a:moveTo>
                    <a:pt x="1218" y="40"/>
                  </a:moveTo>
                  <a:cubicBezTo>
                    <a:pt x="1218" y="40"/>
                    <a:pt x="1218" y="40"/>
                    <a:pt x="1218" y="40"/>
                  </a:cubicBezTo>
                  <a:cubicBezTo>
                    <a:pt x="1218" y="40"/>
                    <a:pt x="1218" y="40"/>
                    <a:pt x="1218" y="40"/>
                  </a:cubicBezTo>
                  <a:close/>
                  <a:moveTo>
                    <a:pt x="662" y="41"/>
                  </a:moveTo>
                  <a:cubicBezTo>
                    <a:pt x="663" y="41"/>
                    <a:pt x="663" y="41"/>
                    <a:pt x="663" y="40"/>
                  </a:cubicBezTo>
                  <a:cubicBezTo>
                    <a:pt x="663" y="40"/>
                    <a:pt x="662" y="40"/>
                    <a:pt x="662" y="41"/>
                  </a:cubicBezTo>
                  <a:close/>
                  <a:moveTo>
                    <a:pt x="1701" y="77"/>
                  </a:moveTo>
                  <a:cubicBezTo>
                    <a:pt x="1702" y="76"/>
                    <a:pt x="1702" y="76"/>
                    <a:pt x="1702" y="76"/>
                  </a:cubicBezTo>
                  <a:cubicBezTo>
                    <a:pt x="1702" y="76"/>
                    <a:pt x="1702" y="76"/>
                    <a:pt x="1701" y="77"/>
                  </a:cubicBezTo>
                  <a:close/>
                  <a:moveTo>
                    <a:pt x="1714" y="76"/>
                  </a:moveTo>
                  <a:cubicBezTo>
                    <a:pt x="1714" y="76"/>
                    <a:pt x="1714" y="76"/>
                    <a:pt x="1714" y="76"/>
                  </a:cubicBezTo>
                  <a:cubicBezTo>
                    <a:pt x="1714" y="76"/>
                    <a:pt x="1714" y="76"/>
                    <a:pt x="1714" y="76"/>
                  </a:cubicBezTo>
                  <a:close/>
                  <a:moveTo>
                    <a:pt x="684" y="77"/>
                  </a:moveTo>
                  <a:cubicBezTo>
                    <a:pt x="684" y="77"/>
                    <a:pt x="683" y="76"/>
                    <a:pt x="683" y="76"/>
                  </a:cubicBezTo>
                  <a:cubicBezTo>
                    <a:pt x="683" y="77"/>
                    <a:pt x="684" y="77"/>
                    <a:pt x="684" y="77"/>
                  </a:cubicBezTo>
                  <a:close/>
                  <a:moveTo>
                    <a:pt x="967" y="76"/>
                  </a:moveTo>
                  <a:cubicBezTo>
                    <a:pt x="967" y="77"/>
                    <a:pt x="967" y="77"/>
                    <a:pt x="968" y="77"/>
                  </a:cubicBezTo>
                  <a:cubicBezTo>
                    <a:pt x="968" y="77"/>
                    <a:pt x="968" y="77"/>
                    <a:pt x="967" y="76"/>
                  </a:cubicBezTo>
                  <a:close/>
                  <a:moveTo>
                    <a:pt x="758" y="41"/>
                  </a:moveTo>
                  <a:cubicBezTo>
                    <a:pt x="758" y="41"/>
                    <a:pt x="758" y="40"/>
                    <a:pt x="758" y="40"/>
                  </a:cubicBezTo>
                  <a:cubicBezTo>
                    <a:pt x="758" y="40"/>
                    <a:pt x="758" y="40"/>
                    <a:pt x="758" y="41"/>
                  </a:cubicBezTo>
                  <a:close/>
                  <a:moveTo>
                    <a:pt x="798" y="40"/>
                  </a:moveTo>
                  <a:cubicBezTo>
                    <a:pt x="798" y="40"/>
                    <a:pt x="798" y="41"/>
                    <a:pt x="798" y="41"/>
                  </a:cubicBezTo>
                  <a:cubicBezTo>
                    <a:pt x="798" y="40"/>
                    <a:pt x="798" y="40"/>
                    <a:pt x="798" y="40"/>
                  </a:cubicBezTo>
                  <a:close/>
                  <a:moveTo>
                    <a:pt x="1349" y="77"/>
                  </a:moveTo>
                  <a:cubicBezTo>
                    <a:pt x="1349" y="77"/>
                    <a:pt x="1349" y="77"/>
                    <a:pt x="1349" y="76"/>
                  </a:cubicBezTo>
                  <a:cubicBezTo>
                    <a:pt x="1349" y="77"/>
                    <a:pt x="1349" y="77"/>
                    <a:pt x="1349" y="77"/>
                  </a:cubicBezTo>
                  <a:close/>
                  <a:moveTo>
                    <a:pt x="1362" y="76"/>
                  </a:moveTo>
                  <a:cubicBezTo>
                    <a:pt x="1361" y="76"/>
                    <a:pt x="1361" y="77"/>
                    <a:pt x="1361" y="77"/>
                  </a:cubicBezTo>
                  <a:cubicBezTo>
                    <a:pt x="1361" y="77"/>
                    <a:pt x="1362" y="77"/>
                    <a:pt x="1362" y="76"/>
                  </a:cubicBezTo>
                  <a:close/>
                  <a:moveTo>
                    <a:pt x="1533" y="77"/>
                  </a:moveTo>
                  <a:cubicBezTo>
                    <a:pt x="1533" y="77"/>
                    <a:pt x="1533" y="77"/>
                    <a:pt x="1533" y="76"/>
                  </a:cubicBezTo>
                  <a:cubicBezTo>
                    <a:pt x="1533" y="77"/>
                    <a:pt x="1533" y="77"/>
                    <a:pt x="1533" y="77"/>
                  </a:cubicBezTo>
                  <a:close/>
                  <a:moveTo>
                    <a:pt x="1546" y="76"/>
                  </a:moveTo>
                  <a:cubicBezTo>
                    <a:pt x="1546" y="76"/>
                    <a:pt x="1546" y="77"/>
                    <a:pt x="1545" y="77"/>
                  </a:cubicBezTo>
                  <a:cubicBezTo>
                    <a:pt x="1546" y="77"/>
                    <a:pt x="1546" y="77"/>
                    <a:pt x="1546" y="76"/>
                  </a:cubicBezTo>
                  <a:close/>
                  <a:moveTo>
                    <a:pt x="1701" y="77"/>
                  </a:moveTo>
                  <a:cubicBezTo>
                    <a:pt x="1701" y="77"/>
                    <a:pt x="1701" y="77"/>
                    <a:pt x="1701" y="76"/>
                  </a:cubicBezTo>
                  <a:cubicBezTo>
                    <a:pt x="1701" y="77"/>
                    <a:pt x="1701" y="77"/>
                    <a:pt x="1701" y="77"/>
                  </a:cubicBezTo>
                  <a:close/>
                  <a:moveTo>
                    <a:pt x="1714" y="76"/>
                  </a:moveTo>
                  <a:cubicBezTo>
                    <a:pt x="1714" y="76"/>
                    <a:pt x="1714" y="77"/>
                    <a:pt x="1714" y="77"/>
                  </a:cubicBezTo>
                  <a:cubicBezTo>
                    <a:pt x="1714" y="77"/>
                    <a:pt x="1714" y="77"/>
                    <a:pt x="1714" y="76"/>
                  </a:cubicBezTo>
                  <a:close/>
                  <a:moveTo>
                    <a:pt x="865" y="40"/>
                  </a:moveTo>
                  <a:cubicBezTo>
                    <a:pt x="865" y="40"/>
                    <a:pt x="865" y="41"/>
                    <a:pt x="865" y="41"/>
                  </a:cubicBezTo>
                  <a:cubicBezTo>
                    <a:pt x="865" y="41"/>
                    <a:pt x="865" y="40"/>
                    <a:pt x="865" y="40"/>
                  </a:cubicBezTo>
                  <a:close/>
                  <a:moveTo>
                    <a:pt x="872" y="41"/>
                  </a:moveTo>
                  <a:cubicBezTo>
                    <a:pt x="872" y="41"/>
                    <a:pt x="872" y="40"/>
                    <a:pt x="872" y="40"/>
                  </a:cubicBezTo>
                  <a:cubicBezTo>
                    <a:pt x="872" y="40"/>
                    <a:pt x="872" y="41"/>
                    <a:pt x="872" y="41"/>
                  </a:cubicBezTo>
                  <a:close/>
                  <a:moveTo>
                    <a:pt x="1040" y="41"/>
                  </a:moveTo>
                  <a:cubicBezTo>
                    <a:pt x="1040" y="41"/>
                    <a:pt x="1040" y="41"/>
                    <a:pt x="1040" y="40"/>
                  </a:cubicBezTo>
                  <a:cubicBezTo>
                    <a:pt x="1040" y="40"/>
                    <a:pt x="1040" y="40"/>
                    <a:pt x="1040" y="41"/>
                  </a:cubicBezTo>
                  <a:close/>
                  <a:moveTo>
                    <a:pt x="1114" y="41"/>
                  </a:moveTo>
                  <a:cubicBezTo>
                    <a:pt x="1114" y="41"/>
                    <a:pt x="1114" y="40"/>
                    <a:pt x="1114" y="40"/>
                  </a:cubicBezTo>
                  <a:cubicBezTo>
                    <a:pt x="1114" y="40"/>
                    <a:pt x="1114" y="40"/>
                    <a:pt x="1114" y="41"/>
                  </a:cubicBezTo>
                  <a:close/>
                  <a:moveTo>
                    <a:pt x="1150" y="40"/>
                  </a:moveTo>
                  <a:cubicBezTo>
                    <a:pt x="1150" y="40"/>
                    <a:pt x="1150" y="41"/>
                    <a:pt x="1150" y="41"/>
                  </a:cubicBezTo>
                  <a:cubicBezTo>
                    <a:pt x="1150" y="40"/>
                    <a:pt x="1150" y="40"/>
                    <a:pt x="1150" y="40"/>
                  </a:cubicBezTo>
                  <a:close/>
                  <a:moveTo>
                    <a:pt x="1218" y="41"/>
                  </a:moveTo>
                  <a:cubicBezTo>
                    <a:pt x="1218" y="41"/>
                    <a:pt x="1218" y="41"/>
                    <a:pt x="1218" y="40"/>
                  </a:cubicBezTo>
                  <a:cubicBezTo>
                    <a:pt x="1218" y="40"/>
                    <a:pt x="1218" y="40"/>
                    <a:pt x="1218" y="41"/>
                  </a:cubicBezTo>
                  <a:close/>
                  <a:moveTo>
                    <a:pt x="1349" y="77"/>
                  </a:moveTo>
                  <a:cubicBezTo>
                    <a:pt x="1349" y="77"/>
                    <a:pt x="1349" y="77"/>
                    <a:pt x="1349" y="77"/>
                  </a:cubicBezTo>
                  <a:cubicBezTo>
                    <a:pt x="1349" y="77"/>
                    <a:pt x="1349" y="77"/>
                    <a:pt x="1349" y="77"/>
                  </a:cubicBezTo>
                  <a:close/>
                  <a:moveTo>
                    <a:pt x="1361" y="77"/>
                  </a:moveTo>
                  <a:cubicBezTo>
                    <a:pt x="1361" y="77"/>
                    <a:pt x="1361" y="77"/>
                    <a:pt x="1361" y="77"/>
                  </a:cubicBezTo>
                  <a:cubicBezTo>
                    <a:pt x="1361" y="77"/>
                    <a:pt x="1361" y="77"/>
                    <a:pt x="1361" y="77"/>
                  </a:cubicBezTo>
                  <a:close/>
                  <a:moveTo>
                    <a:pt x="552" y="41"/>
                  </a:moveTo>
                  <a:cubicBezTo>
                    <a:pt x="552" y="41"/>
                    <a:pt x="553" y="41"/>
                    <a:pt x="553" y="41"/>
                  </a:cubicBezTo>
                  <a:cubicBezTo>
                    <a:pt x="553" y="41"/>
                    <a:pt x="553" y="41"/>
                    <a:pt x="552" y="41"/>
                  </a:cubicBezTo>
                  <a:close/>
                  <a:moveTo>
                    <a:pt x="1545" y="77"/>
                  </a:moveTo>
                  <a:cubicBezTo>
                    <a:pt x="1545" y="77"/>
                    <a:pt x="1545" y="77"/>
                    <a:pt x="1545" y="77"/>
                  </a:cubicBezTo>
                  <a:cubicBezTo>
                    <a:pt x="1545" y="77"/>
                    <a:pt x="1545" y="77"/>
                    <a:pt x="1545" y="77"/>
                  </a:cubicBezTo>
                  <a:close/>
                  <a:moveTo>
                    <a:pt x="757" y="41"/>
                  </a:moveTo>
                  <a:cubicBezTo>
                    <a:pt x="758" y="41"/>
                    <a:pt x="758" y="41"/>
                    <a:pt x="758" y="41"/>
                  </a:cubicBezTo>
                  <a:cubicBezTo>
                    <a:pt x="758" y="41"/>
                    <a:pt x="758" y="41"/>
                    <a:pt x="757" y="41"/>
                  </a:cubicBezTo>
                  <a:close/>
                  <a:moveTo>
                    <a:pt x="798" y="41"/>
                  </a:moveTo>
                  <a:cubicBezTo>
                    <a:pt x="798" y="41"/>
                    <a:pt x="798" y="41"/>
                    <a:pt x="798" y="41"/>
                  </a:cubicBezTo>
                  <a:cubicBezTo>
                    <a:pt x="798" y="41"/>
                    <a:pt x="798" y="41"/>
                    <a:pt x="798" y="41"/>
                  </a:cubicBezTo>
                  <a:close/>
                  <a:moveTo>
                    <a:pt x="872" y="41"/>
                  </a:moveTo>
                  <a:cubicBezTo>
                    <a:pt x="872" y="41"/>
                    <a:pt x="872" y="41"/>
                    <a:pt x="872" y="41"/>
                  </a:cubicBezTo>
                  <a:cubicBezTo>
                    <a:pt x="872" y="41"/>
                    <a:pt x="872" y="41"/>
                    <a:pt x="872" y="41"/>
                  </a:cubicBezTo>
                  <a:close/>
                  <a:moveTo>
                    <a:pt x="1714" y="77"/>
                  </a:moveTo>
                  <a:cubicBezTo>
                    <a:pt x="1713" y="77"/>
                    <a:pt x="1713" y="77"/>
                    <a:pt x="1713" y="77"/>
                  </a:cubicBezTo>
                  <a:cubicBezTo>
                    <a:pt x="1713" y="77"/>
                    <a:pt x="1713" y="77"/>
                    <a:pt x="1714" y="77"/>
                  </a:cubicBezTo>
                  <a:close/>
                  <a:moveTo>
                    <a:pt x="1039" y="41"/>
                  </a:moveTo>
                  <a:cubicBezTo>
                    <a:pt x="1040" y="41"/>
                    <a:pt x="1040" y="41"/>
                    <a:pt x="1040" y="41"/>
                  </a:cubicBezTo>
                  <a:cubicBezTo>
                    <a:pt x="1040" y="41"/>
                    <a:pt x="1039" y="41"/>
                    <a:pt x="1039" y="41"/>
                  </a:cubicBezTo>
                  <a:close/>
                  <a:moveTo>
                    <a:pt x="1113" y="41"/>
                  </a:moveTo>
                  <a:cubicBezTo>
                    <a:pt x="1113" y="41"/>
                    <a:pt x="1114" y="41"/>
                    <a:pt x="1114" y="41"/>
                  </a:cubicBezTo>
                  <a:cubicBezTo>
                    <a:pt x="1113" y="41"/>
                    <a:pt x="1113" y="41"/>
                    <a:pt x="1113" y="41"/>
                  </a:cubicBezTo>
                  <a:close/>
                  <a:moveTo>
                    <a:pt x="685" y="77"/>
                  </a:moveTo>
                  <a:cubicBezTo>
                    <a:pt x="685" y="77"/>
                    <a:pt x="685" y="77"/>
                    <a:pt x="684" y="77"/>
                  </a:cubicBezTo>
                  <a:cubicBezTo>
                    <a:pt x="684" y="77"/>
                    <a:pt x="685" y="77"/>
                    <a:pt x="685" y="77"/>
                  </a:cubicBezTo>
                  <a:close/>
                  <a:moveTo>
                    <a:pt x="1217" y="41"/>
                  </a:moveTo>
                  <a:cubicBezTo>
                    <a:pt x="1217" y="41"/>
                    <a:pt x="1218" y="41"/>
                    <a:pt x="1218" y="41"/>
                  </a:cubicBezTo>
                  <a:cubicBezTo>
                    <a:pt x="1217" y="41"/>
                    <a:pt x="1217" y="41"/>
                    <a:pt x="1217" y="41"/>
                  </a:cubicBezTo>
                  <a:close/>
                  <a:moveTo>
                    <a:pt x="1258" y="41"/>
                  </a:moveTo>
                  <a:cubicBezTo>
                    <a:pt x="1258" y="41"/>
                    <a:pt x="1258" y="41"/>
                    <a:pt x="1258" y="41"/>
                  </a:cubicBezTo>
                  <a:cubicBezTo>
                    <a:pt x="1258" y="41"/>
                    <a:pt x="1258" y="41"/>
                    <a:pt x="1258" y="41"/>
                  </a:cubicBezTo>
                  <a:close/>
                  <a:moveTo>
                    <a:pt x="1361" y="77"/>
                  </a:moveTo>
                  <a:cubicBezTo>
                    <a:pt x="1361" y="77"/>
                    <a:pt x="1361" y="77"/>
                    <a:pt x="1361" y="77"/>
                  </a:cubicBezTo>
                  <a:cubicBezTo>
                    <a:pt x="1361" y="77"/>
                    <a:pt x="1361" y="77"/>
                    <a:pt x="1361" y="77"/>
                  </a:cubicBezTo>
                  <a:close/>
                  <a:moveTo>
                    <a:pt x="1291" y="41"/>
                  </a:moveTo>
                  <a:cubicBezTo>
                    <a:pt x="1292" y="41"/>
                    <a:pt x="1292" y="41"/>
                    <a:pt x="1292" y="41"/>
                  </a:cubicBezTo>
                  <a:cubicBezTo>
                    <a:pt x="1292" y="41"/>
                    <a:pt x="1292" y="41"/>
                    <a:pt x="1291" y="41"/>
                  </a:cubicBezTo>
                  <a:close/>
                  <a:moveTo>
                    <a:pt x="1545" y="77"/>
                  </a:moveTo>
                  <a:cubicBezTo>
                    <a:pt x="1545" y="77"/>
                    <a:pt x="1545" y="77"/>
                    <a:pt x="1545" y="77"/>
                  </a:cubicBezTo>
                  <a:cubicBezTo>
                    <a:pt x="1545" y="77"/>
                    <a:pt x="1545" y="77"/>
                    <a:pt x="1545" y="77"/>
                  </a:cubicBezTo>
                  <a:close/>
                  <a:moveTo>
                    <a:pt x="1713" y="77"/>
                  </a:moveTo>
                  <a:cubicBezTo>
                    <a:pt x="1713" y="77"/>
                    <a:pt x="1713" y="77"/>
                    <a:pt x="1713" y="77"/>
                  </a:cubicBezTo>
                  <a:cubicBezTo>
                    <a:pt x="1713" y="77"/>
                    <a:pt x="1713" y="77"/>
                    <a:pt x="1713" y="77"/>
                  </a:cubicBezTo>
                  <a:close/>
                  <a:moveTo>
                    <a:pt x="553" y="41"/>
                  </a:moveTo>
                  <a:cubicBezTo>
                    <a:pt x="553" y="41"/>
                    <a:pt x="553" y="41"/>
                    <a:pt x="553" y="41"/>
                  </a:cubicBezTo>
                  <a:cubicBezTo>
                    <a:pt x="553" y="41"/>
                    <a:pt x="553" y="41"/>
                    <a:pt x="553" y="41"/>
                  </a:cubicBezTo>
                  <a:close/>
                  <a:moveTo>
                    <a:pt x="757" y="41"/>
                  </a:moveTo>
                  <a:cubicBezTo>
                    <a:pt x="757" y="41"/>
                    <a:pt x="757" y="41"/>
                    <a:pt x="757" y="41"/>
                  </a:cubicBezTo>
                  <a:cubicBezTo>
                    <a:pt x="757" y="41"/>
                    <a:pt x="757" y="41"/>
                    <a:pt x="757" y="41"/>
                  </a:cubicBezTo>
                  <a:close/>
                  <a:moveTo>
                    <a:pt x="798" y="41"/>
                  </a:moveTo>
                  <a:cubicBezTo>
                    <a:pt x="798" y="41"/>
                    <a:pt x="799" y="41"/>
                    <a:pt x="799" y="41"/>
                  </a:cubicBezTo>
                  <a:cubicBezTo>
                    <a:pt x="799" y="41"/>
                    <a:pt x="799" y="41"/>
                    <a:pt x="798" y="41"/>
                  </a:cubicBezTo>
                  <a:close/>
                  <a:moveTo>
                    <a:pt x="871" y="41"/>
                  </a:moveTo>
                  <a:cubicBezTo>
                    <a:pt x="872" y="41"/>
                    <a:pt x="872" y="41"/>
                    <a:pt x="872" y="41"/>
                  </a:cubicBezTo>
                  <a:cubicBezTo>
                    <a:pt x="871" y="41"/>
                    <a:pt x="871" y="41"/>
                    <a:pt x="871" y="41"/>
                  </a:cubicBezTo>
                  <a:close/>
                  <a:moveTo>
                    <a:pt x="908" y="41"/>
                  </a:moveTo>
                  <a:cubicBezTo>
                    <a:pt x="908" y="41"/>
                    <a:pt x="908" y="41"/>
                    <a:pt x="908" y="41"/>
                  </a:cubicBezTo>
                  <a:cubicBezTo>
                    <a:pt x="908" y="41"/>
                    <a:pt x="908" y="41"/>
                    <a:pt x="908" y="41"/>
                  </a:cubicBezTo>
                  <a:close/>
                  <a:moveTo>
                    <a:pt x="1361" y="77"/>
                  </a:moveTo>
                  <a:cubicBezTo>
                    <a:pt x="1360" y="77"/>
                    <a:pt x="1360" y="78"/>
                    <a:pt x="1360" y="78"/>
                  </a:cubicBezTo>
                  <a:cubicBezTo>
                    <a:pt x="1360" y="78"/>
                    <a:pt x="1361" y="78"/>
                    <a:pt x="1361" y="77"/>
                  </a:cubicBezTo>
                  <a:close/>
                  <a:moveTo>
                    <a:pt x="1039" y="41"/>
                  </a:moveTo>
                  <a:cubicBezTo>
                    <a:pt x="1039" y="41"/>
                    <a:pt x="1039" y="41"/>
                    <a:pt x="1039" y="41"/>
                  </a:cubicBezTo>
                  <a:cubicBezTo>
                    <a:pt x="1039" y="41"/>
                    <a:pt x="1039" y="41"/>
                    <a:pt x="1039" y="41"/>
                  </a:cubicBezTo>
                  <a:close/>
                  <a:moveTo>
                    <a:pt x="1532" y="78"/>
                  </a:moveTo>
                  <a:cubicBezTo>
                    <a:pt x="1533" y="78"/>
                    <a:pt x="1533" y="78"/>
                    <a:pt x="1533" y="77"/>
                  </a:cubicBezTo>
                  <a:cubicBezTo>
                    <a:pt x="1532" y="78"/>
                    <a:pt x="1532" y="78"/>
                    <a:pt x="1532" y="78"/>
                  </a:cubicBezTo>
                  <a:close/>
                  <a:moveTo>
                    <a:pt x="1545" y="77"/>
                  </a:moveTo>
                  <a:cubicBezTo>
                    <a:pt x="1545" y="77"/>
                    <a:pt x="1544" y="78"/>
                    <a:pt x="1544" y="78"/>
                  </a:cubicBezTo>
                  <a:cubicBezTo>
                    <a:pt x="1545" y="78"/>
                    <a:pt x="1545" y="78"/>
                    <a:pt x="1545" y="77"/>
                  </a:cubicBezTo>
                  <a:close/>
                  <a:moveTo>
                    <a:pt x="1080" y="41"/>
                  </a:moveTo>
                  <a:cubicBezTo>
                    <a:pt x="1080" y="41"/>
                    <a:pt x="1081" y="41"/>
                    <a:pt x="1081" y="41"/>
                  </a:cubicBezTo>
                  <a:cubicBezTo>
                    <a:pt x="1081" y="41"/>
                    <a:pt x="1081" y="41"/>
                    <a:pt x="1080" y="41"/>
                  </a:cubicBezTo>
                  <a:close/>
                  <a:moveTo>
                    <a:pt x="1217" y="41"/>
                  </a:moveTo>
                  <a:cubicBezTo>
                    <a:pt x="1217" y="41"/>
                    <a:pt x="1217" y="41"/>
                    <a:pt x="1217" y="41"/>
                  </a:cubicBezTo>
                  <a:cubicBezTo>
                    <a:pt x="1217" y="41"/>
                    <a:pt x="1217" y="41"/>
                    <a:pt x="1217" y="41"/>
                  </a:cubicBezTo>
                  <a:close/>
                  <a:moveTo>
                    <a:pt x="1700" y="78"/>
                  </a:moveTo>
                  <a:cubicBezTo>
                    <a:pt x="1701" y="78"/>
                    <a:pt x="1701" y="78"/>
                    <a:pt x="1701" y="77"/>
                  </a:cubicBezTo>
                  <a:cubicBezTo>
                    <a:pt x="1701" y="78"/>
                    <a:pt x="1700" y="78"/>
                    <a:pt x="1700" y="78"/>
                  </a:cubicBezTo>
                  <a:close/>
                  <a:moveTo>
                    <a:pt x="1713" y="77"/>
                  </a:moveTo>
                  <a:cubicBezTo>
                    <a:pt x="1713" y="77"/>
                    <a:pt x="1713" y="78"/>
                    <a:pt x="1713" y="78"/>
                  </a:cubicBezTo>
                  <a:cubicBezTo>
                    <a:pt x="1713" y="78"/>
                    <a:pt x="1713" y="78"/>
                    <a:pt x="1713" y="77"/>
                  </a:cubicBezTo>
                  <a:close/>
                  <a:moveTo>
                    <a:pt x="1258" y="41"/>
                  </a:moveTo>
                  <a:cubicBezTo>
                    <a:pt x="1258" y="41"/>
                    <a:pt x="1258" y="41"/>
                    <a:pt x="1259" y="41"/>
                  </a:cubicBezTo>
                  <a:cubicBezTo>
                    <a:pt x="1259" y="41"/>
                    <a:pt x="1258" y="41"/>
                    <a:pt x="1258" y="41"/>
                  </a:cubicBezTo>
                  <a:close/>
                  <a:moveTo>
                    <a:pt x="553" y="41"/>
                  </a:moveTo>
                  <a:cubicBezTo>
                    <a:pt x="553" y="41"/>
                    <a:pt x="553" y="42"/>
                    <a:pt x="553" y="42"/>
                  </a:cubicBezTo>
                  <a:cubicBezTo>
                    <a:pt x="553" y="42"/>
                    <a:pt x="553" y="41"/>
                    <a:pt x="553" y="41"/>
                  </a:cubicBezTo>
                  <a:close/>
                  <a:moveTo>
                    <a:pt x="662" y="42"/>
                  </a:moveTo>
                  <a:cubicBezTo>
                    <a:pt x="662" y="42"/>
                    <a:pt x="662" y="41"/>
                    <a:pt x="662" y="41"/>
                  </a:cubicBezTo>
                  <a:cubicBezTo>
                    <a:pt x="662" y="41"/>
                    <a:pt x="662" y="42"/>
                    <a:pt x="662" y="42"/>
                  </a:cubicBezTo>
                  <a:close/>
                  <a:moveTo>
                    <a:pt x="757" y="42"/>
                  </a:moveTo>
                  <a:cubicBezTo>
                    <a:pt x="757" y="42"/>
                    <a:pt x="757" y="41"/>
                    <a:pt x="757" y="41"/>
                  </a:cubicBezTo>
                  <a:cubicBezTo>
                    <a:pt x="757" y="41"/>
                    <a:pt x="757" y="42"/>
                    <a:pt x="757" y="42"/>
                  </a:cubicBezTo>
                  <a:close/>
                  <a:moveTo>
                    <a:pt x="1348" y="78"/>
                  </a:moveTo>
                  <a:cubicBezTo>
                    <a:pt x="1348" y="78"/>
                    <a:pt x="1348" y="78"/>
                    <a:pt x="1348" y="78"/>
                  </a:cubicBezTo>
                  <a:cubicBezTo>
                    <a:pt x="1348" y="78"/>
                    <a:pt x="1348" y="78"/>
                    <a:pt x="1348" y="78"/>
                  </a:cubicBezTo>
                  <a:close/>
                  <a:moveTo>
                    <a:pt x="1360" y="78"/>
                  </a:moveTo>
                  <a:cubicBezTo>
                    <a:pt x="1360" y="78"/>
                    <a:pt x="1360" y="78"/>
                    <a:pt x="1360" y="78"/>
                  </a:cubicBezTo>
                  <a:cubicBezTo>
                    <a:pt x="1360" y="78"/>
                    <a:pt x="1360" y="78"/>
                    <a:pt x="1360" y="78"/>
                  </a:cubicBezTo>
                  <a:close/>
                  <a:moveTo>
                    <a:pt x="830" y="42"/>
                  </a:moveTo>
                  <a:cubicBezTo>
                    <a:pt x="830" y="42"/>
                    <a:pt x="830" y="41"/>
                    <a:pt x="831" y="41"/>
                  </a:cubicBezTo>
                  <a:cubicBezTo>
                    <a:pt x="830" y="41"/>
                    <a:pt x="830" y="42"/>
                    <a:pt x="830" y="42"/>
                  </a:cubicBezTo>
                  <a:close/>
                  <a:moveTo>
                    <a:pt x="1544" y="78"/>
                  </a:moveTo>
                  <a:cubicBezTo>
                    <a:pt x="1544" y="78"/>
                    <a:pt x="1544" y="78"/>
                    <a:pt x="1544" y="78"/>
                  </a:cubicBezTo>
                  <a:cubicBezTo>
                    <a:pt x="1544" y="78"/>
                    <a:pt x="1544" y="78"/>
                    <a:pt x="1544" y="78"/>
                  </a:cubicBezTo>
                  <a:close/>
                  <a:moveTo>
                    <a:pt x="866" y="41"/>
                  </a:moveTo>
                  <a:cubicBezTo>
                    <a:pt x="866" y="41"/>
                    <a:pt x="866" y="42"/>
                    <a:pt x="866" y="42"/>
                  </a:cubicBezTo>
                  <a:cubicBezTo>
                    <a:pt x="866" y="42"/>
                    <a:pt x="866" y="41"/>
                    <a:pt x="866" y="41"/>
                  </a:cubicBezTo>
                  <a:close/>
                  <a:moveTo>
                    <a:pt x="1713" y="78"/>
                  </a:moveTo>
                  <a:cubicBezTo>
                    <a:pt x="1712" y="78"/>
                    <a:pt x="1712" y="78"/>
                    <a:pt x="1712" y="78"/>
                  </a:cubicBezTo>
                  <a:cubicBezTo>
                    <a:pt x="1712" y="78"/>
                    <a:pt x="1713" y="78"/>
                    <a:pt x="1713" y="78"/>
                  </a:cubicBezTo>
                  <a:close/>
                  <a:moveTo>
                    <a:pt x="1039" y="42"/>
                  </a:moveTo>
                  <a:cubicBezTo>
                    <a:pt x="1039" y="42"/>
                    <a:pt x="1039" y="42"/>
                    <a:pt x="1039" y="41"/>
                  </a:cubicBezTo>
                  <a:cubicBezTo>
                    <a:pt x="1039" y="41"/>
                    <a:pt x="1039" y="42"/>
                    <a:pt x="1039" y="42"/>
                  </a:cubicBezTo>
                  <a:close/>
                  <a:moveTo>
                    <a:pt x="686" y="79"/>
                  </a:moveTo>
                  <a:cubicBezTo>
                    <a:pt x="686" y="78"/>
                    <a:pt x="686" y="78"/>
                    <a:pt x="686" y="78"/>
                  </a:cubicBezTo>
                  <a:cubicBezTo>
                    <a:pt x="686" y="78"/>
                    <a:pt x="686" y="78"/>
                    <a:pt x="686" y="79"/>
                  </a:cubicBezTo>
                  <a:close/>
                  <a:moveTo>
                    <a:pt x="968" y="78"/>
                  </a:moveTo>
                  <a:cubicBezTo>
                    <a:pt x="968" y="78"/>
                    <a:pt x="968" y="79"/>
                    <a:pt x="969" y="79"/>
                  </a:cubicBezTo>
                  <a:cubicBezTo>
                    <a:pt x="969" y="78"/>
                    <a:pt x="969" y="78"/>
                    <a:pt x="968" y="78"/>
                  </a:cubicBezTo>
                  <a:close/>
                  <a:moveTo>
                    <a:pt x="1081" y="41"/>
                  </a:moveTo>
                  <a:cubicBezTo>
                    <a:pt x="1081" y="42"/>
                    <a:pt x="1081" y="42"/>
                    <a:pt x="1081" y="42"/>
                  </a:cubicBezTo>
                  <a:cubicBezTo>
                    <a:pt x="1081" y="42"/>
                    <a:pt x="1081" y="41"/>
                    <a:pt x="1081" y="41"/>
                  </a:cubicBezTo>
                  <a:close/>
                  <a:moveTo>
                    <a:pt x="1150" y="41"/>
                  </a:moveTo>
                  <a:cubicBezTo>
                    <a:pt x="1150" y="42"/>
                    <a:pt x="1150" y="42"/>
                    <a:pt x="1151" y="42"/>
                  </a:cubicBezTo>
                  <a:cubicBezTo>
                    <a:pt x="1151" y="42"/>
                    <a:pt x="1151" y="41"/>
                    <a:pt x="1150" y="41"/>
                  </a:cubicBezTo>
                  <a:close/>
                  <a:moveTo>
                    <a:pt x="1217" y="42"/>
                  </a:moveTo>
                  <a:cubicBezTo>
                    <a:pt x="1217" y="42"/>
                    <a:pt x="1217" y="42"/>
                    <a:pt x="1217" y="41"/>
                  </a:cubicBezTo>
                  <a:cubicBezTo>
                    <a:pt x="1217" y="41"/>
                    <a:pt x="1217" y="42"/>
                    <a:pt x="1217" y="42"/>
                  </a:cubicBezTo>
                  <a:close/>
                  <a:moveTo>
                    <a:pt x="1259" y="41"/>
                  </a:moveTo>
                  <a:cubicBezTo>
                    <a:pt x="1259" y="42"/>
                    <a:pt x="1259" y="42"/>
                    <a:pt x="1259" y="42"/>
                  </a:cubicBezTo>
                  <a:cubicBezTo>
                    <a:pt x="1259" y="42"/>
                    <a:pt x="1259" y="41"/>
                    <a:pt x="1259" y="41"/>
                  </a:cubicBezTo>
                  <a:close/>
                  <a:moveTo>
                    <a:pt x="1360" y="78"/>
                  </a:moveTo>
                  <a:cubicBezTo>
                    <a:pt x="1360" y="78"/>
                    <a:pt x="1360" y="78"/>
                    <a:pt x="1360" y="78"/>
                  </a:cubicBezTo>
                  <a:cubicBezTo>
                    <a:pt x="1360" y="78"/>
                    <a:pt x="1360" y="78"/>
                    <a:pt x="1360" y="78"/>
                  </a:cubicBezTo>
                  <a:close/>
                  <a:moveTo>
                    <a:pt x="1544" y="78"/>
                  </a:moveTo>
                  <a:cubicBezTo>
                    <a:pt x="1544" y="78"/>
                    <a:pt x="1544" y="78"/>
                    <a:pt x="1544" y="79"/>
                  </a:cubicBezTo>
                  <a:cubicBezTo>
                    <a:pt x="1544" y="78"/>
                    <a:pt x="1544" y="78"/>
                    <a:pt x="1544" y="78"/>
                  </a:cubicBezTo>
                  <a:close/>
                  <a:moveTo>
                    <a:pt x="661" y="42"/>
                  </a:moveTo>
                  <a:cubicBezTo>
                    <a:pt x="662" y="42"/>
                    <a:pt x="662" y="42"/>
                    <a:pt x="662" y="42"/>
                  </a:cubicBezTo>
                  <a:cubicBezTo>
                    <a:pt x="662" y="42"/>
                    <a:pt x="661" y="42"/>
                    <a:pt x="661" y="42"/>
                  </a:cubicBezTo>
                  <a:close/>
                  <a:moveTo>
                    <a:pt x="1712" y="78"/>
                  </a:moveTo>
                  <a:cubicBezTo>
                    <a:pt x="1712" y="78"/>
                    <a:pt x="1712" y="78"/>
                    <a:pt x="1712" y="79"/>
                  </a:cubicBezTo>
                  <a:cubicBezTo>
                    <a:pt x="1712" y="78"/>
                    <a:pt x="1712" y="78"/>
                    <a:pt x="1712" y="78"/>
                  </a:cubicBezTo>
                  <a:close/>
                  <a:moveTo>
                    <a:pt x="756" y="42"/>
                  </a:moveTo>
                  <a:cubicBezTo>
                    <a:pt x="757" y="42"/>
                    <a:pt x="757" y="42"/>
                    <a:pt x="757" y="42"/>
                  </a:cubicBezTo>
                  <a:cubicBezTo>
                    <a:pt x="757" y="42"/>
                    <a:pt x="756" y="42"/>
                    <a:pt x="756" y="42"/>
                  </a:cubicBezTo>
                  <a:close/>
                  <a:moveTo>
                    <a:pt x="830" y="42"/>
                  </a:moveTo>
                  <a:cubicBezTo>
                    <a:pt x="830" y="42"/>
                    <a:pt x="830" y="42"/>
                    <a:pt x="830" y="42"/>
                  </a:cubicBezTo>
                  <a:cubicBezTo>
                    <a:pt x="830" y="42"/>
                    <a:pt x="830" y="42"/>
                    <a:pt x="830" y="42"/>
                  </a:cubicBezTo>
                  <a:close/>
                  <a:moveTo>
                    <a:pt x="686" y="79"/>
                  </a:moveTo>
                  <a:cubicBezTo>
                    <a:pt x="686" y="79"/>
                    <a:pt x="686" y="79"/>
                    <a:pt x="686" y="79"/>
                  </a:cubicBezTo>
                  <a:cubicBezTo>
                    <a:pt x="686" y="79"/>
                    <a:pt x="686" y="79"/>
                    <a:pt x="686" y="79"/>
                  </a:cubicBezTo>
                  <a:close/>
                  <a:moveTo>
                    <a:pt x="1038" y="42"/>
                  </a:moveTo>
                  <a:cubicBezTo>
                    <a:pt x="1039" y="42"/>
                    <a:pt x="1039" y="42"/>
                    <a:pt x="1039" y="42"/>
                  </a:cubicBezTo>
                  <a:cubicBezTo>
                    <a:pt x="1039" y="42"/>
                    <a:pt x="1038" y="42"/>
                    <a:pt x="1038" y="42"/>
                  </a:cubicBezTo>
                  <a:close/>
                  <a:moveTo>
                    <a:pt x="1081" y="42"/>
                  </a:moveTo>
                  <a:cubicBezTo>
                    <a:pt x="1081" y="42"/>
                    <a:pt x="1081" y="42"/>
                    <a:pt x="1081" y="42"/>
                  </a:cubicBezTo>
                  <a:cubicBezTo>
                    <a:pt x="1081" y="42"/>
                    <a:pt x="1081" y="42"/>
                    <a:pt x="1081" y="42"/>
                  </a:cubicBezTo>
                  <a:close/>
                  <a:moveTo>
                    <a:pt x="1360" y="78"/>
                  </a:moveTo>
                  <a:cubicBezTo>
                    <a:pt x="1359" y="78"/>
                    <a:pt x="1359" y="79"/>
                    <a:pt x="1359" y="79"/>
                  </a:cubicBezTo>
                  <a:cubicBezTo>
                    <a:pt x="1359" y="79"/>
                    <a:pt x="1360" y="79"/>
                    <a:pt x="1360" y="78"/>
                  </a:cubicBezTo>
                  <a:close/>
                  <a:moveTo>
                    <a:pt x="1216" y="42"/>
                  </a:moveTo>
                  <a:cubicBezTo>
                    <a:pt x="1216" y="42"/>
                    <a:pt x="1217" y="42"/>
                    <a:pt x="1217" y="42"/>
                  </a:cubicBezTo>
                  <a:cubicBezTo>
                    <a:pt x="1216" y="42"/>
                    <a:pt x="1216" y="42"/>
                    <a:pt x="1216" y="42"/>
                  </a:cubicBezTo>
                  <a:close/>
                  <a:moveTo>
                    <a:pt x="1291" y="42"/>
                  </a:moveTo>
                  <a:cubicBezTo>
                    <a:pt x="1291" y="42"/>
                    <a:pt x="1291" y="42"/>
                    <a:pt x="1291" y="42"/>
                  </a:cubicBezTo>
                  <a:cubicBezTo>
                    <a:pt x="1291" y="42"/>
                    <a:pt x="1291" y="42"/>
                    <a:pt x="1291" y="42"/>
                  </a:cubicBezTo>
                  <a:close/>
                  <a:moveTo>
                    <a:pt x="1532" y="79"/>
                  </a:moveTo>
                  <a:cubicBezTo>
                    <a:pt x="1532" y="79"/>
                    <a:pt x="1532" y="79"/>
                    <a:pt x="1532" y="79"/>
                  </a:cubicBezTo>
                  <a:cubicBezTo>
                    <a:pt x="1532" y="79"/>
                    <a:pt x="1532" y="79"/>
                    <a:pt x="1532" y="79"/>
                  </a:cubicBezTo>
                  <a:close/>
                  <a:moveTo>
                    <a:pt x="1544" y="79"/>
                  </a:moveTo>
                  <a:cubicBezTo>
                    <a:pt x="1544" y="79"/>
                    <a:pt x="1543" y="79"/>
                    <a:pt x="1543" y="79"/>
                  </a:cubicBezTo>
                  <a:cubicBezTo>
                    <a:pt x="1544" y="79"/>
                    <a:pt x="1544" y="79"/>
                    <a:pt x="1544" y="79"/>
                  </a:cubicBezTo>
                  <a:close/>
                  <a:moveTo>
                    <a:pt x="756" y="42"/>
                  </a:moveTo>
                  <a:cubicBezTo>
                    <a:pt x="756" y="42"/>
                    <a:pt x="756" y="42"/>
                    <a:pt x="756" y="42"/>
                  </a:cubicBezTo>
                  <a:cubicBezTo>
                    <a:pt x="756" y="42"/>
                    <a:pt x="756" y="42"/>
                    <a:pt x="756" y="42"/>
                  </a:cubicBezTo>
                  <a:close/>
                  <a:moveTo>
                    <a:pt x="1700" y="79"/>
                  </a:moveTo>
                  <a:cubicBezTo>
                    <a:pt x="1700" y="79"/>
                    <a:pt x="1700" y="79"/>
                    <a:pt x="1700" y="79"/>
                  </a:cubicBezTo>
                  <a:cubicBezTo>
                    <a:pt x="1700" y="79"/>
                    <a:pt x="1700" y="79"/>
                    <a:pt x="1700" y="79"/>
                  </a:cubicBezTo>
                  <a:close/>
                  <a:moveTo>
                    <a:pt x="1712" y="79"/>
                  </a:moveTo>
                  <a:cubicBezTo>
                    <a:pt x="1712" y="79"/>
                    <a:pt x="1712" y="79"/>
                    <a:pt x="1712" y="79"/>
                  </a:cubicBezTo>
                  <a:cubicBezTo>
                    <a:pt x="1712" y="79"/>
                    <a:pt x="1712" y="79"/>
                    <a:pt x="1712" y="79"/>
                  </a:cubicBezTo>
                  <a:close/>
                  <a:moveTo>
                    <a:pt x="799" y="42"/>
                  </a:moveTo>
                  <a:cubicBezTo>
                    <a:pt x="799" y="42"/>
                    <a:pt x="799" y="42"/>
                    <a:pt x="800" y="42"/>
                  </a:cubicBezTo>
                  <a:cubicBezTo>
                    <a:pt x="799" y="42"/>
                    <a:pt x="799" y="42"/>
                    <a:pt x="799" y="42"/>
                  </a:cubicBezTo>
                  <a:close/>
                  <a:moveTo>
                    <a:pt x="687" y="79"/>
                  </a:moveTo>
                  <a:cubicBezTo>
                    <a:pt x="687" y="79"/>
                    <a:pt x="687" y="79"/>
                    <a:pt x="686" y="79"/>
                  </a:cubicBezTo>
                  <a:cubicBezTo>
                    <a:pt x="687" y="79"/>
                    <a:pt x="687" y="79"/>
                    <a:pt x="687" y="79"/>
                  </a:cubicBezTo>
                  <a:close/>
                  <a:moveTo>
                    <a:pt x="871" y="42"/>
                  </a:moveTo>
                  <a:cubicBezTo>
                    <a:pt x="871" y="42"/>
                    <a:pt x="871" y="42"/>
                    <a:pt x="871" y="42"/>
                  </a:cubicBezTo>
                  <a:cubicBezTo>
                    <a:pt x="871" y="42"/>
                    <a:pt x="871" y="42"/>
                    <a:pt x="871" y="42"/>
                  </a:cubicBezTo>
                  <a:close/>
                  <a:moveTo>
                    <a:pt x="1112" y="42"/>
                  </a:moveTo>
                  <a:cubicBezTo>
                    <a:pt x="1112" y="42"/>
                    <a:pt x="1112" y="42"/>
                    <a:pt x="1112" y="42"/>
                  </a:cubicBezTo>
                  <a:cubicBezTo>
                    <a:pt x="1112" y="42"/>
                    <a:pt x="1112" y="42"/>
                    <a:pt x="1112" y="42"/>
                  </a:cubicBezTo>
                  <a:close/>
                  <a:moveTo>
                    <a:pt x="1347" y="79"/>
                  </a:moveTo>
                  <a:cubicBezTo>
                    <a:pt x="1347" y="79"/>
                    <a:pt x="1347" y="79"/>
                    <a:pt x="1347" y="79"/>
                  </a:cubicBezTo>
                  <a:cubicBezTo>
                    <a:pt x="1347" y="79"/>
                    <a:pt x="1347" y="79"/>
                    <a:pt x="1347" y="79"/>
                  </a:cubicBezTo>
                  <a:close/>
                  <a:moveTo>
                    <a:pt x="1359" y="79"/>
                  </a:moveTo>
                  <a:cubicBezTo>
                    <a:pt x="1359" y="79"/>
                    <a:pt x="1359" y="79"/>
                    <a:pt x="1359" y="79"/>
                  </a:cubicBezTo>
                  <a:cubicBezTo>
                    <a:pt x="1359" y="79"/>
                    <a:pt x="1359" y="79"/>
                    <a:pt x="1359" y="79"/>
                  </a:cubicBezTo>
                  <a:close/>
                  <a:moveTo>
                    <a:pt x="1216" y="42"/>
                  </a:moveTo>
                  <a:cubicBezTo>
                    <a:pt x="1216" y="42"/>
                    <a:pt x="1216" y="42"/>
                    <a:pt x="1216" y="42"/>
                  </a:cubicBezTo>
                  <a:cubicBezTo>
                    <a:pt x="1216" y="42"/>
                    <a:pt x="1216" y="42"/>
                    <a:pt x="1216" y="42"/>
                  </a:cubicBezTo>
                  <a:close/>
                  <a:moveTo>
                    <a:pt x="1543" y="79"/>
                  </a:moveTo>
                  <a:cubicBezTo>
                    <a:pt x="1543" y="79"/>
                    <a:pt x="1543" y="79"/>
                    <a:pt x="1543" y="79"/>
                  </a:cubicBezTo>
                  <a:cubicBezTo>
                    <a:pt x="1543" y="79"/>
                    <a:pt x="1543" y="79"/>
                    <a:pt x="1543" y="79"/>
                  </a:cubicBezTo>
                  <a:close/>
                  <a:moveTo>
                    <a:pt x="554" y="42"/>
                  </a:moveTo>
                  <a:cubicBezTo>
                    <a:pt x="554" y="43"/>
                    <a:pt x="555" y="43"/>
                    <a:pt x="555" y="43"/>
                  </a:cubicBezTo>
                  <a:cubicBezTo>
                    <a:pt x="555" y="43"/>
                    <a:pt x="555" y="42"/>
                    <a:pt x="554" y="42"/>
                  </a:cubicBezTo>
                  <a:close/>
                  <a:moveTo>
                    <a:pt x="756" y="43"/>
                  </a:moveTo>
                  <a:cubicBezTo>
                    <a:pt x="756" y="43"/>
                    <a:pt x="756" y="43"/>
                    <a:pt x="756" y="42"/>
                  </a:cubicBezTo>
                  <a:cubicBezTo>
                    <a:pt x="756" y="42"/>
                    <a:pt x="756" y="43"/>
                    <a:pt x="756" y="43"/>
                  </a:cubicBezTo>
                  <a:close/>
                  <a:moveTo>
                    <a:pt x="1712" y="79"/>
                  </a:moveTo>
                  <a:cubicBezTo>
                    <a:pt x="1711" y="79"/>
                    <a:pt x="1711" y="79"/>
                    <a:pt x="1711" y="79"/>
                  </a:cubicBezTo>
                  <a:cubicBezTo>
                    <a:pt x="1711" y="79"/>
                    <a:pt x="1711" y="79"/>
                    <a:pt x="1712" y="79"/>
                  </a:cubicBezTo>
                  <a:close/>
                  <a:moveTo>
                    <a:pt x="800" y="42"/>
                  </a:moveTo>
                  <a:cubicBezTo>
                    <a:pt x="800" y="43"/>
                    <a:pt x="800" y="43"/>
                    <a:pt x="800" y="43"/>
                  </a:cubicBezTo>
                  <a:cubicBezTo>
                    <a:pt x="800" y="43"/>
                    <a:pt x="800" y="42"/>
                    <a:pt x="800" y="42"/>
                  </a:cubicBezTo>
                  <a:close/>
                  <a:moveTo>
                    <a:pt x="870" y="43"/>
                  </a:moveTo>
                  <a:cubicBezTo>
                    <a:pt x="870" y="43"/>
                    <a:pt x="871" y="43"/>
                    <a:pt x="871" y="42"/>
                  </a:cubicBezTo>
                  <a:cubicBezTo>
                    <a:pt x="870" y="42"/>
                    <a:pt x="870" y="43"/>
                    <a:pt x="870" y="43"/>
                  </a:cubicBezTo>
                  <a:close/>
                  <a:moveTo>
                    <a:pt x="555" y="43"/>
                  </a:moveTo>
                  <a:cubicBezTo>
                    <a:pt x="555" y="43"/>
                    <a:pt x="555" y="43"/>
                    <a:pt x="555" y="43"/>
                  </a:cubicBezTo>
                  <a:cubicBezTo>
                    <a:pt x="555" y="43"/>
                    <a:pt x="555" y="43"/>
                    <a:pt x="555" y="43"/>
                  </a:cubicBezTo>
                  <a:close/>
                  <a:moveTo>
                    <a:pt x="661" y="43"/>
                  </a:moveTo>
                  <a:cubicBezTo>
                    <a:pt x="661" y="43"/>
                    <a:pt x="661" y="43"/>
                    <a:pt x="661" y="43"/>
                  </a:cubicBezTo>
                  <a:cubicBezTo>
                    <a:pt x="661" y="43"/>
                    <a:pt x="661" y="43"/>
                    <a:pt x="661" y="43"/>
                  </a:cubicBezTo>
                  <a:close/>
                  <a:moveTo>
                    <a:pt x="755" y="43"/>
                  </a:moveTo>
                  <a:cubicBezTo>
                    <a:pt x="756" y="43"/>
                    <a:pt x="756" y="43"/>
                    <a:pt x="756" y="43"/>
                  </a:cubicBezTo>
                  <a:cubicBezTo>
                    <a:pt x="756" y="43"/>
                    <a:pt x="755" y="43"/>
                    <a:pt x="755" y="43"/>
                  </a:cubicBezTo>
                  <a:close/>
                  <a:moveTo>
                    <a:pt x="969" y="79"/>
                  </a:moveTo>
                  <a:cubicBezTo>
                    <a:pt x="969" y="79"/>
                    <a:pt x="969" y="80"/>
                    <a:pt x="969" y="80"/>
                  </a:cubicBezTo>
                  <a:cubicBezTo>
                    <a:pt x="969" y="79"/>
                    <a:pt x="969" y="79"/>
                    <a:pt x="969" y="79"/>
                  </a:cubicBezTo>
                  <a:close/>
                  <a:moveTo>
                    <a:pt x="829" y="43"/>
                  </a:moveTo>
                  <a:cubicBezTo>
                    <a:pt x="829" y="43"/>
                    <a:pt x="829" y="43"/>
                    <a:pt x="829" y="43"/>
                  </a:cubicBezTo>
                  <a:cubicBezTo>
                    <a:pt x="829" y="43"/>
                    <a:pt x="829" y="43"/>
                    <a:pt x="829" y="43"/>
                  </a:cubicBezTo>
                  <a:close/>
                  <a:moveTo>
                    <a:pt x="1082" y="43"/>
                  </a:moveTo>
                  <a:cubicBezTo>
                    <a:pt x="1082" y="43"/>
                    <a:pt x="1082" y="43"/>
                    <a:pt x="1082" y="43"/>
                  </a:cubicBezTo>
                  <a:cubicBezTo>
                    <a:pt x="1082" y="43"/>
                    <a:pt x="1082" y="43"/>
                    <a:pt x="1082" y="43"/>
                  </a:cubicBezTo>
                  <a:close/>
                  <a:moveTo>
                    <a:pt x="1359" y="79"/>
                  </a:moveTo>
                  <a:cubicBezTo>
                    <a:pt x="1359" y="79"/>
                    <a:pt x="1359" y="79"/>
                    <a:pt x="1359" y="80"/>
                  </a:cubicBezTo>
                  <a:cubicBezTo>
                    <a:pt x="1359" y="80"/>
                    <a:pt x="1359" y="79"/>
                    <a:pt x="1359" y="79"/>
                  </a:cubicBezTo>
                  <a:close/>
                  <a:moveTo>
                    <a:pt x="1260" y="43"/>
                  </a:moveTo>
                  <a:cubicBezTo>
                    <a:pt x="1260" y="43"/>
                    <a:pt x="1260" y="43"/>
                    <a:pt x="1260" y="43"/>
                  </a:cubicBezTo>
                  <a:cubicBezTo>
                    <a:pt x="1260" y="43"/>
                    <a:pt x="1260" y="43"/>
                    <a:pt x="1260" y="43"/>
                  </a:cubicBezTo>
                  <a:close/>
                  <a:moveTo>
                    <a:pt x="1037" y="43"/>
                  </a:moveTo>
                  <a:cubicBezTo>
                    <a:pt x="1037" y="43"/>
                    <a:pt x="1038" y="43"/>
                    <a:pt x="1038" y="43"/>
                  </a:cubicBezTo>
                  <a:cubicBezTo>
                    <a:pt x="1038" y="43"/>
                    <a:pt x="1037" y="43"/>
                    <a:pt x="1037" y="43"/>
                  </a:cubicBezTo>
                  <a:close/>
                  <a:moveTo>
                    <a:pt x="675" y="43"/>
                  </a:moveTo>
                  <a:cubicBezTo>
                    <a:pt x="674" y="43"/>
                    <a:pt x="674" y="43"/>
                    <a:pt x="674" y="44"/>
                  </a:cubicBezTo>
                  <a:cubicBezTo>
                    <a:pt x="674" y="44"/>
                    <a:pt x="674" y="44"/>
                    <a:pt x="675" y="43"/>
                  </a:cubicBezTo>
                  <a:close/>
                  <a:moveTo>
                    <a:pt x="800" y="43"/>
                  </a:moveTo>
                  <a:cubicBezTo>
                    <a:pt x="800" y="44"/>
                    <a:pt x="800" y="44"/>
                    <a:pt x="801" y="44"/>
                  </a:cubicBezTo>
                  <a:cubicBezTo>
                    <a:pt x="801" y="44"/>
                    <a:pt x="800" y="43"/>
                    <a:pt x="800" y="43"/>
                  </a:cubicBezTo>
                  <a:close/>
                  <a:moveTo>
                    <a:pt x="838" y="43"/>
                  </a:moveTo>
                  <a:cubicBezTo>
                    <a:pt x="838" y="43"/>
                    <a:pt x="837" y="43"/>
                    <a:pt x="837" y="44"/>
                  </a:cubicBezTo>
                  <a:cubicBezTo>
                    <a:pt x="838" y="44"/>
                    <a:pt x="838" y="44"/>
                    <a:pt x="838" y="43"/>
                  </a:cubicBezTo>
                  <a:close/>
                  <a:moveTo>
                    <a:pt x="870" y="44"/>
                  </a:moveTo>
                  <a:cubicBezTo>
                    <a:pt x="870" y="44"/>
                    <a:pt x="870" y="44"/>
                    <a:pt x="870" y="43"/>
                  </a:cubicBezTo>
                  <a:cubicBezTo>
                    <a:pt x="870" y="43"/>
                    <a:pt x="870" y="44"/>
                    <a:pt x="870" y="44"/>
                  </a:cubicBezTo>
                  <a:close/>
                  <a:moveTo>
                    <a:pt x="881" y="43"/>
                  </a:moveTo>
                  <a:cubicBezTo>
                    <a:pt x="880" y="43"/>
                    <a:pt x="880" y="43"/>
                    <a:pt x="880" y="44"/>
                  </a:cubicBezTo>
                  <a:cubicBezTo>
                    <a:pt x="880" y="44"/>
                    <a:pt x="881" y="44"/>
                    <a:pt x="881" y="43"/>
                  </a:cubicBezTo>
                  <a:close/>
                  <a:moveTo>
                    <a:pt x="1037" y="44"/>
                  </a:moveTo>
                  <a:cubicBezTo>
                    <a:pt x="1037" y="44"/>
                    <a:pt x="1037" y="44"/>
                    <a:pt x="1037" y="43"/>
                  </a:cubicBezTo>
                  <a:cubicBezTo>
                    <a:pt x="1037" y="43"/>
                    <a:pt x="1037" y="44"/>
                    <a:pt x="1037" y="44"/>
                  </a:cubicBezTo>
                  <a:close/>
                  <a:moveTo>
                    <a:pt x="1359" y="80"/>
                  </a:moveTo>
                  <a:cubicBezTo>
                    <a:pt x="1358" y="80"/>
                    <a:pt x="1358" y="80"/>
                    <a:pt x="1358" y="80"/>
                  </a:cubicBezTo>
                  <a:cubicBezTo>
                    <a:pt x="1358" y="80"/>
                    <a:pt x="1358" y="80"/>
                    <a:pt x="1359" y="80"/>
                  </a:cubicBezTo>
                  <a:close/>
                  <a:moveTo>
                    <a:pt x="1531" y="80"/>
                  </a:moveTo>
                  <a:cubicBezTo>
                    <a:pt x="1531" y="80"/>
                    <a:pt x="1531" y="80"/>
                    <a:pt x="1531" y="80"/>
                  </a:cubicBezTo>
                  <a:cubicBezTo>
                    <a:pt x="1531" y="80"/>
                    <a:pt x="1531" y="80"/>
                    <a:pt x="1531" y="80"/>
                  </a:cubicBezTo>
                  <a:close/>
                  <a:moveTo>
                    <a:pt x="1111" y="44"/>
                  </a:moveTo>
                  <a:cubicBezTo>
                    <a:pt x="1111" y="44"/>
                    <a:pt x="1111" y="44"/>
                    <a:pt x="1111" y="43"/>
                  </a:cubicBezTo>
                  <a:cubicBezTo>
                    <a:pt x="1111" y="43"/>
                    <a:pt x="1111" y="44"/>
                    <a:pt x="1111" y="44"/>
                  </a:cubicBezTo>
                  <a:close/>
                  <a:moveTo>
                    <a:pt x="1699" y="80"/>
                  </a:moveTo>
                  <a:cubicBezTo>
                    <a:pt x="1699" y="80"/>
                    <a:pt x="1699" y="80"/>
                    <a:pt x="1699" y="80"/>
                  </a:cubicBezTo>
                  <a:cubicBezTo>
                    <a:pt x="1699" y="80"/>
                    <a:pt x="1699" y="80"/>
                    <a:pt x="1699" y="80"/>
                  </a:cubicBezTo>
                  <a:close/>
                  <a:moveTo>
                    <a:pt x="1122" y="43"/>
                  </a:moveTo>
                  <a:cubicBezTo>
                    <a:pt x="1121" y="43"/>
                    <a:pt x="1121" y="43"/>
                    <a:pt x="1121" y="44"/>
                  </a:cubicBezTo>
                  <a:cubicBezTo>
                    <a:pt x="1121" y="44"/>
                    <a:pt x="1121" y="44"/>
                    <a:pt x="1122" y="43"/>
                  </a:cubicBezTo>
                  <a:close/>
                  <a:moveTo>
                    <a:pt x="687" y="80"/>
                  </a:moveTo>
                  <a:cubicBezTo>
                    <a:pt x="687" y="80"/>
                    <a:pt x="687" y="80"/>
                    <a:pt x="687" y="80"/>
                  </a:cubicBezTo>
                  <a:cubicBezTo>
                    <a:pt x="687" y="80"/>
                    <a:pt x="687" y="80"/>
                    <a:pt x="687" y="80"/>
                  </a:cubicBezTo>
                  <a:close/>
                  <a:moveTo>
                    <a:pt x="1215" y="44"/>
                  </a:moveTo>
                  <a:cubicBezTo>
                    <a:pt x="1215" y="44"/>
                    <a:pt x="1215" y="44"/>
                    <a:pt x="1215" y="43"/>
                  </a:cubicBezTo>
                  <a:cubicBezTo>
                    <a:pt x="1215" y="44"/>
                    <a:pt x="1215" y="44"/>
                    <a:pt x="1215" y="44"/>
                  </a:cubicBezTo>
                  <a:close/>
                  <a:moveTo>
                    <a:pt x="556" y="44"/>
                  </a:moveTo>
                  <a:cubicBezTo>
                    <a:pt x="556" y="44"/>
                    <a:pt x="556" y="44"/>
                    <a:pt x="557" y="44"/>
                  </a:cubicBezTo>
                  <a:cubicBezTo>
                    <a:pt x="556" y="44"/>
                    <a:pt x="556" y="44"/>
                    <a:pt x="556" y="44"/>
                  </a:cubicBezTo>
                  <a:close/>
                  <a:moveTo>
                    <a:pt x="828" y="44"/>
                  </a:moveTo>
                  <a:cubicBezTo>
                    <a:pt x="829" y="44"/>
                    <a:pt x="829" y="44"/>
                    <a:pt x="829" y="44"/>
                  </a:cubicBezTo>
                  <a:cubicBezTo>
                    <a:pt x="829" y="44"/>
                    <a:pt x="829" y="44"/>
                    <a:pt x="828" y="44"/>
                  </a:cubicBezTo>
                  <a:close/>
                  <a:moveTo>
                    <a:pt x="1121" y="44"/>
                  </a:moveTo>
                  <a:cubicBezTo>
                    <a:pt x="1121" y="44"/>
                    <a:pt x="1120" y="44"/>
                    <a:pt x="1120" y="44"/>
                  </a:cubicBezTo>
                  <a:cubicBezTo>
                    <a:pt x="1121" y="44"/>
                    <a:pt x="1121" y="44"/>
                    <a:pt x="1121" y="44"/>
                  </a:cubicBezTo>
                  <a:close/>
                  <a:moveTo>
                    <a:pt x="1215" y="44"/>
                  </a:moveTo>
                  <a:cubicBezTo>
                    <a:pt x="1215" y="44"/>
                    <a:pt x="1215" y="44"/>
                    <a:pt x="1215" y="44"/>
                  </a:cubicBezTo>
                  <a:cubicBezTo>
                    <a:pt x="1215" y="44"/>
                    <a:pt x="1215" y="44"/>
                    <a:pt x="1215" y="44"/>
                  </a:cubicBezTo>
                  <a:close/>
                  <a:moveTo>
                    <a:pt x="1260" y="44"/>
                  </a:moveTo>
                  <a:cubicBezTo>
                    <a:pt x="1260" y="44"/>
                    <a:pt x="1261" y="44"/>
                    <a:pt x="1261" y="44"/>
                  </a:cubicBezTo>
                  <a:cubicBezTo>
                    <a:pt x="1261" y="44"/>
                    <a:pt x="1261" y="44"/>
                    <a:pt x="1260" y="44"/>
                  </a:cubicBezTo>
                  <a:close/>
                  <a:moveTo>
                    <a:pt x="674" y="44"/>
                  </a:moveTo>
                  <a:cubicBezTo>
                    <a:pt x="673" y="44"/>
                    <a:pt x="673" y="44"/>
                    <a:pt x="673" y="44"/>
                  </a:cubicBezTo>
                  <a:cubicBezTo>
                    <a:pt x="673" y="44"/>
                    <a:pt x="673" y="44"/>
                    <a:pt x="674" y="44"/>
                  </a:cubicBezTo>
                  <a:close/>
                  <a:moveTo>
                    <a:pt x="754" y="44"/>
                  </a:moveTo>
                  <a:cubicBezTo>
                    <a:pt x="755" y="44"/>
                    <a:pt x="755" y="44"/>
                    <a:pt x="755" y="44"/>
                  </a:cubicBezTo>
                  <a:cubicBezTo>
                    <a:pt x="754" y="44"/>
                    <a:pt x="754" y="44"/>
                    <a:pt x="754" y="44"/>
                  </a:cubicBezTo>
                  <a:close/>
                  <a:moveTo>
                    <a:pt x="853" y="44"/>
                  </a:moveTo>
                  <a:cubicBezTo>
                    <a:pt x="853" y="44"/>
                    <a:pt x="853" y="44"/>
                    <a:pt x="852" y="44"/>
                  </a:cubicBezTo>
                  <a:cubicBezTo>
                    <a:pt x="853" y="44"/>
                    <a:pt x="853" y="44"/>
                    <a:pt x="853" y="44"/>
                  </a:cubicBezTo>
                  <a:close/>
                  <a:moveTo>
                    <a:pt x="896" y="44"/>
                  </a:moveTo>
                  <a:cubicBezTo>
                    <a:pt x="896" y="44"/>
                    <a:pt x="895" y="44"/>
                    <a:pt x="895" y="44"/>
                  </a:cubicBezTo>
                  <a:cubicBezTo>
                    <a:pt x="895" y="44"/>
                    <a:pt x="896" y="44"/>
                    <a:pt x="896" y="44"/>
                  </a:cubicBezTo>
                  <a:close/>
                  <a:moveTo>
                    <a:pt x="970" y="80"/>
                  </a:moveTo>
                  <a:cubicBezTo>
                    <a:pt x="970" y="80"/>
                    <a:pt x="970" y="81"/>
                    <a:pt x="970" y="81"/>
                  </a:cubicBezTo>
                  <a:cubicBezTo>
                    <a:pt x="970" y="81"/>
                    <a:pt x="970" y="80"/>
                    <a:pt x="970" y="80"/>
                  </a:cubicBezTo>
                  <a:close/>
                  <a:moveTo>
                    <a:pt x="1120" y="44"/>
                  </a:moveTo>
                  <a:cubicBezTo>
                    <a:pt x="1120" y="44"/>
                    <a:pt x="1120" y="44"/>
                    <a:pt x="1120" y="44"/>
                  </a:cubicBezTo>
                  <a:cubicBezTo>
                    <a:pt x="1120" y="44"/>
                    <a:pt x="1120" y="44"/>
                    <a:pt x="1120" y="44"/>
                  </a:cubicBezTo>
                  <a:close/>
                  <a:moveTo>
                    <a:pt x="1531" y="81"/>
                  </a:moveTo>
                  <a:cubicBezTo>
                    <a:pt x="1531" y="81"/>
                    <a:pt x="1531" y="80"/>
                    <a:pt x="1531" y="80"/>
                  </a:cubicBezTo>
                  <a:cubicBezTo>
                    <a:pt x="1531" y="80"/>
                    <a:pt x="1531" y="81"/>
                    <a:pt x="1531" y="81"/>
                  </a:cubicBezTo>
                  <a:close/>
                  <a:moveTo>
                    <a:pt x="1542" y="80"/>
                  </a:moveTo>
                  <a:cubicBezTo>
                    <a:pt x="1542" y="80"/>
                    <a:pt x="1542" y="80"/>
                    <a:pt x="1542" y="81"/>
                  </a:cubicBezTo>
                  <a:cubicBezTo>
                    <a:pt x="1542" y="81"/>
                    <a:pt x="1542" y="80"/>
                    <a:pt x="1542" y="80"/>
                  </a:cubicBezTo>
                  <a:close/>
                  <a:moveTo>
                    <a:pt x="1699" y="81"/>
                  </a:moveTo>
                  <a:cubicBezTo>
                    <a:pt x="1699" y="81"/>
                    <a:pt x="1699" y="80"/>
                    <a:pt x="1699" y="80"/>
                  </a:cubicBezTo>
                  <a:cubicBezTo>
                    <a:pt x="1699" y="80"/>
                    <a:pt x="1699" y="81"/>
                    <a:pt x="1699" y="81"/>
                  </a:cubicBezTo>
                  <a:close/>
                  <a:moveTo>
                    <a:pt x="1710" y="80"/>
                  </a:moveTo>
                  <a:cubicBezTo>
                    <a:pt x="1710" y="80"/>
                    <a:pt x="1710" y="80"/>
                    <a:pt x="1710" y="81"/>
                  </a:cubicBezTo>
                  <a:cubicBezTo>
                    <a:pt x="1710" y="81"/>
                    <a:pt x="1710" y="80"/>
                    <a:pt x="1710" y="80"/>
                  </a:cubicBezTo>
                  <a:close/>
                  <a:moveTo>
                    <a:pt x="1137" y="44"/>
                  </a:moveTo>
                  <a:cubicBezTo>
                    <a:pt x="1137" y="44"/>
                    <a:pt x="1137" y="44"/>
                    <a:pt x="1137" y="44"/>
                  </a:cubicBezTo>
                  <a:cubicBezTo>
                    <a:pt x="1137" y="44"/>
                    <a:pt x="1137" y="44"/>
                    <a:pt x="1137" y="44"/>
                  </a:cubicBezTo>
                  <a:close/>
                  <a:moveTo>
                    <a:pt x="557" y="44"/>
                  </a:moveTo>
                  <a:cubicBezTo>
                    <a:pt x="557" y="45"/>
                    <a:pt x="557" y="45"/>
                    <a:pt x="558" y="45"/>
                  </a:cubicBezTo>
                  <a:cubicBezTo>
                    <a:pt x="558" y="45"/>
                    <a:pt x="557" y="45"/>
                    <a:pt x="557" y="44"/>
                  </a:cubicBezTo>
                  <a:close/>
                  <a:moveTo>
                    <a:pt x="688" y="81"/>
                  </a:moveTo>
                  <a:cubicBezTo>
                    <a:pt x="688" y="81"/>
                    <a:pt x="688" y="81"/>
                    <a:pt x="688" y="80"/>
                  </a:cubicBezTo>
                  <a:cubicBezTo>
                    <a:pt x="688" y="81"/>
                    <a:pt x="688" y="81"/>
                    <a:pt x="688" y="81"/>
                  </a:cubicBezTo>
                  <a:close/>
                  <a:moveTo>
                    <a:pt x="801" y="44"/>
                  </a:moveTo>
                  <a:cubicBezTo>
                    <a:pt x="801" y="45"/>
                    <a:pt x="801" y="45"/>
                    <a:pt x="801" y="45"/>
                  </a:cubicBezTo>
                  <a:cubicBezTo>
                    <a:pt x="801" y="45"/>
                    <a:pt x="801" y="45"/>
                    <a:pt x="801" y="44"/>
                  </a:cubicBezTo>
                  <a:close/>
                  <a:moveTo>
                    <a:pt x="970" y="81"/>
                  </a:moveTo>
                  <a:cubicBezTo>
                    <a:pt x="970" y="81"/>
                    <a:pt x="970" y="81"/>
                    <a:pt x="970" y="81"/>
                  </a:cubicBezTo>
                  <a:cubicBezTo>
                    <a:pt x="970" y="81"/>
                    <a:pt x="970" y="81"/>
                    <a:pt x="970" y="81"/>
                  </a:cubicBezTo>
                  <a:close/>
                  <a:moveTo>
                    <a:pt x="836" y="44"/>
                  </a:moveTo>
                  <a:cubicBezTo>
                    <a:pt x="836" y="44"/>
                    <a:pt x="836" y="45"/>
                    <a:pt x="836" y="45"/>
                  </a:cubicBezTo>
                  <a:cubicBezTo>
                    <a:pt x="836" y="45"/>
                    <a:pt x="836" y="45"/>
                    <a:pt x="836" y="44"/>
                  </a:cubicBezTo>
                  <a:close/>
                  <a:moveTo>
                    <a:pt x="869" y="45"/>
                  </a:moveTo>
                  <a:cubicBezTo>
                    <a:pt x="869" y="45"/>
                    <a:pt x="869" y="45"/>
                    <a:pt x="869" y="44"/>
                  </a:cubicBezTo>
                  <a:cubicBezTo>
                    <a:pt x="869" y="45"/>
                    <a:pt x="869" y="45"/>
                    <a:pt x="869" y="45"/>
                  </a:cubicBezTo>
                  <a:close/>
                  <a:moveTo>
                    <a:pt x="836" y="45"/>
                  </a:moveTo>
                  <a:cubicBezTo>
                    <a:pt x="836" y="45"/>
                    <a:pt x="835" y="45"/>
                    <a:pt x="835" y="45"/>
                  </a:cubicBezTo>
                  <a:cubicBezTo>
                    <a:pt x="836" y="45"/>
                    <a:pt x="836" y="45"/>
                    <a:pt x="836" y="45"/>
                  </a:cubicBezTo>
                  <a:close/>
                  <a:moveTo>
                    <a:pt x="1358" y="81"/>
                  </a:moveTo>
                  <a:cubicBezTo>
                    <a:pt x="1358" y="81"/>
                    <a:pt x="1357" y="81"/>
                    <a:pt x="1357" y="81"/>
                  </a:cubicBezTo>
                  <a:cubicBezTo>
                    <a:pt x="1358" y="81"/>
                    <a:pt x="1358" y="81"/>
                    <a:pt x="1358" y="81"/>
                  </a:cubicBezTo>
                  <a:close/>
                  <a:moveTo>
                    <a:pt x="854" y="45"/>
                  </a:moveTo>
                  <a:cubicBezTo>
                    <a:pt x="854" y="45"/>
                    <a:pt x="854" y="45"/>
                    <a:pt x="853" y="45"/>
                  </a:cubicBezTo>
                  <a:cubicBezTo>
                    <a:pt x="854" y="45"/>
                    <a:pt x="854" y="45"/>
                    <a:pt x="854" y="45"/>
                  </a:cubicBezTo>
                  <a:close/>
                  <a:moveTo>
                    <a:pt x="1542" y="81"/>
                  </a:moveTo>
                  <a:cubicBezTo>
                    <a:pt x="1542" y="81"/>
                    <a:pt x="1542" y="81"/>
                    <a:pt x="1542" y="81"/>
                  </a:cubicBezTo>
                  <a:cubicBezTo>
                    <a:pt x="1542" y="81"/>
                    <a:pt x="1542" y="81"/>
                    <a:pt x="1542" y="81"/>
                  </a:cubicBezTo>
                  <a:close/>
                  <a:moveTo>
                    <a:pt x="1678" y="81"/>
                  </a:moveTo>
                  <a:cubicBezTo>
                    <a:pt x="1678" y="81"/>
                    <a:pt x="1678" y="81"/>
                    <a:pt x="1678" y="81"/>
                  </a:cubicBezTo>
                  <a:cubicBezTo>
                    <a:pt x="1678" y="81"/>
                    <a:pt x="1678" y="81"/>
                    <a:pt x="1678" y="81"/>
                  </a:cubicBezTo>
                  <a:close/>
                  <a:moveTo>
                    <a:pt x="879" y="45"/>
                  </a:moveTo>
                  <a:cubicBezTo>
                    <a:pt x="878" y="45"/>
                    <a:pt x="878" y="45"/>
                    <a:pt x="878" y="45"/>
                  </a:cubicBezTo>
                  <a:cubicBezTo>
                    <a:pt x="878" y="45"/>
                    <a:pt x="878" y="45"/>
                    <a:pt x="879" y="45"/>
                  </a:cubicBezTo>
                  <a:close/>
                  <a:moveTo>
                    <a:pt x="1710" y="81"/>
                  </a:moveTo>
                  <a:cubicBezTo>
                    <a:pt x="1710" y="81"/>
                    <a:pt x="1710" y="81"/>
                    <a:pt x="1710" y="81"/>
                  </a:cubicBezTo>
                  <a:cubicBezTo>
                    <a:pt x="1710" y="81"/>
                    <a:pt x="1710" y="81"/>
                    <a:pt x="1710" y="81"/>
                  </a:cubicBezTo>
                  <a:close/>
                  <a:moveTo>
                    <a:pt x="897" y="45"/>
                  </a:moveTo>
                  <a:cubicBezTo>
                    <a:pt x="897" y="45"/>
                    <a:pt x="897" y="45"/>
                    <a:pt x="896" y="45"/>
                  </a:cubicBezTo>
                  <a:cubicBezTo>
                    <a:pt x="896" y="45"/>
                    <a:pt x="897" y="45"/>
                    <a:pt x="897" y="45"/>
                  </a:cubicBezTo>
                  <a:close/>
                  <a:moveTo>
                    <a:pt x="1036" y="45"/>
                  </a:moveTo>
                  <a:cubicBezTo>
                    <a:pt x="1036" y="45"/>
                    <a:pt x="1036" y="45"/>
                    <a:pt x="1036" y="45"/>
                  </a:cubicBezTo>
                  <a:cubicBezTo>
                    <a:pt x="1036" y="45"/>
                    <a:pt x="1036" y="45"/>
                    <a:pt x="1036" y="45"/>
                  </a:cubicBezTo>
                  <a:close/>
                  <a:moveTo>
                    <a:pt x="1083" y="45"/>
                  </a:moveTo>
                  <a:cubicBezTo>
                    <a:pt x="1083" y="45"/>
                    <a:pt x="1083" y="45"/>
                    <a:pt x="1084" y="45"/>
                  </a:cubicBezTo>
                  <a:cubicBezTo>
                    <a:pt x="1084" y="45"/>
                    <a:pt x="1083" y="45"/>
                    <a:pt x="1083" y="45"/>
                  </a:cubicBezTo>
                  <a:close/>
                  <a:moveTo>
                    <a:pt x="1119" y="45"/>
                  </a:moveTo>
                  <a:cubicBezTo>
                    <a:pt x="1119" y="45"/>
                    <a:pt x="1119" y="45"/>
                    <a:pt x="1119" y="45"/>
                  </a:cubicBezTo>
                  <a:cubicBezTo>
                    <a:pt x="1119" y="45"/>
                    <a:pt x="1119" y="45"/>
                    <a:pt x="1119" y="45"/>
                  </a:cubicBezTo>
                  <a:close/>
                  <a:moveTo>
                    <a:pt x="1138" y="45"/>
                  </a:moveTo>
                  <a:cubicBezTo>
                    <a:pt x="1138" y="45"/>
                    <a:pt x="1138" y="45"/>
                    <a:pt x="1138" y="45"/>
                  </a:cubicBezTo>
                  <a:cubicBezTo>
                    <a:pt x="1138" y="45"/>
                    <a:pt x="1138" y="45"/>
                    <a:pt x="1138" y="45"/>
                  </a:cubicBezTo>
                  <a:close/>
                  <a:moveTo>
                    <a:pt x="1358" y="81"/>
                  </a:moveTo>
                  <a:cubicBezTo>
                    <a:pt x="1357" y="81"/>
                    <a:pt x="1357" y="81"/>
                    <a:pt x="1357" y="81"/>
                  </a:cubicBezTo>
                  <a:cubicBezTo>
                    <a:pt x="1357" y="81"/>
                    <a:pt x="1357" y="81"/>
                    <a:pt x="1358" y="81"/>
                  </a:cubicBezTo>
                  <a:close/>
                  <a:moveTo>
                    <a:pt x="1214" y="45"/>
                  </a:moveTo>
                  <a:cubicBezTo>
                    <a:pt x="1214" y="45"/>
                    <a:pt x="1214" y="45"/>
                    <a:pt x="1214" y="45"/>
                  </a:cubicBezTo>
                  <a:cubicBezTo>
                    <a:pt x="1214" y="45"/>
                    <a:pt x="1214" y="45"/>
                    <a:pt x="1214" y="45"/>
                  </a:cubicBezTo>
                  <a:close/>
                  <a:moveTo>
                    <a:pt x="1312" y="45"/>
                  </a:moveTo>
                  <a:cubicBezTo>
                    <a:pt x="1312" y="45"/>
                    <a:pt x="1311" y="45"/>
                    <a:pt x="1311" y="45"/>
                  </a:cubicBezTo>
                  <a:cubicBezTo>
                    <a:pt x="1311" y="45"/>
                    <a:pt x="1311" y="45"/>
                    <a:pt x="1312" y="45"/>
                  </a:cubicBezTo>
                  <a:close/>
                  <a:moveTo>
                    <a:pt x="1567" y="45"/>
                  </a:moveTo>
                  <a:cubicBezTo>
                    <a:pt x="1567" y="45"/>
                    <a:pt x="1567" y="45"/>
                    <a:pt x="1567" y="45"/>
                  </a:cubicBezTo>
                  <a:cubicBezTo>
                    <a:pt x="1567" y="45"/>
                    <a:pt x="1567" y="45"/>
                    <a:pt x="1567" y="45"/>
                  </a:cubicBezTo>
                  <a:close/>
                  <a:moveTo>
                    <a:pt x="1735" y="45"/>
                  </a:moveTo>
                  <a:cubicBezTo>
                    <a:pt x="1735" y="45"/>
                    <a:pt x="1736" y="45"/>
                    <a:pt x="1736" y="45"/>
                  </a:cubicBezTo>
                  <a:cubicBezTo>
                    <a:pt x="1735" y="45"/>
                    <a:pt x="1735" y="45"/>
                    <a:pt x="1735" y="45"/>
                  </a:cubicBezTo>
                  <a:close/>
                  <a:moveTo>
                    <a:pt x="558" y="45"/>
                  </a:moveTo>
                  <a:cubicBezTo>
                    <a:pt x="558" y="45"/>
                    <a:pt x="558" y="45"/>
                    <a:pt x="559" y="45"/>
                  </a:cubicBezTo>
                  <a:cubicBezTo>
                    <a:pt x="559" y="45"/>
                    <a:pt x="558" y="45"/>
                    <a:pt x="558" y="45"/>
                  </a:cubicBezTo>
                  <a:close/>
                  <a:moveTo>
                    <a:pt x="801" y="45"/>
                  </a:moveTo>
                  <a:cubicBezTo>
                    <a:pt x="801" y="45"/>
                    <a:pt x="801" y="45"/>
                    <a:pt x="802" y="46"/>
                  </a:cubicBezTo>
                  <a:cubicBezTo>
                    <a:pt x="802" y="45"/>
                    <a:pt x="801" y="45"/>
                    <a:pt x="801" y="45"/>
                  </a:cubicBezTo>
                  <a:close/>
                  <a:moveTo>
                    <a:pt x="835" y="45"/>
                  </a:moveTo>
                  <a:cubicBezTo>
                    <a:pt x="835" y="45"/>
                    <a:pt x="835" y="45"/>
                    <a:pt x="835" y="45"/>
                  </a:cubicBezTo>
                  <a:cubicBezTo>
                    <a:pt x="835" y="45"/>
                    <a:pt x="835" y="45"/>
                    <a:pt x="835" y="45"/>
                  </a:cubicBezTo>
                  <a:close/>
                  <a:moveTo>
                    <a:pt x="854" y="45"/>
                  </a:moveTo>
                  <a:cubicBezTo>
                    <a:pt x="854" y="45"/>
                    <a:pt x="854" y="45"/>
                    <a:pt x="854" y="45"/>
                  </a:cubicBezTo>
                  <a:cubicBezTo>
                    <a:pt x="854" y="45"/>
                    <a:pt x="854" y="45"/>
                    <a:pt x="854" y="45"/>
                  </a:cubicBezTo>
                  <a:close/>
                  <a:moveTo>
                    <a:pt x="878" y="45"/>
                  </a:moveTo>
                  <a:cubicBezTo>
                    <a:pt x="878" y="45"/>
                    <a:pt x="878" y="45"/>
                    <a:pt x="878" y="45"/>
                  </a:cubicBezTo>
                  <a:cubicBezTo>
                    <a:pt x="878" y="45"/>
                    <a:pt x="878" y="45"/>
                    <a:pt x="878" y="45"/>
                  </a:cubicBezTo>
                  <a:close/>
                  <a:moveTo>
                    <a:pt x="1346" y="82"/>
                  </a:moveTo>
                  <a:cubicBezTo>
                    <a:pt x="1346" y="82"/>
                    <a:pt x="1346" y="82"/>
                    <a:pt x="1346" y="81"/>
                  </a:cubicBezTo>
                  <a:cubicBezTo>
                    <a:pt x="1346" y="81"/>
                    <a:pt x="1346" y="82"/>
                    <a:pt x="1346" y="82"/>
                  </a:cubicBezTo>
                  <a:close/>
                  <a:moveTo>
                    <a:pt x="897" y="45"/>
                  </a:moveTo>
                  <a:cubicBezTo>
                    <a:pt x="897" y="45"/>
                    <a:pt x="897" y="45"/>
                    <a:pt x="897" y="45"/>
                  </a:cubicBezTo>
                  <a:cubicBezTo>
                    <a:pt x="897" y="45"/>
                    <a:pt x="897" y="45"/>
                    <a:pt x="897" y="45"/>
                  </a:cubicBezTo>
                  <a:close/>
                  <a:moveTo>
                    <a:pt x="1139" y="45"/>
                  </a:moveTo>
                  <a:cubicBezTo>
                    <a:pt x="1139" y="45"/>
                    <a:pt x="1138" y="45"/>
                    <a:pt x="1138" y="45"/>
                  </a:cubicBezTo>
                  <a:cubicBezTo>
                    <a:pt x="1138" y="45"/>
                    <a:pt x="1138" y="45"/>
                    <a:pt x="1139" y="45"/>
                  </a:cubicBezTo>
                  <a:close/>
                  <a:moveTo>
                    <a:pt x="1297" y="45"/>
                  </a:moveTo>
                  <a:cubicBezTo>
                    <a:pt x="1297" y="45"/>
                    <a:pt x="1297" y="45"/>
                    <a:pt x="1297" y="45"/>
                  </a:cubicBezTo>
                  <a:cubicBezTo>
                    <a:pt x="1297" y="45"/>
                    <a:pt x="1297" y="45"/>
                    <a:pt x="1297" y="45"/>
                  </a:cubicBezTo>
                  <a:close/>
                  <a:moveTo>
                    <a:pt x="753" y="46"/>
                  </a:moveTo>
                  <a:cubicBezTo>
                    <a:pt x="754" y="46"/>
                    <a:pt x="754" y="46"/>
                    <a:pt x="754" y="45"/>
                  </a:cubicBezTo>
                  <a:cubicBezTo>
                    <a:pt x="753" y="46"/>
                    <a:pt x="753" y="46"/>
                    <a:pt x="753" y="46"/>
                  </a:cubicBezTo>
                  <a:close/>
                  <a:moveTo>
                    <a:pt x="855" y="46"/>
                  </a:moveTo>
                  <a:cubicBezTo>
                    <a:pt x="855" y="46"/>
                    <a:pt x="854" y="45"/>
                    <a:pt x="854" y="45"/>
                  </a:cubicBezTo>
                  <a:cubicBezTo>
                    <a:pt x="854" y="46"/>
                    <a:pt x="854" y="46"/>
                    <a:pt x="855" y="46"/>
                  </a:cubicBezTo>
                  <a:close/>
                  <a:moveTo>
                    <a:pt x="897" y="46"/>
                  </a:moveTo>
                  <a:cubicBezTo>
                    <a:pt x="897" y="46"/>
                    <a:pt x="897" y="45"/>
                    <a:pt x="897" y="45"/>
                  </a:cubicBezTo>
                  <a:cubicBezTo>
                    <a:pt x="897" y="46"/>
                    <a:pt x="897" y="46"/>
                    <a:pt x="897" y="46"/>
                  </a:cubicBezTo>
                  <a:close/>
                  <a:moveTo>
                    <a:pt x="957" y="82"/>
                  </a:moveTo>
                  <a:cubicBezTo>
                    <a:pt x="957" y="82"/>
                    <a:pt x="957" y="82"/>
                    <a:pt x="957" y="82"/>
                  </a:cubicBezTo>
                  <a:cubicBezTo>
                    <a:pt x="957" y="82"/>
                    <a:pt x="957" y="82"/>
                    <a:pt x="957" y="82"/>
                  </a:cubicBezTo>
                  <a:close/>
                  <a:moveTo>
                    <a:pt x="1139" y="46"/>
                  </a:moveTo>
                  <a:cubicBezTo>
                    <a:pt x="1139" y="46"/>
                    <a:pt x="1139" y="45"/>
                    <a:pt x="1139" y="45"/>
                  </a:cubicBezTo>
                  <a:cubicBezTo>
                    <a:pt x="1139" y="46"/>
                    <a:pt x="1139" y="46"/>
                    <a:pt x="1139" y="46"/>
                  </a:cubicBezTo>
                  <a:close/>
                  <a:moveTo>
                    <a:pt x="1261" y="45"/>
                  </a:moveTo>
                  <a:cubicBezTo>
                    <a:pt x="1261" y="46"/>
                    <a:pt x="1262" y="46"/>
                    <a:pt x="1262" y="46"/>
                  </a:cubicBezTo>
                  <a:cubicBezTo>
                    <a:pt x="1262" y="46"/>
                    <a:pt x="1262" y="46"/>
                    <a:pt x="1261" y="45"/>
                  </a:cubicBezTo>
                  <a:close/>
                  <a:moveTo>
                    <a:pt x="1297" y="45"/>
                  </a:moveTo>
                  <a:cubicBezTo>
                    <a:pt x="1296" y="45"/>
                    <a:pt x="1296" y="46"/>
                    <a:pt x="1296" y="46"/>
                  </a:cubicBezTo>
                  <a:cubicBezTo>
                    <a:pt x="1296" y="46"/>
                    <a:pt x="1297" y="46"/>
                    <a:pt x="1297" y="45"/>
                  </a:cubicBezTo>
                  <a:close/>
                  <a:moveTo>
                    <a:pt x="1541" y="82"/>
                  </a:moveTo>
                  <a:cubicBezTo>
                    <a:pt x="1541" y="82"/>
                    <a:pt x="1541" y="82"/>
                    <a:pt x="1541" y="82"/>
                  </a:cubicBezTo>
                  <a:cubicBezTo>
                    <a:pt x="1541" y="82"/>
                    <a:pt x="1541" y="82"/>
                    <a:pt x="1541" y="82"/>
                  </a:cubicBezTo>
                  <a:close/>
                  <a:moveTo>
                    <a:pt x="1567" y="46"/>
                  </a:moveTo>
                  <a:cubicBezTo>
                    <a:pt x="1567" y="46"/>
                    <a:pt x="1567" y="46"/>
                    <a:pt x="1567" y="45"/>
                  </a:cubicBezTo>
                  <a:cubicBezTo>
                    <a:pt x="1567" y="46"/>
                    <a:pt x="1567" y="46"/>
                    <a:pt x="1567" y="46"/>
                  </a:cubicBezTo>
                  <a:close/>
                  <a:moveTo>
                    <a:pt x="1709" y="82"/>
                  </a:moveTo>
                  <a:cubicBezTo>
                    <a:pt x="1709" y="82"/>
                    <a:pt x="1709" y="82"/>
                    <a:pt x="1709" y="82"/>
                  </a:cubicBezTo>
                  <a:cubicBezTo>
                    <a:pt x="1709" y="82"/>
                    <a:pt x="1709" y="82"/>
                    <a:pt x="1709" y="82"/>
                  </a:cubicBezTo>
                  <a:close/>
                  <a:moveTo>
                    <a:pt x="1735" y="46"/>
                  </a:moveTo>
                  <a:cubicBezTo>
                    <a:pt x="1735" y="46"/>
                    <a:pt x="1735" y="46"/>
                    <a:pt x="1735" y="45"/>
                  </a:cubicBezTo>
                  <a:cubicBezTo>
                    <a:pt x="1735" y="46"/>
                    <a:pt x="1735" y="46"/>
                    <a:pt x="1735" y="46"/>
                  </a:cubicBezTo>
                  <a:close/>
                  <a:moveTo>
                    <a:pt x="559" y="46"/>
                  </a:moveTo>
                  <a:cubicBezTo>
                    <a:pt x="559" y="46"/>
                    <a:pt x="560" y="46"/>
                    <a:pt x="560" y="46"/>
                  </a:cubicBezTo>
                  <a:cubicBezTo>
                    <a:pt x="560" y="46"/>
                    <a:pt x="559" y="46"/>
                    <a:pt x="559" y="46"/>
                  </a:cubicBezTo>
                  <a:close/>
                  <a:moveTo>
                    <a:pt x="696" y="46"/>
                  </a:moveTo>
                  <a:cubicBezTo>
                    <a:pt x="695" y="46"/>
                    <a:pt x="695" y="46"/>
                    <a:pt x="695" y="46"/>
                  </a:cubicBezTo>
                  <a:cubicBezTo>
                    <a:pt x="695" y="46"/>
                    <a:pt x="695" y="46"/>
                    <a:pt x="696" y="46"/>
                  </a:cubicBezTo>
                  <a:close/>
                  <a:moveTo>
                    <a:pt x="855" y="46"/>
                  </a:moveTo>
                  <a:cubicBezTo>
                    <a:pt x="855" y="46"/>
                    <a:pt x="855" y="46"/>
                    <a:pt x="855" y="46"/>
                  </a:cubicBezTo>
                  <a:cubicBezTo>
                    <a:pt x="855" y="46"/>
                    <a:pt x="855" y="46"/>
                    <a:pt x="855" y="46"/>
                  </a:cubicBezTo>
                  <a:close/>
                  <a:moveTo>
                    <a:pt x="971" y="82"/>
                  </a:moveTo>
                  <a:cubicBezTo>
                    <a:pt x="971" y="82"/>
                    <a:pt x="971" y="82"/>
                    <a:pt x="971" y="82"/>
                  </a:cubicBezTo>
                  <a:cubicBezTo>
                    <a:pt x="971" y="82"/>
                    <a:pt x="971" y="82"/>
                    <a:pt x="971" y="82"/>
                  </a:cubicBezTo>
                  <a:close/>
                  <a:moveTo>
                    <a:pt x="898" y="46"/>
                  </a:moveTo>
                  <a:cubicBezTo>
                    <a:pt x="898" y="46"/>
                    <a:pt x="898" y="46"/>
                    <a:pt x="897" y="46"/>
                  </a:cubicBezTo>
                  <a:cubicBezTo>
                    <a:pt x="897" y="46"/>
                    <a:pt x="898" y="46"/>
                    <a:pt x="898" y="46"/>
                  </a:cubicBezTo>
                  <a:close/>
                  <a:moveTo>
                    <a:pt x="1357" y="82"/>
                  </a:moveTo>
                  <a:cubicBezTo>
                    <a:pt x="1357" y="82"/>
                    <a:pt x="1357" y="82"/>
                    <a:pt x="1357" y="82"/>
                  </a:cubicBezTo>
                  <a:cubicBezTo>
                    <a:pt x="1357" y="82"/>
                    <a:pt x="1357" y="82"/>
                    <a:pt x="1357" y="82"/>
                  </a:cubicBezTo>
                  <a:close/>
                  <a:moveTo>
                    <a:pt x="1035" y="46"/>
                  </a:moveTo>
                  <a:cubicBezTo>
                    <a:pt x="1035" y="46"/>
                    <a:pt x="1036" y="46"/>
                    <a:pt x="1036" y="46"/>
                  </a:cubicBezTo>
                  <a:cubicBezTo>
                    <a:pt x="1035" y="46"/>
                    <a:pt x="1035" y="46"/>
                    <a:pt x="1035" y="46"/>
                  </a:cubicBezTo>
                  <a:close/>
                  <a:moveTo>
                    <a:pt x="1118" y="46"/>
                  </a:moveTo>
                  <a:cubicBezTo>
                    <a:pt x="1117" y="46"/>
                    <a:pt x="1117" y="46"/>
                    <a:pt x="1117" y="46"/>
                  </a:cubicBezTo>
                  <a:cubicBezTo>
                    <a:pt x="1117" y="46"/>
                    <a:pt x="1118" y="46"/>
                    <a:pt x="1118" y="46"/>
                  </a:cubicBezTo>
                  <a:close/>
                  <a:moveTo>
                    <a:pt x="1139" y="46"/>
                  </a:moveTo>
                  <a:cubicBezTo>
                    <a:pt x="1139" y="46"/>
                    <a:pt x="1139" y="46"/>
                    <a:pt x="1139" y="46"/>
                  </a:cubicBezTo>
                  <a:cubicBezTo>
                    <a:pt x="1139" y="46"/>
                    <a:pt x="1139" y="46"/>
                    <a:pt x="1139" y="46"/>
                  </a:cubicBezTo>
                  <a:close/>
                  <a:moveTo>
                    <a:pt x="1382" y="46"/>
                  </a:moveTo>
                  <a:cubicBezTo>
                    <a:pt x="1383" y="46"/>
                    <a:pt x="1383" y="46"/>
                    <a:pt x="1383" y="46"/>
                  </a:cubicBezTo>
                  <a:cubicBezTo>
                    <a:pt x="1382" y="46"/>
                    <a:pt x="1382" y="46"/>
                    <a:pt x="1382" y="46"/>
                  </a:cubicBezTo>
                  <a:close/>
                  <a:moveTo>
                    <a:pt x="671" y="46"/>
                  </a:moveTo>
                  <a:cubicBezTo>
                    <a:pt x="671" y="46"/>
                    <a:pt x="671" y="46"/>
                    <a:pt x="671" y="46"/>
                  </a:cubicBezTo>
                  <a:cubicBezTo>
                    <a:pt x="671" y="46"/>
                    <a:pt x="671" y="46"/>
                    <a:pt x="671" y="46"/>
                  </a:cubicBezTo>
                  <a:close/>
                  <a:moveTo>
                    <a:pt x="855" y="47"/>
                  </a:moveTo>
                  <a:cubicBezTo>
                    <a:pt x="855" y="46"/>
                    <a:pt x="855" y="46"/>
                    <a:pt x="855" y="46"/>
                  </a:cubicBezTo>
                  <a:cubicBezTo>
                    <a:pt x="855" y="46"/>
                    <a:pt x="855" y="46"/>
                    <a:pt x="855" y="47"/>
                  </a:cubicBezTo>
                  <a:close/>
                  <a:moveTo>
                    <a:pt x="1117" y="46"/>
                  </a:moveTo>
                  <a:cubicBezTo>
                    <a:pt x="1117" y="46"/>
                    <a:pt x="1117" y="46"/>
                    <a:pt x="1117" y="46"/>
                  </a:cubicBezTo>
                  <a:cubicBezTo>
                    <a:pt x="1117" y="46"/>
                    <a:pt x="1117" y="46"/>
                    <a:pt x="1117" y="46"/>
                  </a:cubicBezTo>
                  <a:close/>
                  <a:moveTo>
                    <a:pt x="1140" y="47"/>
                  </a:moveTo>
                  <a:cubicBezTo>
                    <a:pt x="1140" y="46"/>
                    <a:pt x="1140" y="46"/>
                    <a:pt x="1139" y="46"/>
                  </a:cubicBezTo>
                  <a:cubicBezTo>
                    <a:pt x="1139" y="46"/>
                    <a:pt x="1139" y="46"/>
                    <a:pt x="1140" y="47"/>
                  </a:cubicBezTo>
                  <a:close/>
                  <a:moveTo>
                    <a:pt x="957" y="83"/>
                  </a:moveTo>
                  <a:cubicBezTo>
                    <a:pt x="957" y="82"/>
                    <a:pt x="957" y="82"/>
                    <a:pt x="957" y="82"/>
                  </a:cubicBezTo>
                  <a:cubicBezTo>
                    <a:pt x="957" y="82"/>
                    <a:pt x="957" y="83"/>
                    <a:pt x="957" y="83"/>
                  </a:cubicBezTo>
                  <a:close/>
                  <a:moveTo>
                    <a:pt x="971" y="82"/>
                  </a:moveTo>
                  <a:cubicBezTo>
                    <a:pt x="971" y="83"/>
                    <a:pt x="972" y="83"/>
                    <a:pt x="972" y="83"/>
                  </a:cubicBezTo>
                  <a:cubicBezTo>
                    <a:pt x="972" y="83"/>
                    <a:pt x="972" y="82"/>
                    <a:pt x="971" y="82"/>
                  </a:cubicBezTo>
                  <a:close/>
                  <a:moveTo>
                    <a:pt x="1262" y="46"/>
                  </a:moveTo>
                  <a:cubicBezTo>
                    <a:pt x="1262" y="46"/>
                    <a:pt x="1262" y="47"/>
                    <a:pt x="1262" y="47"/>
                  </a:cubicBezTo>
                  <a:cubicBezTo>
                    <a:pt x="1262" y="46"/>
                    <a:pt x="1262" y="46"/>
                    <a:pt x="1262" y="46"/>
                  </a:cubicBezTo>
                  <a:close/>
                  <a:moveTo>
                    <a:pt x="1296" y="46"/>
                  </a:moveTo>
                  <a:cubicBezTo>
                    <a:pt x="1295" y="46"/>
                    <a:pt x="1295" y="46"/>
                    <a:pt x="1295" y="47"/>
                  </a:cubicBezTo>
                  <a:cubicBezTo>
                    <a:pt x="1295" y="46"/>
                    <a:pt x="1295" y="46"/>
                    <a:pt x="1296" y="46"/>
                  </a:cubicBezTo>
                  <a:close/>
                  <a:moveTo>
                    <a:pt x="671" y="46"/>
                  </a:moveTo>
                  <a:cubicBezTo>
                    <a:pt x="671" y="47"/>
                    <a:pt x="671" y="47"/>
                    <a:pt x="671" y="47"/>
                  </a:cubicBezTo>
                  <a:cubicBezTo>
                    <a:pt x="671" y="47"/>
                    <a:pt x="671" y="47"/>
                    <a:pt x="671" y="46"/>
                  </a:cubicBezTo>
                  <a:close/>
                  <a:moveTo>
                    <a:pt x="1117" y="46"/>
                  </a:moveTo>
                  <a:cubicBezTo>
                    <a:pt x="1117" y="46"/>
                    <a:pt x="1117" y="47"/>
                    <a:pt x="1117" y="47"/>
                  </a:cubicBezTo>
                  <a:cubicBezTo>
                    <a:pt x="1117" y="47"/>
                    <a:pt x="1117" y="47"/>
                    <a:pt x="1117" y="46"/>
                  </a:cubicBezTo>
                  <a:close/>
                  <a:moveTo>
                    <a:pt x="1140" y="47"/>
                  </a:moveTo>
                  <a:cubicBezTo>
                    <a:pt x="1140" y="47"/>
                    <a:pt x="1140" y="47"/>
                    <a:pt x="1140" y="46"/>
                  </a:cubicBezTo>
                  <a:cubicBezTo>
                    <a:pt x="1140" y="47"/>
                    <a:pt x="1140" y="47"/>
                    <a:pt x="1140" y="47"/>
                  </a:cubicBezTo>
                  <a:close/>
                  <a:moveTo>
                    <a:pt x="1295" y="47"/>
                  </a:moveTo>
                  <a:cubicBezTo>
                    <a:pt x="1295" y="47"/>
                    <a:pt x="1295" y="47"/>
                    <a:pt x="1295" y="47"/>
                  </a:cubicBezTo>
                  <a:cubicBezTo>
                    <a:pt x="1295" y="47"/>
                    <a:pt x="1295" y="47"/>
                    <a:pt x="1295" y="47"/>
                  </a:cubicBezTo>
                  <a:close/>
                  <a:moveTo>
                    <a:pt x="1566" y="47"/>
                  </a:moveTo>
                  <a:cubicBezTo>
                    <a:pt x="1566" y="47"/>
                    <a:pt x="1566" y="47"/>
                    <a:pt x="1566" y="47"/>
                  </a:cubicBezTo>
                  <a:cubicBezTo>
                    <a:pt x="1566" y="47"/>
                    <a:pt x="1566" y="47"/>
                    <a:pt x="1566" y="47"/>
                  </a:cubicBezTo>
                  <a:close/>
                  <a:moveTo>
                    <a:pt x="972" y="83"/>
                  </a:moveTo>
                  <a:cubicBezTo>
                    <a:pt x="972" y="83"/>
                    <a:pt x="972" y="83"/>
                    <a:pt x="972" y="83"/>
                  </a:cubicBezTo>
                  <a:cubicBezTo>
                    <a:pt x="972" y="83"/>
                    <a:pt x="972" y="83"/>
                    <a:pt x="972" y="83"/>
                  </a:cubicBezTo>
                  <a:close/>
                  <a:moveTo>
                    <a:pt x="1734" y="47"/>
                  </a:moveTo>
                  <a:cubicBezTo>
                    <a:pt x="1734" y="47"/>
                    <a:pt x="1735" y="47"/>
                    <a:pt x="1735" y="47"/>
                  </a:cubicBezTo>
                  <a:cubicBezTo>
                    <a:pt x="1734" y="47"/>
                    <a:pt x="1734" y="47"/>
                    <a:pt x="1734" y="47"/>
                  </a:cubicBezTo>
                  <a:close/>
                  <a:moveTo>
                    <a:pt x="561" y="47"/>
                  </a:moveTo>
                  <a:cubicBezTo>
                    <a:pt x="561" y="47"/>
                    <a:pt x="561" y="47"/>
                    <a:pt x="561" y="47"/>
                  </a:cubicBezTo>
                  <a:cubicBezTo>
                    <a:pt x="561" y="47"/>
                    <a:pt x="561" y="47"/>
                    <a:pt x="561" y="47"/>
                  </a:cubicBezTo>
                  <a:close/>
                  <a:moveTo>
                    <a:pt x="898" y="47"/>
                  </a:moveTo>
                  <a:cubicBezTo>
                    <a:pt x="898" y="47"/>
                    <a:pt x="898" y="47"/>
                    <a:pt x="898" y="47"/>
                  </a:cubicBezTo>
                  <a:cubicBezTo>
                    <a:pt x="898" y="47"/>
                    <a:pt x="898" y="47"/>
                    <a:pt x="898" y="47"/>
                  </a:cubicBezTo>
                  <a:close/>
                  <a:moveTo>
                    <a:pt x="1356" y="83"/>
                  </a:moveTo>
                  <a:cubicBezTo>
                    <a:pt x="1356" y="83"/>
                    <a:pt x="1356" y="83"/>
                    <a:pt x="1356" y="83"/>
                  </a:cubicBezTo>
                  <a:cubicBezTo>
                    <a:pt x="1356" y="83"/>
                    <a:pt x="1356" y="83"/>
                    <a:pt x="1356" y="83"/>
                  </a:cubicBezTo>
                  <a:close/>
                  <a:moveTo>
                    <a:pt x="1035" y="47"/>
                  </a:moveTo>
                  <a:cubicBezTo>
                    <a:pt x="1035" y="47"/>
                    <a:pt x="1035" y="47"/>
                    <a:pt x="1035" y="47"/>
                  </a:cubicBezTo>
                  <a:cubicBezTo>
                    <a:pt x="1035" y="47"/>
                    <a:pt x="1035" y="47"/>
                    <a:pt x="1035" y="47"/>
                  </a:cubicBezTo>
                  <a:close/>
                  <a:moveTo>
                    <a:pt x="1117" y="47"/>
                  </a:moveTo>
                  <a:cubicBezTo>
                    <a:pt x="1116" y="47"/>
                    <a:pt x="1116" y="47"/>
                    <a:pt x="1116" y="47"/>
                  </a:cubicBezTo>
                  <a:cubicBezTo>
                    <a:pt x="1116" y="47"/>
                    <a:pt x="1117" y="47"/>
                    <a:pt x="1117" y="47"/>
                  </a:cubicBezTo>
                  <a:close/>
                  <a:moveTo>
                    <a:pt x="1212" y="47"/>
                  </a:moveTo>
                  <a:cubicBezTo>
                    <a:pt x="1213" y="47"/>
                    <a:pt x="1213" y="47"/>
                    <a:pt x="1213" y="47"/>
                  </a:cubicBezTo>
                  <a:cubicBezTo>
                    <a:pt x="1213" y="47"/>
                    <a:pt x="1213" y="47"/>
                    <a:pt x="1212" y="47"/>
                  </a:cubicBezTo>
                  <a:close/>
                  <a:moveTo>
                    <a:pt x="1262" y="47"/>
                  </a:moveTo>
                  <a:cubicBezTo>
                    <a:pt x="1262" y="47"/>
                    <a:pt x="1262" y="47"/>
                    <a:pt x="1262" y="47"/>
                  </a:cubicBezTo>
                  <a:cubicBezTo>
                    <a:pt x="1262" y="47"/>
                    <a:pt x="1262" y="47"/>
                    <a:pt x="1262" y="47"/>
                  </a:cubicBezTo>
                  <a:close/>
                  <a:moveTo>
                    <a:pt x="1295" y="47"/>
                  </a:moveTo>
                  <a:cubicBezTo>
                    <a:pt x="1295" y="47"/>
                    <a:pt x="1295" y="47"/>
                    <a:pt x="1295" y="47"/>
                  </a:cubicBezTo>
                  <a:cubicBezTo>
                    <a:pt x="1295" y="47"/>
                    <a:pt x="1295" y="47"/>
                    <a:pt x="1295" y="47"/>
                  </a:cubicBezTo>
                  <a:close/>
                  <a:moveTo>
                    <a:pt x="1382" y="47"/>
                  </a:moveTo>
                  <a:cubicBezTo>
                    <a:pt x="1382" y="47"/>
                    <a:pt x="1382" y="47"/>
                    <a:pt x="1382" y="47"/>
                  </a:cubicBezTo>
                  <a:cubicBezTo>
                    <a:pt x="1382" y="47"/>
                    <a:pt x="1382" y="47"/>
                    <a:pt x="1382" y="47"/>
                  </a:cubicBezTo>
                  <a:close/>
                  <a:moveTo>
                    <a:pt x="1681" y="47"/>
                  </a:moveTo>
                  <a:cubicBezTo>
                    <a:pt x="1680" y="47"/>
                    <a:pt x="1680" y="47"/>
                    <a:pt x="1680" y="47"/>
                  </a:cubicBezTo>
                  <a:cubicBezTo>
                    <a:pt x="1680" y="47"/>
                    <a:pt x="1680" y="47"/>
                    <a:pt x="1681" y="47"/>
                  </a:cubicBezTo>
                  <a:close/>
                  <a:moveTo>
                    <a:pt x="752" y="48"/>
                  </a:moveTo>
                  <a:cubicBezTo>
                    <a:pt x="752" y="48"/>
                    <a:pt x="753" y="47"/>
                    <a:pt x="753" y="47"/>
                  </a:cubicBezTo>
                  <a:cubicBezTo>
                    <a:pt x="752" y="47"/>
                    <a:pt x="752" y="47"/>
                    <a:pt x="752" y="48"/>
                  </a:cubicBezTo>
                  <a:close/>
                  <a:moveTo>
                    <a:pt x="972" y="83"/>
                  </a:moveTo>
                  <a:cubicBezTo>
                    <a:pt x="972" y="83"/>
                    <a:pt x="972" y="83"/>
                    <a:pt x="972" y="83"/>
                  </a:cubicBezTo>
                  <a:cubicBezTo>
                    <a:pt x="972" y="83"/>
                    <a:pt x="972" y="83"/>
                    <a:pt x="972" y="83"/>
                  </a:cubicBezTo>
                  <a:close/>
                  <a:moveTo>
                    <a:pt x="833" y="47"/>
                  </a:moveTo>
                  <a:cubicBezTo>
                    <a:pt x="833" y="47"/>
                    <a:pt x="833" y="47"/>
                    <a:pt x="833" y="48"/>
                  </a:cubicBezTo>
                  <a:cubicBezTo>
                    <a:pt x="833" y="47"/>
                    <a:pt x="833" y="47"/>
                    <a:pt x="833" y="47"/>
                  </a:cubicBezTo>
                  <a:close/>
                  <a:moveTo>
                    <a:pt x="876" y="47"/>
                  </a:moveTo>
                  <a:cubicBezTo>
                    <a:pt x="876" y="47"/>
                    <a:pt x="876" y="47"/>
                    <a:pt x="876" y="48"/>
                  </a:cubicBezTo>
                  <a:cubicBezTo>
                    <a:pt x="876" y="47"/>
                    <a:pt x="876" y="47"/>
                    <a:pt x="876" y="47"/>
                  </a:cubicBezTo>
                  <a:close/>
                  <a:moveTo>
                    <a:pt x="1116" y="47"/>
                  </a:moveTo>
                  <a:cubicBezTo>
                    <a:pt x="1116" y="47"/>
                    <a:pt x="1116" y="47"/>
                    <a:pt x="1116" y="48"/>
                  </a:cubicBezTo>
                  <a:cubicBezTo>
                    <a:pt x="1116" y="47"/>
                    <a:pt x="1116" y="47"/>
                    <a:pt x="1116" y="47"/>
                  </a:cubicBezTo>
                  <a:close/>
                  <a:moveTo>
                    <a:pt x="1295" y="47"/>
                  </a:moveTo>
                  <a:cubicBezTo>
                    <a:pt x="1294" y="47"/>
                    <a:pt x="1294" y="47"/>
                    <a:pt x="1294" y="48"/>
                  </a:cubicBezTo>
                  <a:cubicBezTo>
                    <a:pt x="1294" y="47"/>
                    <a:pt x="1294" y="47"/>
                    <a:pt x="1295" y="47"/>
                  </a:cubicBezTo>
                  <a:close/>
                  <a:moveTo>
                    <a:pt x="833" y="47"/>
                  </a:moveTo>
                  <a:cubicBezTo>
                    <a:pt x="833" y="48"/>
                    <a:pt x="833" y="48"/>
                    <a:pt x="833" y="48"/>
                  </a:cubicBezTo>
                  <a:cubicBezTo>
                    <a:pt x="833" y="48"/>
                    <a:pt x="833" y="48"/>
                    <a:pt x="833" y="47"/>
                  </a:cubicBezTo>
                  <a:close/>
                  <a:moveTo>
                    <a:pt x="856" y="48"/>
                  </a:moveTo>
                  <a:cubicBezTo>
                    <a:pt x="856" y="48"/>
                    <a:pt x="856" y="48"/>
                    <a:pt x="856" y="47"/>
                  </a:cubicBezTo>
                  <a:cubicBezTo>
                    <a:pt x="856" y="48"/>
                    <a:pt x="856" y="48"/>
                    <a:pt x="856" y="48"/>
                  </a:cubicBezTo>
                  <a:close/>
                  <a:moveTo>
                    <a:pt x="876" y="47"/>
                  </a:moveTo>
                  <a:cubicBezTo>
                    <a:pt x="876" y="48"/>
                    <a:pt x="875" y="48"/>
                    <a:pt x="875" y="48"/>
                  </a:cubicBezTo>
                  <a:cubicBezTo>
                    <a:pt x="876" y="48"/>
                    <a:pt x="876" y="48"/>
                    <a:pt x="876" y="47"/>
                  </a:cubicBezTo>
                  <a:close/>
                  <a:moveTo>
                    <a:pt x="1116" y="47"/>
                  </a:moveTo>
                  <a:cubicBezTo>
                    <a:pt x="1116" y="48"/>
                    <a:pt x="1116" y="48"/>
                    <a:pt x="1116" y="48"/>
                  </a:cubicBezTo>
                  <a:cubicBezTo>
                    <a:pt x="1116" y="48"/>
                    <a:pt x="1116" y="48"/>
                    <a:pt x="1116" y="47"/>
                  </a:cubicBezTo>
                  <a:close/>
                  <a:moveTo>
                    <a:pt x="761" y="83"/>
                  </a:moveTo>
                  <a:cubicBezTo>
                    <a:pt x="761" y="84"/>
                    <a:pt x="761" y="84"/>
                    <a:pt x="762" y="84"/>
                  </a:cubicBezTo>
                  <a:cubicBezTo>
                    <a:pt x="762" y="84"/>
                    <a:pt x="761" y="84"/>
                    <a:pt x="761" y="83"/>
                  </a:cubicBezTo>
                  <a:close/>
                  <a:moveTo>
                    <a:pt x="1141" y="48"/>
                  </a:moveTo>
                  <a:cubicBezTo>
                    <a:pt x="1141" y="48"/>
                    <a:pt x="1141" y="48"/>
                    <a:pt x="1140" y="47"/>
                  </a:cubicBezTo>
                  <a:cubicBezTo>
                    <a:pt x="1140" y="48"/>
                    <a:pt x="1141" y="48"/>
                    <a:pt x="1141" y="48"/>
                  </a:cubicBezTo>
                  <a:close/>
                  <a:moveTo>
                    <a:pt x="972" y="83"/>
                  </a:moveTo>
                  <a:cubicBezTo>
                    <a:pt x="972" y="84"/>
                    <a:pt x="973" y="84"/>
                    <a:pt x="973" y="84"/>
                  </a:cubicBezTo>
                  <a:cubicBezTo>
                    <a:pt x="973" y="84"/>
                    <a:pt x="973" y="84"/>
                    <a:pt x="972" y="83"/>
                  </a:cubicBezTo>
                  <a:close/>
                  <a:moveTo>
                    <a:pt x="1294" y="48"/>
                  </a:moveTo>
                  <a:cubicBezTo>
                    <a:pt x="1294" y="48"/>
                    <a:pt x="1294" y="48"/>
                    <a:pt x="1294" y="48"/>
                  </a:cubicBezTo>
                  <a:cubicBezTo>
                    <a:pt x="1294" y="48"/>
                    <a:pt x="1294" y="48"/>
                    <a:pt x="1294" y="48"/>
                  </a:cubicBezTo>
                  <a:close/>
                  <a:moveTo>
                    <a:pt x="1394" y="47"/>
                  </a:moveTo>
                  <a:cubicBezTo>
                    <a:pt x="1393" y="48"/>
                    <a:pt x="1393" y="48"/>
                    <a:pt x="1393" y="48"/>
                  </a:cubicBezTo>
                  <a:cubicBezTo>
                    <a:pt x="1394" y="48"/>
                    <a:pt x="1394" y="48"/>
                    <a:pt x="1394" y="47"/>
                  </a:cubicBezTo>
                  <a:close/>
                  <a:moveTo>
                    <a:pt x="1565" y="48"/>
                  </a:moveTo>
                  <a:cubicBezTo>
                    <a:pt x="1566" y="48"/>
                    <a:pt x="1566" y="48"/>
                    <a:pt x="1566" y="48"/>
                  </a:cubicBezTo>
                  <a:cubicBezTo>
                    <a:pt x="1566" y="48"/>
                    <a:pt x="1565" y="48"/>
                    <a:pt x="1565" y="48"/>
                  </a:cubicBezTo>
                  <a:close/>
                  <a:moveTo>
                    <a:pt x="1734" y="48"/>
                  </a:moveTo>
                  <a:cubicBezTo>
                    <a:pt x="1734" y="48"/>
                    <a:pt x="1734" y="48"/>
                    <a:pt x="1734" y="48"/>
                  </a:cubicBezTo>
                  <a:cubicBezTo>
                    <a:pt x="1734" y="48"/>
                    <a:pt x="1734" y="48"/>
                    <a:pt x="1734" y="48"/>
                  </a:cubicBezTo>
                  <a:close/>
                  <a:moveTo>
                    <a:pt x="563" y="48"/>
                  </a:moveTo>
                  <a:cubicBezTo>
                    <a:pt x="563" y="48"/>
                    <a:pt x="563" y="48"/>
                    <a:pt x="563" y="48"/>
                  </a:cubicBezTo>
                  <a:cubicBezTo>
                    <a:pt x="563" y="48"/>
                    <a:pt x="563" y="48"/>
                    <a:pt x="563" y="48"/>
                  </a:cubicBezTo>
                  <a:close/>
                  <a:moveTo>
                    <a:pt x="833" y="48"/>
                  </a:moveTo>
                  <a:cubicBezTo>
                    <a:pt x="832" y="48"/>
                    <a:pt x="832" y="48"/>
                    <a:pt x="832" y="48"/>
                  </a:cubicBezTo>
                  <a:cubicBezTo>
                    <a:pt x="832" y="48"/>
                    <a:pt x="832" y="48"/>
                    <a:pt x="833" y="48"/>
                  </a:cubicBezTo>
                  <a:close/>
                  <a:moveTo>
                    <a:pt x="875" y="48"/>
                  </a:moveTo>
                  <a:cubicBezTo>
                    <a:pt x="875" y="48"/>
                    <a:pt x="875" y="48"/>
                    <a:pt x="875" y="48"/>
                  </a:cubicBezTo>
                  <a:cubicBezTo>
                    <a:pt x="875" y="48"/>
                    <a:pt x="875" y="48"/>
                    <a:pt x="875" y="48"/>
                  </a:cubicBezTo>
                  <a:close/>
                  <a:moveTo>
                    <a:pt x="973" y="84"/>
                  </a:moveTo>
                  <a:cubicBezTo>
                    <a:pt x="973" y="84"/>
                    <a:pt x="973" y="84"/>
                    <a:pt x="973" y="84"/>
                  </a:cubicBezTo>
                  <a:cubicBezTo>
                    <a:pt x="973" y="84"/>
                    <a:pt x="973" y="84"/>
                    <a:pt x="973" y="84"/>
                  </a:cubicBezTo>
                  <a:close/>
                  <a:moveTo>
                    <a:pt x="899" y="48"/>
                  </a:moveTo>
                  <a:cubicBezTo>
                    <a:pt x="899" y="48"/>
                    <a:pt x="899" y="48"/>
                    <a:pt x="899" y="48"/>
                  </a:cubicBezTo>
                  <a:cubicBezTo>
                    <a:pt x="899" y="48"/>
                    <a:pt x="899" y="48"/>
                    <a:pt x="899" y="48"/>
                  </a:cubicBezTo>
                  <a:close/>
                  <a:moveTo>
                    <a:pt x="1116" y="48"/>
                  </a:moveTo>
                  <a:cubicBezTo>
                    <a:pt x="1115" y="48"/>
                    <a:pt x="1115" y="48"/>
                    <a:pt x="1115" y="48"/>
                  </a:cubicBezTo>
                  <a:cubicBezTo>
                    <a:pt x="1115" y="48"/>
                    <a:pt x="1116" y="48"/>
                    <a:pt x="1116" y="48"/>
                  </a:cubicBezTo>
                  <a:close/>
                  <a:moveTo>
                    <a:pt x="1381" y="48"/>
                  </a:moveTo>
                  <a:cubicBezTo>
                    <a:pt x="1381" y="48"/>
                    <a:pt x="1381" y="48"/>
                    <a:pt x="1381" y="48"/>
                  </a:cubicBezTo>
                  <a:cubicBezTo>
                    <a:pt x="1381" y="48"/>
                    <a:pt x="1381" y="48"/>
                    <a:pt x="1381" y="48"/>
                  </a:cubicBezTo>
                  <a:close/>
                  <a:moveTo>
                    <a:pt x="1565" y="48"/>
                  </a:moveTo>
                  <a:cubicBezTo>
                    <a:pt x="1565" y="48"/>
                    <a:pt x="1565" y="48"/>
                    <a:pt x="1565" y="48"/>
                  </a:cubicBezTo>
                  <a:cubicBezTo>
                    <a:pt x="1565" y="48"/>
                    <a:pt x="1565" y="48"/>
                    <a:pt x="1565" y="48"/>
                  </a:cubicBezTo>
                  <a:close/>
                  <a:moveTo>
                    <a:pt x="1680" y="48"/>
                  </a:moveTo>
                  <a:cubicBezTo>
                    <a:pt x="1680" y="48"/>
                    <a:pt x="1680" y="48"/>
                    <a:pt x="1680" y="48"/>
                  </a:cubicBezTo>
                  <a:cubicBezTo>
                    <a:pt x="1680" y="48"/>
                    <a:pt x="1680" y="48"/>
                    <a:pt x="1680" y="48"/>
                  </a:cubicBezTo>
                  <a:close/>
                  <a:moveTo>
                    <a:pt x="1733" y="48"/>
                  </a:moveTo>
                  <a:cubicBezTo>
                    <a:pt x="1733" y="48"/>
                    <a:pt x="1734" y="48"/>
                    <a:pt x="1734" y="48"/>
                  </a:cubicBezTo>
                  <a:cubicBezTo>
                    <a:pt x="1733" y="48"/>
                    <a:pt x="1733" y="48"/>
                    <a:pt x="1733" y="48"/>
                  </a:cubicBezTo>
                  <a:close/>
                  <a:moveTo>
                    <a:pt x="1115" y="48"/>
                  </a:moveTo>
                  <a:cubicBezTo>
                    <a:pt x="1115" y="48"/>
                    <a:pt x="1115" y="48"/>
                    <a:pt x="1115" y="49"/>
                  </a:cubicBezTo>
                  <a:cubicBezTo>
                    <a:pt x="1115" y="48"/>
                    <a:pt x="1115" y="48"/>
                    <a:pt x="1115" y="48"/>
                  </a:cubicBezTo>
                  <a:close/>
                  <a:moveTo>
                    <a:pt x="1381" y="49"/>
                  </a:moveTo>
                  <a:cubicBezTo>
                    <a:pt x="1381" y="49"/>
                    <a:pt x="1381" y="48"/>
                    <a:pt x="1381" y="48"/>
                  </a:cubicBezTo>
                  <a:cubicBezTo>
                    <a:pt x="1381" y="48"/>
                    <a:pt x="1381" y="48"/>
                    <a:pt x="1381" y="49"/>
                  </a:cubicBezTo>
                  <a:close/>
                  <a:moveTo>
                    <a:pt x="1393" y="48"/>
                  </a:moveTo>
                  <a:cubicBezTo>
                    <a:pt x="1393" y="48"/>
                    <a:pt x="1393" y="48"/>
                    <a:pt x="1393" y="49"/>
                  </a:cubicBezTo>
                  <a:cubicBezTo>
                    <a:pt x="1393" y="48"/>
                    <a:pt x="1393" y="48"/>
                    <a:pt x="1393" y="48"/>
                  </a:cubicBezTo>
                  <a:close/>
                  <a:moveTo>
                    <a:pt x="899" y="49"/>
                  </a:moveTo>
                  <a:cubicBezTo>
                    <a:pt x="899" y="49"/>
                    <a:pt x="899" y="49"/>
                    <a:pt x="899" y="48"/>
                  </a:cubicBezTo>
                  <a:cubicBezTo>
                    <a:pt x="899" y="49"/>
                    <a:pt x="899" y="49"/>
                    <a:pt x="899" y="49"/>
                  </a:cubicBezTo>
                  <a:close/>
                  <a:moveTo>
                    <a:pt x="762" y="84"/>
                  </a:moveTo>
                  <a:cubicBezTo>
                    <a:pt x="762" y="84"/>
                    <a:pt x="762" y="84"/>
                    <a:pt x="762" y="85"/>
                  </a:cubicBezTo>
                  <a:cubicBezTo>
                    <a:pt x="762" y="84"/>
                    <a:pt x="762" y="84"/>
                    <a:pt x="762" y="84"/>
                  </a:cubicBezTo>
                  <a:close/>
                  <a:moveTo>
                    <a:pt x="958" y="84"/>
                  </a:moveTo>
                  <a:cubicBezTo>
                    <a:pt x="958" y="84"/>
                    <a:pt x="958" y="84"/>
                    <a:pt x="958" y="84"/>
                  </a:cubicBezTo>
                  <a:cubicBezTo>
                    <a:pt x="958" y="84"/>
                    <a:pt x="958" y="84"/>
                    <a:pt x="958" y="84"/>
                  </a:cubicBezTo>
                  <a:close/>
                  <a:moveTo>
                    <a:pt x="973" y="84"/>
                  </a:moveTo>
                  <a:cubicBezTo>
                    <a:pt x="973" y="84"/>
                    <a:pt x="973" y="84"/>
                    <a:pt x="974" y="85"/>
                  </a:cubicBezTo>
                  <a:cubicBezTo>
                    <a:pt x="973" y="84"/>
                    <a:pt x="973" y="84"/>
                    <a:pt x="973" y="84"/>
                  </a:cubicBezTo>
                  <a:close/>
                  <a:moveTo>
                    <a:pt x="1141" y="49"/>
                  </a:moveTo>
                  <a:cubicBezTo>
                    <a:pt x="1141" y="49"/>
                    <a:pt x="1141" y="49"/>
                    <a:pt x="1141" y="49"/>
                  </a:cubicBezTo>
                  <a:cubicBezTo>
                    <a:pt x="1141" y="49"/>
                    <a:pt x="1141" y="49"/>
                    <a:pt x="1141" y="49"/>
                  </a:cubicBezTo>
                  <a:close/>
                  <a:moveTo>
                    <a:pt x="1293" y="48"/>
                  </a:moveTo>
                  <a:cubicBezTo>
                    <a:pt x="1293" y="49"/>
                    <a:pt x="1293" y="49"/>
                    <a:pt x="1293" y="49"/>
                  </a:cubicBezTo>
                  <a:cubicBezTo>
                    <a:pt x="1293" y="49"/>
                    <a:pt x="1293" y="49"/>
                    <a:pt x="1293" y="48"/>
                  </a:cubicBezTo>
                  <a:close/>
                  <a:moveTo>
                    <a:pt x="565" y="49"/>
                  </a:moveTo>
                  <a:cubicBezTo>
                    <a:pt x="565" y="49"/>
                    <a:pt x="565" y="49"/>
                    <a:pt x="565" y="49"/>
                  </a:cubicBezTo>
                  <a:cubicBezTo>
                    <a:pt x="565" y="49"/>
                    <a:pt x="565" y="49"/>
                    <a:pt x="565" y="49"/>
                  </a:cubicBezTo>
                  <a:close/>
                  <a:moveTo>
                    <a:pt x="832" y="49"/>
                  </a:moveTo>
                  <a:cubicBezTo>
                    <a:pt x="832" y="49"/>
                    <a:pt x="832" y="49"/>
                    <a:pt x="832" y="49"/>
                  </a:cubicBezTo>
                  <a:cubicBezTo>
                    <a:pt x="832" y="49"/>
                    <a:pt x="832" y="49"/>
                    <a:pt x="832" y="49"/>
                  </a:cubicBezTo>
                  <a:close/>
                  <a:moveTo>
                    <a:pt x="875" y="49"/>
                  </a:moveTo>
                  <a:cubicBezTo>
                    <a:pt x="874" y="49"/>
                    <a:pt x="874" y="49"/>
                    <a:pt x="874" y="49"/>
                  </a:cubicBezTo>
                  <a:cubicBezTo>
                    <a:pt x="875" y="49"/>
                    <a:pt x="875" y="49"/>
                    <a:pt x="875" y="49"/>
                  </a:cubicBezTo>
                  <a:close/>
                  <a:moveTo>
                    <a:pt x="1293" y="49"/>
                  </a:moveTo>
                  <a:cubicBezTo>
                    <a:pt x="1293" y="49"/>
                    <a:pt x="1293" y="49"/>
                    <a:pt x="1293" y="49"/>
                  </a:cubicBezTo>
                  <a:cubicBezTo>
                    <a:pt x="1293" y="49"/>
                    <a:pt x="1293" y="49"/>
                    <a:pt x="1293" y="49"/>
                  </a:cubicBezTo>
                  <a:close/>
                  <a:moveTo>
                    <a:pt x="1564" y="49"/>
                  </a:moveTo>
                  <a:cubicBezTo>
                    <a:pt x="1565" y="49"/>
                    <a:pt x="1565" y="49"/>
                    <a:pt x="1565" y="49"/>
                  </a:cubicBezTo>
                  <a:cubicBezTo>
                    <a:pt x="1565" y="49"/>
                    <a:pt x="1564" y="49"/>
                    <a:pt x="1564" y="49"/>
                  </a:cubicBezTo>
                  <a:close/>
                  <a:moveTo>
                    <a:pt x="1577" y="49"/>
                  </a:moveTo>
                  <a:cubicBezTo>
                    <a:pt x="1577" y="49"/>
                    <a:pt x="1577" y="49"/>
                    <a:pt x="1577" y="49"/>
                  </a:cubicBezTo>
                  <a:cubicBezTo>
                    <a:pt x="1577" y="49"/>
                    <a:pt x="1577" y="49"/>
                    <a:pt x="1577" y="49"/>
                  </a:cubicBezTo>
                  <a:close/>
                  <a:moveTo>
                    <a:pt x="1679" y="49"/>
                  </a:moveTo>
                  <a:cubicBezTo>
                    <a:pt x="1679" y="49"/>
                    <a:pt x="1679" y="49"/>
                    <a:pt x="1679" y="49"/>
                  </a:cubicBezTo>
                  <a:cubicBezTo>
                    <a:pt x="1679" y="49"/>
                    <a:pt x="1679" y="49"/>
                    <a:pt x="1679" y="49"/>
                  </a:cubicBezTo>
                  <a:close/>
                  <a:moveTo>
                    <a:pt x="1732" y="49"/>
                  </a:moveTo>
                  <a:cubicBezTo>
                    <a:pt x="1733" y="49"/>
                    <a:pt x="1733" y="49"/>
                    <a:pt x="1733" y="49"/>
                  </a:cubicBezTo>
                  <a:cubicBezTo>
                    <a:pt x="1733" y="49"/>
                    <a:pt x="1733" y="49"/>
                    <a:pt x="1732" y="49"/>
                  </a:cubicBezTo>
                  <a:close/>
                  <a:moveTo>
                    <a:pt x="974" y="84"/>
                  </a:moveTo>
                  <a:cubicBezTo>
                    <a:pt x="974" y="85"/>
                    <a:pt x="974" y="85"/>
                    <a:pt x="974" y="85"/>
                  </a:cubicBezTo>
                  <a:cubicBezTo>
                    <a:pt x="974" y="85"/>
                    <a:pt x="974" y="85"/>
                    <a:pt x="974" y="84"/>
                  </a:cubicBezTo>
                  <a:close/>
                  <a:moveTo>
                    <a:pt x="1745" y="49"/>
                  </a:moveTo>
                  <a:cubicBezTo>
                    <a:pt x="1745" y="49"/>
                    <a:pt x="1745" y="49"/>
                    <a:pt x="1745" y="49"/>
                  </a:cubicBezTo>
                  <a:cubicBezTo>
                    <a:pt x="1745" y="49"/>
                    <a:pt x="1745" y="49"/>
                    <a:pt x="1745" y="49"/>
                  </a:cubicBezTo>
                  <a:close/>
                  <a:moveTo>
                    <a:pt x="1222" y="84"/>
                  </a:moveTo>
                  <a:cubicBezTo>
                    <a:pt x="1222" y="85"/>
                    <a:pt x="1222" y="85"/>
                    <a:pt x="1222" y="85"/>
                  </a:cubicBezTo>
                  <a:cubicBezTo>
                    <a:pt x="1222" y="85"/>
                    <a:pt x="1222" y="85"/>
                    <a:pt x="1222" y="84"/>
                  </a:cubicBezTo>
                  <a:close/>
                  <a:moveTo>
                    <a:pt x="565" y="49"/>
                  </a:moveTo>
                  <a:cubicBezTo>
                    <a:pt x="565" y="50"/>
                    <a:pt x="565" y="50"/>
                    <a:pt x="566" y="50"/>
                  </a:cubicBezTo>
                  <a:cubicBezTo>
                    <a:pt x="566" y="49"/>
                    <a:pt x="565" y="49"/>
                    <a:pt x="565" y="49"/>
                  </a:cubicBezTo>
                  <a:close/>
                  <a:moveTo>
                    <a:pt x="1142" y="50"/>
                  </a:moveTo>
                  <a:cubicBezTo>
                    <a:pt x="1142" y="49"/>
                    <a:pt x="1142" y="49"/>
                    <a:pt x="1141" y="49"/>
                  </a:cubicBezTo>
                  <a:cubicBezTo>
                    <a:pt x="1141" y="49"/>
                    <a:pt x="1142" y="50"/>
                    <a:pt x="1142" y="50"/>
                  </a:cubicBezTo>
                  <a:close/>
                  <a:moveTo>
                    <a:pt x="1393" y="49"/>
                  </a:moveTo>
                  <a:cubicBezTo>
                    <a:pt x="1392" y="49"/>
                    <a:pt x="1392" y="49"/>
                    <a:pt x="1392" y="50"/>
                  </a:cubicBezTo>
                  <a:cubicBezTo>
                    <a:pt x="1392" y="50"/>
                    <a:pt x="1393" y="49"/>
                    <a:pt x="1393" y="49"/>
                  </a:cubicBezTo>
                  <a:close/>
                  <a:moveTo>
                    <a:pt x="1564" y="50"/>
                  </a:moveTo>
                  <a:cubicBezTo>
                    <a:pt x="1564" y="50"/>
                    <a:pt x="1564" y="50"/>
                    <a:pt x="1564" y="49"/>
                  </a:cubicBezTo>
                  <a:cubicBezTo>
                    <a:pt x="1564" y="49"/>
                    <a:pt x="1564" y="50"/>
                    <a:pt x="1564" y="50"/>
                  </a:cubicBezTo>
                  <a:close/>
                  <a:moveTo>
                    <a:pt x="974" y="85"/>
                  </a:moveTo>
                  <a:cubicBezTo>
                    <a:pt x="974" y="85"/>
                    <a:pt x="974" y="85"/>
                    <a:pt x="974" y="85"/>
                  </a:cubicBezTo>
                  <a:cubicBezTo>
                    <a:pt x="974" y="85"/>
                    <a:pt x="974" y="85"/>
                    <a:pt x="974" y="85"/>
                  </a:cubicBezTo>
                  <a:close/>
                  <a:moveTo>
                    <a:pt x="1679" y="49"/>
                  </a:moveTo>
                  <a:cubicBezTo>
                    <a:pt x="1679" y="49"/>
                    <a:pt x="1678" y="49"/>
                    <a:pt x="1678" y="50"/>
                  </a:cubicBezTo>
                  <a:cubicBezTo>
                    <a:pt x="1679" y="50"/>
                    <a:pt x="1679" y="49"/>
                    <a:pt x="1679" y="49"/>
                  </a:cubicBezTo>
                  <a:close/>
                  <a:moveTo>
                    <a:pt x="1732" y="50"/>
                  </a:moveTo>
                  <a:cubicBezTo>
                    <a:pt x="1732" y="50"/>
                    <a:pt x="1732" y="50"/>
                    <a:pt x="1732" y="49"/>
                  </a:cubicBezTo>
                  <a:cubicBezTo>
                    <a:pt x="1732" y="49"/>
                    <a:pt x="1732" y="50"/>
                    <a:pt x="1732" y="50"/>
                  </a:cubicBezTo>
                  <a:close/>
                  <a:moveTo>
                    <a:pt x="1114" y="50"/>
                  </a:moveTo>
                  <a:cubicBezTo>
                    <a:pt x="1114" y="50"/>
                    <a:pt x="1114" y="50"/>
                    <a:pt x="1114" y="50"/>
                  </a:cubicBezTo>
                  <a:cubicBezTo>
                    <a:pt x="1114" y="50"/>
                    <a:pt x="1114" y="50"/>
                    <a:pt x="1114" y="50"/>
                  </a:cubicBezTo>
                  <a:close/>
                  <a:moveTo>
                    <a:pt x="1379" y="50"/>
                  </a:moveTo>
                  <a:cubicBezTo>
                    <a:pt x="1380" y="50"/>
                    <a:pt x="1380" y="50"/>
                    <a:pt x="1380" y="50"/>
                  </a:cubicBezTo>
                  <a:cubicBezTo>
                    <a:pt x="1380" y="50"/>
                    <a:pt x="1380" y="50"/>
                    <a:pt x="1379" y="50"/>
                  </a:cubicBezTo>
                  <a:close/>
                  <a:moveTo>
                    <a:pt x="1564" y="50"/>
                  </a:moveTo>
                  <a:cubicBezTo>
                    <a:pt x="1564" y="50"/>
                    <a:pt x="1564" y="50"/>
                    <a:pt x="1564" y="50"/>
                  </a:cubicBezTo>
                  <a:cubicBezTo>
                    <a:pt x="1564" y="50"/>
                    <a:pt x="1564" y="50"/>
                    <a:pt x="1564" y="50"/>
                  </a:cubicBezTo>
                  <a:close/>
                  <a:moveTo>
                    <a:pt x="1678" y="50"/>
                  </a:moveTo>
                  <a:cubicBezTo>
                    <a:pt x="1678" y="50"/>
                    <a:pt x="1678" y="50"/>
                    <a:pt x="1678" y="50"/>
                  </a:cubicBezTo>
                  <a:cubicBezTo>
                    <a:pt x="1678" y="50"/>
                    <a:pt x="1678" y="50"/>
                    <a:pt x="1678" y="50"/>
                  </a:cubicBezTo>
                  <a:close/>
                  <a:moveTo>
                    <a:pt x="1732" y="50"/>
                  </a:moveTo>
                  <a:cubicBezTo>
                    <a:pt x="1732" y="50"/>
                    <a:pt x="1732" y="50"/>
                    <a:pt x="1732" y="50"/>
                  </a:cubicBezTo>
                  <a:cubicBezTo>
                    <a:pt x="1732" y="50"/>
                    <a:pt x="1732" y="50"/>
                    <a:pt x="1732" y="50"/>
                  </a:cubicBezTo>
                  <a:close/>
                  <a:moveTo>
                    <a:pt x="874" y="50"/>
                  </a:moveTo>
                  <a:cubicBezTo>
                    <a:pt x="874" y="50"/>
                    <a:pt x="874" y="50"/>
                    <a:pt x="874" y="50"/>
                  </a:cubicBezTo>
                  <a:cubicBezTo>
                    <a:pt x="874" y="50"/>
                    <a:pt x="874" y="50"/>
                    <a:pt x="874" y="50"/>
                  </a:cubicBezTo>
                  <a:close/>
                  <a:moveTo>
                    <a:pt x="1292" y="50"/>
                  </a:moveTo>
                  <a:cubicBezTo>
                    <a:pt x="1292" y="50"/>
                    <a:pt x="1292" y="50"/>
                    <a:pt x="1292" y="50"/>
                  </a:cubicBezTo>
                  <a:cubicBezTo>
                    <a:pt x="1292" y="50"/>
                    <a:pt x="1292" y="50"/>
                    <a:pt x="1292" y="50"/>
                  </a:cubicBezTo>
                  <a:close/>
                  <a:moveTo>
                    <a:pt x="1379" y="50"/>
                  </a:moveTo>
                  <a:cubicBezTo>
                    <a:pt x="1379" y="50"/>
                    <a:pt x="1379" y="50"/>
                    <a:pt x="1379" y="50"/>
                  </a:cubicBezTo>
                  <a:cubicBezTo>
                    <a:pt x="1379" y="50"/>
                    <a:pt x="1379" y="50"/>
                    <a:pt x="1379" y="50"/>
                  </a:cubicBezTo>
                  <a:close/>
                  <a:moveTo>
                    <a:pt x="1563" y="50"/>
                  </a:moveTo>
                  <a:cubicBezTo>
                    <a:pt x="1564" y="50"/>
                    <a:pt x="1564" y="50"/>
                    <a:pt x="1564" y="50"/>
                  </a:cubicBezTo>
                  <a:cubicBezTo>
                    <a:pt x="1563" y="50"/>
                    <a:pt x="1563" y="50"/>
                    <a:pt x="1563" y="50"/>
                  </a:cubicBezTo>
                  <a:close/>
                  <a:moveTo>
                    <a:pt x="762" y="85"/>
                  </a:moveTo>
                  <a:cubicBezTo>
                    <a:pt x="762" y="85"/>
                    <a:pt x="762" y="86"/>
                    <a:pt x="763" y="86"/>
                  </a:cubicBezTo>
                  <a:cubicBezTo>
                    <a:pt x="763" y="85"/>
                    <a:pt x="762" y="85"/>
                    <a:pt x="762" y="85"/>
                  </a:cubicBezTo>
                  <a:close/>
                  <a:moveTo>
                    <a:pt x="959" y="86"/>
                  </a:moveTo>
                  <a:cubicBezTo>
                    <a:pt x="959" y="85"/>
                    <a:pt x="959" y="85"/>
                    <a:pt x="959" y="85"/>
                  </a:cubicBezTo>
                  <a:cubicBezTo>
                    <a:pt x="959" y="85"/>
                    <a:pt x="959" y="85"/>
                    <a:pt x="959" y="86"/>
                  </a:cubicBezTo>
                  <a:close/>
                  <a:moveTo>
                    <a:pt x="974" y="85"/>
                  </a:moveTo>
                  <a:cubicBezTo>
                    <a:pt x="974" y="85"/>
                    <a:pt x="974" y="85"/>
                    <a:pt x="975" y="85"/>
                  </a:cubicBezTo>
                  <a:cubicBezTo>
                    <a:pt x="975" y="85"/>
                    <a:pt x="974" y="85"/>
                    <a:pt x="974" y="85"/>
                  </a:cubicBezTo>
                  <a:close/>
                  <a:moveTo>
                    <a:pt x="1576" y="50"/>
                  </a:moveTo>
                  <a:cubicBezTo>
                    <a:pt x="1576" y="50"/>
                    <a:pt x="1576" y="50"/>
                    <a:pt x="1576" y="50"/>
                  </a:cubicBezTo>
                  <a:cubicBezTo>
                    <a:pt x="1576" y="50"/>
                    <a:pt x="1576" y="50"/>
                    <a:pt x="1576" y="50"/>
                  </a:cubicBezTo>
                  <a:close/>
                  <a:moveTo>
                    <a:pt x="1731" y="50"/>
                  </a:moveTo>
                  <a:cubicBezTo>
                    <a:pt x="1732" y="50"/>
                    <a:pt x="1732" y="50"/>
                    <a:pt x="1732" y="50"/>
                  </a:cubicBezTo>
                  <a:cubicBezTo>
                    <a:pt x="1732" y="50"/>
                    <a:pt x="1731" y="50"/>
                    <a:pt x="1731" y="50"/>
                  </a:cubicBezTo>
                  <a:close/>
                  <a:moveTo>
                    <a:pt x="1745" y="50"/>
                  </a:moveTo>
                  <a:cubicBezTo>
                    <a:pt x="1744" y="50"/>
                    <a:pt x="1744" y="50"/>
                    <a:pt x="1744" y="50"/>
                  </a:cubicBezTo>
                  <a:cubicBezTo>
                    <a:pt x="1744" y="50"/>
                    <a:pt x="1744" y="50"/>
                    <a:pt x="1745" y="50"/>
                  </a:cubicBezTo>
                  <a:close/>
                  <a:moveTo>
                    <a:pt x="1379" y="51"/>
                  </a:moveTo>
                  <a:cubicBezTo>
                    <a:pt x="1379" y="51"/>
                    <a:pt x="1379" y="51"/>
                    <a:pt x="1379" y="50"/>
                  </a:cubicBezTo>
                  <a:cubicBezTo>
                    <a:pt x="1379" y="50"/>
                    <a:pt x="1379" y="51"/>
                    <a:pt x="1379" y="51"/>
                  </a:cubicBezTo>
                  <a:close/>
                  <a:moveTo>
                    <a:pt x="1392" y="50"/>
                  </a:moveTo>
                  <a:cubicBezTo>
                    <a:pt x="1392" y="50"/>
                    <a:pt x="1392" y="50"/>
                    <a:pt x="1392" y="51"/>
                  </a:cubicBezTo>
                  <a:cubicBezTo>
                    <a:pt x="1392" y="51"/>
                    <a:pt x="1392" y="50"/>
                    <a:pt x="1392" y="50"/>
                  </a:cubicBezTo>
                  <a:close/>
                  <a:moveTo>
                    <a:pt x="568" y="51"/>
                  </a:moveTo>
                  <a:cubicBezTo>
                    <a:pt x="568" y="51"/>
                    <a:pt x="568" y="51"/>
                    <a:pt x="568" y="51"/>
                  </a:cubicBezTo>
                  <a:cubicBezTo>
                    <a:pt x="568" y="51"/>
                    <a:pt x="568" y="51"/>
                    <a:pt x="568" y="51"/>
                  </a:cubicBezTo>
                  <a:close/>
                  <a:moveTo>
                    <a:pt x="1113" y="51"/>
                  </a:moveTo>
                  <a:cubicBezTo>
                    <a:pt x="1113" y="51"/>
                    <a:pt x="1113" y="51"/>
                    <a:pt x="1113" y="51"/>
                  </a:cubicBezTo>
                  <a:cubicBezTo>
                    <a:pt x="1113" y="51"/>
                    <a:pt x="1113" y="51"/>
                    <a:pt x="1113" y="51"/>
                  </a:cubicBezTo>
                  <a:close/>
                  <a:moveTo>
                    <a:pt x="1378" y="51"/>
                  </a:moveTo>
                  <a:cubicBezTo>
                    <a:pt x="1379" y="51"/>
                    <a:pt x="1379" y="51"/>
                    <a:pt x="1379" y="51"/>
                  </a:cubicBezTo>
                  <a:cubicBezTo>
                    <a:pt x="1379" y="51"/>
                    <a:pt x="1379" y="51"/>
                    <a:pt x="1378" y="51"/>
                  </a:cubicBezTo>
                  <a:close/>
                  <a:moveTo>
                    <a:pt x="1378" y="51"/>
                  </a:moveTo>
                  <a:cubicBezTo>
                    <a:pt x="1378" y="51"/>
                    <a:pt x="1378" y="51"/>
                    <a:pt x="1379" y="51"/>
                  </a:cubicBezTo>
                  <a:cubicBezTo>
                    <a:pt x="1378" y="51"/>
                    <a:pt x="1378" y="51"/>
                    <a:pt x="1378" y="51"/>
                  </a:cubicBezTo>
                  <a:close/>
                  <a:moveTo>
                    <a:pt x="1045" y="85"/>
                  </a:moveTo>
                  <a:cubicBezTo>
                    <a:pt x="1045" y="86"/>
                    <a:pt x="1045" y="86"/>
                    <a:pt x="1045" y="86"/>
                  </a:cubicBezTo>
                  <a:cubicBezTo>
                    <a:pt x="1045" y="86"/>
                    <a:pt x="1045" y="86"/>
                    <a:pt x="1045" y="85"/>
                  </a:cubicBezTo>
                  <a:close/>
                  <a:moveTo>
                    <a:pt x="1576" y="51"/>
                  </a:moveTo>
                  <a:cubicBezTo>
                    <a:pt x="1576" y="51"/>
                    <a:pt x="1575" y="51"/>
                    <a:pt x="1575" y="51"/>
                  </a:cubicBezTo>
                  <a:cubicBezTo>
                    <a:pt x="1576" y="51"/>
                    <a:pt x="1576" y="51"/>
                    <a:pt x="1576" y="51"/>
                  </a:cubicBezTo>
                  <a:close/>
                  <a:moveTo>
                    <a:pt x="1222" y="86"/>
                  </a:moveTo>
                  <a:cubicBezTo>
                    <a:pt x="1222" y="86"/>
                    <a:pt x="1223" y="86"/>
                    <a:pt x="1223" y="86"/>
                  </a:cubicBezTo>
                  <a:cubicBezTo>
                    <a:pt x="1223" y="86"/>
                    <a:pt x="1223" y="86"/>
                    <a:pt x="1222" y="86"/>
                  </a:cubicBezTo>
                  <a:close/>
                  <a:moveTo>
                    <a:pt x="1744" y="51"/>
                  </a:moveTo>
                  <a:cubicBezTo>
                    <a:pt x="1744" y="51"/>
                    <a:pt x="1744" y="51"/>
                    <a:pt x="1744" y="51"/>
                  </a:cubicBezTo>
                  <a:cubicBezTo>
                    <a:pt x="1744" y="51"/>
                    <a:pt x="1744" y="51"/>
                    <a:pt x="1744" y="51"/>
                  </a:cubicBezTo>
                  <a:close/>
                  <a:moveTo>
                    <a:pt x="1378" y="52"/>
                  </a:moveTo>
                  <a:cubicBezTo>
                    <a:pt x="1378" y="52"/>
                    <a:pt x="1378" y="52"/>
                    <a:pt x="1378" y="51"/>
                  </a:cubicBezTo>
                  <a:cubicBezTo>
                    <a:pt x="1378" y="51"/>
                    <a:pt x="1378" y="52"/>
                    <a:pt x="1378" y="52"/>
                  </a:cubicBezTo>
                  <a:close/>
                  <a:moveTo>
                    <a:pt x="1391" y="51"/>
                  </a:moveTo>
                  <a:cubicBezTo>
                    <a:pt x="1391" y="51"/>
                    <a:pt x="1391" y="52"/>
                    <a:pt x="1391" y="52"/>
                  </a:cubicBezTo>
                  <a:cubicBezTo>
                    <a:pt x="1391" y="52"/>
                    <a:pt x="1391" y="52"/>
                    <a:pt x="1391" y="51"/>
                  </a:cubicBezTo>
                  <a:close/>
                  <a:moveTo>
                    <a:pt x="569" y="52"/>
                  </a:moveTo>
                  <a:cubicBezTo>
                    <a:pt x="569" y="52"/>
                    <a:pt x="570" y="52"/>
                    <a:pt x="570" y="52"/>
                  </a:cubicBezTo>
                  <a:cubicBezTo>
                    <a:pt x="570" y="52"/>
                    <a:pt x="570" y="52"/>
                    <a:pt x="569" y="52"/>
                  </a:cubicBezTo>
                  <a:close/>
                  <a:moveTo>
                    <a:pt x="1377" y="52"/>
                  </a:moveTo>
                  <a:cubicBezTo>
                    <a:pt x="1378" y="52"/>
                    <a:pt x="1378" y="52"/>
                    <a:pt x="1378" y="52"/>
                  </a:cubicBezTo>
                  <a:cubicBezTo>
                    <a:pt x="1378" y="52"/>
                    <a:pt x="1377" y="52"/>
                    <a:pt x="1377" y="52"/>
                  </a:cubicBezTo>
                  <a:close/>
                  <a:moveTo>
                    <a:pt x="570" y="52"/>
                  </a:moveTo>
                  <a:cubicBezTo>
                    <a:pt x="570" y="52"/>
                    <a:pt x="570" y="52"/>
                    <a:pt x="570" y="52"/>
                  </a:cubicBezTo>
                  <a:cubicBezTo>
                    <a:pt x="570" y="52"/>
                    <a:pt x="570" y="52"/>
                    <a:pt x="570" y="52"/>
                  </a:cubicBezTo>
                  <a:close/>
                  <a:moveTo>
                    <a:pt x="1377" y="53"/>
                  </a:moveTo>
                  <a:cubicBezTo>
                    <a:pt x="1377" y="52"/>
                    <a:pt x="1377" y="52"/>
                    <a:pt x="1377" y="52"/>
                  </a:cubicBezTo>
                  <a:cubicBezTo>
                    <a:pt x="1377" y="52"/>
                    <a:pt x="1377" y="52"/>
                    <a:pt x="1377" y="53"/>
                  </a:cubicBezTo>
                  <a:close/>
                  <a:moveTo>
                    <a:pt x="1575" y="52"/>
                  </a:moveTo>
                  <a:cubicBezTo>
                    <a:pt x="1575" y="52"/>
                    <a:pt x="1575" y="52"/>
                    <a:pt x="1575" y="52"/>
                  </a:cubicBezTo>
                  <a:cubicBezTo>
                    <a:pt x="1575" y="52"/>
                    <a:pt x="1575" y="52"/>
                    <a:pt x="1575" y="52"/>
                  </a:cubicBezTo>
                  <a:close/>
                  <a:moveTo>
                    <a:pt x="1743" y="52"/>
                  </a:moveTo>
                  <a:cubicBezTo>
                    <a:pt x="1743" y="52"/>
                    <a:pt x="1743" y="52"/>
                    <a:pt x="1743" y="52"/>
                  </a:cubicBezTo>
                  <a:cubicBezTo>
                    <a:pt x="1743" y="52"/>
                    <a:pt x="1743" y="52"/>
                    <a:pt x="1743" y="52"/>
                  </a:cubicBezTo>
                  <a:close/>
                  <a:moveTo>
                    <a:pt x="1045" y="86"/>
                  </a:moveTo>
                  <a:cubicBezTo>
                    <a:pt x="1045" y="86"/>
                    <a:pt x="1045" y="86"/>
                    <a:pt x="1045" y="86"/>
                  </a:cubicBezTo>
                  <a:cubicBezTo>
                    <a:pt x="1045" y="86"/>
                    <a:pt x="1045" y="86"/>
                    <a:pt x="1045" y="86"/>
                  </a:cubicBezTo>
                  <a:close/>
                  <a:moveTo>
                    <a:pt x="1377" y="53"/>
                  </a:moveTo>
                  <a:cubicBezTo>
                    <a:pt x="1377" y="53"/>
                    <a:pt x="1377" y="53"/>
                    <a:pt x="1377" y="53"/>
                  </a:cubicBezTo>
                  <a:cubicBezTo>
                    <a:pt x="1377" y="53"/>
                    <a:pt x="1377" y="53"/>
                    <a:pt x="1377" y="53"/>
                  </a:cubicBezTo>
                  <a:close/>
                  <a:moveTo>
                    <a:pt x="1575" y="52"/>
                  </a:moveTo>
                  <a:cubicBezTo>
                    <a:pt x="1574" y="52"/>
                    <a:pt x="1574" y="53"/>
                    <a:pt x="1574" y="53"/>
                  </a:cubicBezTo>
                  <a:cubicBezTo>
                    <a:pt x="1575" y="53"/>
                    <a:pt x="1575" y="53"/>
                    <a:pt x="1575" y="52"/>
                  </a:cubicBezTo>
                  <a:close/>
                  <a:moveTo>
                    <a:pt x="1676" y="52"/>
                  </a:moveTo>
                  <a:cubicBezTo>
                    <a:pt x="1675" y="52"/>
                    <a:pt x="1675" y="53"/>
                    <a:pt x="1675" y="53"/>
                  </a:cubicBezTo>
                  <a:cubicBezTo>
                    <a:pt x="1675" y="53"/>
                    <a:pt x="1676" y="53"/>
                    <a:pt x="1676" y="52"/>
                  </a:cubicBezTo>
                  <a:close/>
                  <a:moveTo>
                    <a:pt x="1743" y="52"/>
                  </a:moveTo>
                  <a:cubicBezTo>
                    <a:pt x="1743" y="52"/>
                    <a:pt x="1743" y="53"/>
                    <a:pt x="1742" y="53"/>
                  </a:cubicBezTo>
                  <a:cubicBezTo>
                    <a:pt x="1743" y="53"/>
                    <a:pt x="1743" y="53"/>
                    <a:pt x="1743" y="52"/>
                  </a:cubicBezTo>
                  <a:close/>
                  <a:moveTo>
                    <a:pt x="571" y="53"/>
                  </a:moveTo>
                  <a:cubicBezTo>
                    <a:pt x="571" y="53"/>
                    <a:pt x="571" y="53"/>
                    <a:pt x="572" y="53"/>
                  </a:cubicBezTo>
                  <a:cubicBezTo>
                    <a:pt x="571" y="53"/>
                    <a:pt x="571" y="53"/>
                    <a:pt x="571" y="53"/>
                  </a:cubicBezTo>
                  <a:close/>
                  <a:moveTo>
                    <a:pt x="1376" y="53"/>
                  </a:moveTo>
                  <a:cubicBezTo>
                    <a:pt x="1377" y="53"/>
                    <a:pt x="1377" y="53"/>
                    <a:pt x="1377" y="53"/>
                  </a:cubicBezTo>
                  <a:cubicBezTo>
                    <a:pt x="1377" y="53"/>
                    <a:pt x="1376" y="53"/>
                    <a:pt x="1376" y="53"/>
                  </a:cubicBezTo>
                  <a:close/>
                  <a:moveTo>
                    <a:pt x="1390" y="53"/>
                  </a:moveTo>
                  <a:cubicBezTo>
                    <a:pt x="1390" y="53"/>
                    <a:pt x="1390" y="53"/>
                    <a:pt x="1390" y="53"/>
                  </a:cubicBezTo>
                  <a:cubicBezTo>
                    <a:pt x="1390" y="53"/>
                    <a:pt x="1390" y="53"/>
                    <a:pt x="1390" y="53"/>
                  </a:cubicBezTo>
                  <a:close/>
                  <a:moveTo>
                    <a:pt x="1574" y="53"/>
                  </a:moveTo>
                  <a:cubicBezTo>
                    <a:pt x="1574" y="53"/>
                    <a:pt x="1574" y="53"/>
                    <a:pt x="1574" y="53"/>
                  </a:cubicBezTo>
                  <a:cubicBezTo>
                    <a:pt x="1574" y="53"/>
                    <a:pt x="1574" y="53"/>
                    <a:pt x="1574" y="53"/>
                  </a:cubicBezTo>
                  <a:close/>
                  <a:moveTo>
                    <a:pt x="763" y="86"/>
                  </a:moveTo>
                  <a:cubicBezTo>
                    <a:pt x="763" y="86"/>
                    <a:pt x="763" y="87"/>
                    <a:pt x="763" y="87"/>
                  </a:cubicBezTo>
                  <a:cubicBezTo>
                    <a:pt x="763" y="86"/>
                    <a:pt x="763" y="86"/>
                    <a:pt x="763" y="86"/>
                  </a:cubicBezTo>
                  <a:close/>
                  <a:moveTo>
                    <a:pt x="1675" y="53"/>
                  </a:moveTo>
                  <a:cubicBezTo>
                    <a:pt x="1675" y="53"/>
                    <a:pt x="1675" y="53"/>
                    <a:pt x="1675" y="53"/>
                  </a:cubicBezTo>
                  <a:cubicBezTo>
                    <a:pt x="1675" y="53"/>
                    <a:pt x="1675" y="53"/>
                    <a:pt x="1675" y="53"/>
                  </a:cubicBezTo>
                  <a:close/>
                  <a:moveTo>
                    <a:pt x="960" y="87"/>
                  </a:moveTo>
                  <a:cubicBezTo>
                    <a:pt x="960" y="86"/>
                    <a:pt x="960" y="86"/>
                    <a:pt x="959" y="86"/>
                  </a:cubicBezTo>
                  <a:cubicBezTo>
                    <a:pt x="959" y="86"/>
                    <a:pt x="959" y="86"/>
                    <a:pt x="960" y="87"/>
                  </a:cubicBezTo>
                  <a:close/>
                  <a:moveTo>
                    <a:pt x="976" y="86"/>
                  </a:moveTo>
                  <a:cubicBezTo>
                    <a:pt x="976" y="86"/>
                    <a:pt x="976" y="87"/>
                    <a:pt x="976" y="87"/>
                  </a:cubicBezTo>
                  <a:cubicBezTo>
                    <a:pt x="976" y="86"/>
                    <a:pt x="976" y="86"/>
                    <a:pt x="976" y="86"/>
                  </a:cubicBezTo>
                  <a:close/>
                  <a:moveTo>
                    <a:pt x="1743" y="53"/>
                  </a:moveTo>
                  <a:cubicBezTo>
                    <a:pt x="1742" y="53"/>
                    <a:pt x="1742" y="53"/>
                    <a:pt x="1742" y="53"/>
                  </a:cubicBezTo>
                  <a:cubicBezTo>
                    <a:pt x="1742" y="53"/>
                    <a:pt x="1742" y="53"/>
                    <a:pt x="1743" y="53"/>
                  </a:cubicBezTo>
                  <a:close/>
                  <a:moveTo>
                    <a:pt x="1741" y="54"/>
                  </a:moveTo>
                  <a:cubicBezTo>
                    <a:pt x="1741" y="54"/>
                    <a:pt x="1741" y="54"/>
                    <a:pt x="1741" y="54"/>
                  </a:cubicBezTo>
                  <a:cubicBezTo>
                    <a:pt x="1741" y="54"/>
                    <a:pt x="1741" y="54"/>
                    <a:pt x="1741" y="54"/>
                  </a:cubicBezTo>
                  <a:close/>
                  <a:moveTo>
                    <a:pt x="1083" y="86"/>
                  </a:moveTo>
                  <a:cubicBezTo>
                    <a:pt x="1083" y="87"/>
                    <a:pt x="1083" y="87"/>
                    <a:pt x="1083" y="87"/>
                  </a:cubicBezTo>
                  <a:cubicBezTo>
                    <a:pt x="1083" y="87"/>
                    <a:pt x="1083" y="87"/>
                    <a:pt x="1083" y="87"/>
                  </a:cubicBezTo>
                  <a:cubicBezTo>
                    <a:pt x="1083" y="87"/>
                    <a:pt x="1083" y="87"/>
                    <a:pt x="1083" y="86"/>
                  </a:cubicBezTo>
                  <a:close/>
                  <a:moveTo>
                    <a:pt x="1375" y="54"/>
                  </a:moveTo>
                  <a:cubicBezTo>
                    <a:pt x="1376" y="54"/>
                    <a:pt x="1376" y="54"/>
                    <a:pt x="1376" y="54"/>
                  </a:cubicBezTo>
                  <a:cubicBezTo>
                    <a:pt x="1375" y="54"/>
                    <a:pt x="1375" y="54"/>
                    <a:pt x="1375" y="54"/>
                  </a:cubicBezTo>
                  <a:close/>
                  <a:moveTo>
                    <a:pt x="1375" y="55"/>
                  </a:moveTo>
                  <a:cubicBezTo>
                    <a:pt x="1375" y="55"/>
                    <a:pt x="1375" y="55"/>
                    <a:pt x="1375" y="55"/>
                  </a:cubicBezTo>
                  <a:cubicBezTo>
                    <a:pt x="1375" y="55"/>
                    <a:pt x="1375" y="55"/>
                    <a:pt x="1375" y="55"/>
                  </a:cubicBezTo>
                  <a:close/>
                  <a:moveTo>
                    <a:pt x="1559" y="55"/>
                  </a:moveTo>
                  <a:cubicBezTo>
                    <a:pt x="1559" y="55"/>
                    <a:pt x="1559" y="55"/>
                    <a:pt x="1559" y="55"/>
                  </a:cubicBezTo>
                  <a:cubicBezTo>
                    <a:pt x="1559" y="55"/>
                    <a:pt x="1559" y="55"/>
                    <a:pt x="1559" y="55"/>
                  </a:cubicBezTo>
                  <a:close/>
                  <a:moveTo>
                    <a:pt x="1573" y="54"/>
                  </a:moveTo>
                  <a:cubicBezTo>
                    <a:pt x="1573" y="54"/>
                    <a:pt x="1573" y="55"/>
                    <a:pt x="1573" y="55"/>
                  </a:cubicBezTo>
                  <a:cubicBezTo>
                    <a:pt x="1573" y="55"/>
                    <a:pt x="1573" y="55"/>
                    <a:pt x="1573" y="54"/>
                  </a:cubicBezTo>
                  <a:close/>
                  <a:moveTo>
                    <a:pt x="1727" y="55"/>
                  </a:moveTo>
                  <a:cubicBezTo>
                    <a:pt x="1727" y="55"/>
                    <a:pt x="1727" y="55"/>
                    <a:pt x="1727" y="55"/>
                  </a:cubicBezTo>
                  <a:cubicBezTo>
                    <a:pt x="1727" y="55"/>
                    <a:pt x="1727" y="55"/>
                    <a:pt x="1727" y="55"/>
                  </a:cubicBezTo>
                  <a:close/>
                  <a:moveTo>
                    <a:pt x="1741" y="54"/>
                  </a:moveTo>
                  <a:cubicBezTo>
                    <a:pt x="1741" y="54"/>
                    <a:pt x="1741" y="55"/>
                    <a:pt x="1741" y="55"/>
                  </a:cubicBezTo>
                  <a:cubicBezTo>
                    <a:pt x="1741" y="55"/>
                    <a:pt x="1741" y="55"/>
                    <a:pt x="1741" y="54"/>
                  </a:cubicBezTo>
                  <a:close/>
                  <a:moveTo>
                    <a:pt x="1558" y="55"/>
                  </a:moveTo>
                  <a:cubicBezTo>
                    <a:pt x="1559" y="55"/>
                    <a:pt x="1559" y="55"/>
                    <a:pt x="1559" y="55"/>
                  </a:cubicBezTo>
                  <a:cubicBezTo>
                    <a:pt x="1559" y="55"/>
                    <a:pt x="1558" y="55"/>
                    <a:pt x="1558" y="55"/>
                  </a:cubicBezTo>
                  <a:close/>
                  <a:moveTo>
                    <a:pt x="763" y="87"/>
                  </a:moveTo>
                  <a:cubicBezTo>
                    <a:pt x="763" y="87"/>
                    <a:pt x="763" y="87"/>
                    <a:pt x="764" y="87"/>
                  </a:cubicBezTo>
                  <a:cubicBezTo>
                    <a:pt x="764" y="87"/>
                    <a:pt x="763" y="87"/>
                    <a:pt x="763" y="87"/>
                  </a:cubicBezTo>
                  <a:close/>
                  <a:moveTo>
                    <a:pt x="800" y="87"/>
                  </a:moveTo>
                  <a:cubicBezTo>
                    <a:pt x="800" y="87"/>
                    <a:pt x="801" y="87"/>
                    <a:pt x="801" y="87"/>
                  </a:cubicBezTo>
                  <a:cubicBezTo>
                    <a:pt x="800" y="87"/>
                    <a:pt x="800" y="87"/>
                    <a:pt x="800" y="87"/>
                  </a:cubicBezTo>
                  <a:close/>
                  <a:moveTo>
                    <a:pt x="1573" y="55"/>
                  </a:moveTo>
                  <a:cubicBezTo>
                    <a:pt x="1572" y="55"/>
                    <a:pt x="1572" y="55"/>
                    <a:pt x="1572" y="55"/>
                  </a:cubicBezTo>
                  <a:cubicBezTo>
                    <a:pt x="1572" y="55"/>
                    <a:pt x="1573" y="55"/>
                    <a:pt x="1573" y="55"/>
                  </a:cubicBezTo>
                  <a:close/>
                  <a:moveTo>
                    <a:pt x="960" y="87"/>
                  </a:moveTo>
                  <a:cubicBezTo>
                    <a:pt x="960" y="87"/>
                    <a:pt x="960" y="87"/>
                    <a:pt x="960" y="87"/>
                  </a:cubicBezTo>
                  <a:cubicBezTo>
                    <a:pt x="960" y="87"/>
                    <a:pt x="960" y="87"/>
                    <a:pt x="960" y="87"/>
                  </a:cubicBezTo>
                  <a:close/>
                  <a:moveTo>
                    <a:pt x="976" y="87"/>
                  </a:moveTo>
                  <a:cubicBezTo>
                    <a:pt x="976" y="87"/>
                    <a:pt x="976" y="87"/>
                    <a:pt x="976" y="87"/>
                  </a:cubicBezTo>
                  <a:cubicBezTo>
                    <a:pt x="976" y="87"/>
                    <a:pt x="976" y="87"/>
                    <a:pt x="976" y="87"/>
                  </a:cubicBezTo>
                  <a:close/>
                  <a:moveTo>
                    <a:pt x="1673" y="55"/>
                  </a:moveTo>
                  <a:cubicBezTo>
                    <a:pt x="1672" y="55"/>
                    <a:pt x="1672" y="55"/>
                    <a:pt x="1672" y="55"/>
                  </a:cubicBezTo>
                  <a:cubicBezTo>
                    <a:pt x="1672" y="55"/>
                    <a:pt x="1672" y="55"/>
                    <a:pt x="1673" y="55"/>
                  </a:cubicBezTo>
                  <a:close/>
                  <a:moveTo>
                    <a:pt x="1083" y="87"/>
                  </a:moveTo>
                  <a:cubicBezTo>
                    <a:pt x="1083" y="87"/>
                    <a:pt x="1083" y="87"/>
                    <a:pt x="1083" y="87"/>
                  </a:cubicBezTo>
                  <a:cubicBezTo>
                    <a:pt x="1083" y="87"/>
                    <a:pt x="1083" y="87"/>
                    <a:pt x="1083" y="87"/>
                  </a:cubicBezTo>
                  <a:close/>
                  <a:moveTo>
                    <a:pt x="1727" y="55"/>
                  </a:moveTo>
                  <a:cubicBezTo>
                    <a:pt x="1727" y="55"/>
                    <a:pt x="1727" y="55"/>
                    <a:pt x="1727" y="55"/>
                  </a:cubicBezTo>
                  <a:cubicBezTo>
                    <a:pt x="1727" y="55"/>
                    <a:pt x="1727" y="55"/>
                    <a:pt x="1727" y="55"/>
                  </a:cubicBezTo>
                  <a:close/>
                  <a:moveTo>
                    <a:pt x="1741" y="55"/>
                  </a:moveTo>
                  <a:cubicBezTo>
                    <a:pt x="1741" y="55"/>
                    <a:pt x="1740" y="55"/>
                    <a:pt x="1740" y="55"/>
                  </a:cubicBezTo>
                  <a:cubicBezTo>
                    <a:pt x="1741" y="55"/>
                    <a:pt x="1741" y="55"/>
                    <a:pt x="1741" y="55"/>
                  </a:cubicBezTo>
                  <a:close/>
                  <a:moveTo>
                    <a:pt x="575" y="55"/>
                  </a:moveTo>
                  <a:cubicBezTo>
                    <a:pt x="575" y="55"/>
                    <a:pt x="575" y="56"/>
                    <a:pt x="575" y="56"/>
                  </a:cubicBezTo>
                  <a:cubicBezTo>
                    <a:pt x="575" y="55"/>
                    <a:pt x="575" y="55"/>
                    <a:pt x="575" y="55"/>
                  </a:cubicBezTo>
                  <a:close/>
                  <a:moveTo>
                    <a:pt x="1388" y="55"/>
                  </a:moveTo>
                  <a:cubicBezTo>
                    <a:pt x="1388" y="55"/>
                    <a:pt x="1388" y="55"/>
                    <a:pt x="1388" y="55"/>
                  </a:cubicBezTo>
                  <a:cubicBezTo>
                    <a:pt x="1388" y="55"/>
                    <a:pt x="1388" y="55"/>
                    <a:pt x="1388" y="55"/>
                  </a:cubicBezTo>
                  <a:close/>
                  <a:moveTo>
                    <a:pt x="1558" y="56"/>
                  </a:moveTo>
                  <a:cubicBezTo>
                    <a:pt x="1558" y="56"/>
                    <a:pt x="1558" y="55"/>
                    <a:pt x="1558" y="55"/>
                  </a:cubicBezTo>
                  <a:cubicBezTo>
                    <a:pt x="1558" y="55"/>
                    <a:pt x="1558" y="55"/>
                    <a:pt x="1558" y="56"/>
                  </a:cubicBezTo>
                  <a:close/>
                  <a:moveTo>
                    <a:pt x="1572" y="55"/>
                  </a:moveTo>
                  <a:cubicBezTo>
                    <a:pt x="1572" y="55"/>
                    <a:pt x="1572" y="55"/>
                    <a:pt x="1572" y="56"/>
                  </a:cubicBezTo>
                  <a:cubicBezTo>
                    <a:pt x="1572" y="55"/>
                    <a:pt x="1572" y="55"/>
                    <a:pt x="1572" y="55"/>
                  </a:cubicBezTo>
                  <a:close/>
                  <a:moveTo>
                    <a:pt x="1672" y="55"/>
                  </a:moveTo>
                  <a:cubicBezTo>
                    <a:pt x="1672" y="55"/>
                    <a:pt x="1672" y="55"/>
                    <a:pt x="1671" y="56"/>
                  </a:cubicBezTo>
                  <a:cubicBezTo>
                    <a:pt x="1672" y="56"/>
                    <a:pt x="1672" y="55"/>
                    <a:pt x="1672" y="55"/>
                  </a:cubicBezTo>
                  <a:close/>
                  <a:moveTo>
                    <a:pt x="1726" y="56"/>
                  </a:moveTo>
                  <a:cubicBezTo>
                    <a:pt x="1726" y="56"/>
                    <a:pt x="1726" y="55"/>
                    <a:pt x="1727" y="55"/>
                  </a:cubicBezTo>
                  <a:cubicBezTo>
                    <a:pt x="1726" y="55"/>
                    <a:pt x="1726" y="55"/>
                    <a:pt x="1726" y="56"/>
                  </a:cubicBezTo>
                  <a:close/>
                  <a:moveTo>
                    <a:pt x="764" y="87"/>
                  </a:moveTo>
                  <a:cubicBezTo>
                    <a:pt x="764" y="87"/>
                    <a:pt x="764" y="87"/>
                    <a:pt x="764" y="87"/>
                  </a:cubicBezTo>
                  <a:cubicBezTo>
                    <a:pt x="764" y="87"/>
                    <a:pt x="764" y="87"/>
                    <a:pt x="764" y="87"/>
                  </a:cubicBezTo>
                  <a:close/>
                  <a:moveTo>
                    <a:pt x="800" y="87"/>
                  </a:moveTo>
                  <a:cubicBezTo>
                    <a:pt x="800" y="87"/>
                    <a:pt x="800" y="87"/>
                    <a:pt x="800" y="87"/>
                  </a:cubicBezTo>
                  <a:cubicBezTo>
                    <a:pt x="800" y="87"/>
                    <a:pt x="800" y="87"/>
                    <a:pt x="800" y="87"/>
                  </a:cubicBezTo>
                  <a:close/>
                  <a:moveTo>
                    <a:pt x="1740" y="55"/>
                  </a:moveTo>
                  <a:cubicBezTo>
                    <a:pt x="1740" y="55"/>
                    <a:pt x="1740" y="55"/>
                    <a:pt x="1740" y="56"/>
                  </a:cubicBezTo>
                  <a:cubicBezTo>
                    <a:pt x="1740" y="55"/>
                    <a:pt x="1740" y="55"/>
                    <a:pt x="1740" y="55"/>
                  </a:cubicBezTo>
                  <a:close/>
                  <a:moveTo>
                    <a:pt x="1388" y="55"/>
                  </a:moveTo>
                  <a:cubicBezTo>
                    <a:pt x="1388" y="56"/>
                    <a:pt x="1387" y="56"/>
                    <a:pt x="1387" y="56"/>
                  </a:cubicBezTo>
                  <a:cubicBezTo>
                    <a:pt x="1388" y="56"/>
                    <a:pt x="1388" y="56"/>
                    <a:pt x="1388" y="55"/>
                  </a:cubicBezTo>
                  <a:close/>
                  <a:moveTo>
                    <a:pt x="1572" y="56"/>
                  </a:moveTo>
                  <a:cubicBezTo>
                    <a:pt x="1572" y="56"/>
                    <a:pt x="1572" y="56"/>
                    <a:pt x="1572" y="56"/>
                  </a:cubicBezTo>
                  <a:cubicBezTo>
                    <a:pt x="1572" y="56"/>
                    <a:pt x="1572" y="56"/>
                    <a:pt x="1572" y="56"/>
                  </a:cubicBezTo>
                  <a:close/>
                  <a:moveTo>
                    <a:pt x="1505" y="6"/>
                  </a:moveTo>
                  <a:cubicBezTo>
                    <a:pt x="1505" y="6"/>
                    <a:pt x="1505" y="6"/>
                    <a:pt x="1506" y="5"/>
                  </a:cubicBezTo>
                  <a:cubicBezTo>
                    <a:pt x="1505" y="6"/>
                    <a:pt x="1505" y="6"/>
                    <a:pt x="1505" y="6"/>
                  </a:cubicBezTo>
                  <a:close/>
                  <a:moveTo>
                    <a:pt x="1046" y="87"/>
                  </a:moveTo>
                  <a:cubicBezTo>
                    <a:pt x="1046" y="87"/>
                    <a:pt x="1046" y="87"/>
                    <a:pt x="1046" y="87"/>
                  </a:cubicBezTo>
                  <a:cubicBezTo>
                    <a:pt x="1046" y="87"/>
                    <a:pt x="1046" y="87"/>
                    <a:pt x="1046" y="87"/>
                  </a:cubicBezTo>
                  <a:close/>
                  <a:moveTo>
                    <a:pt x="1505" y="6"/>
                  </a:moveTo>
                  <a:cubicBezTo>
                    <a:pt x="1505" y="6"/>
                    <a:pt x="1505" y="6"/>
                    <a:pt x="1505" y="6"/>
                  </a:cubicBezTo>
                  <a:cubicBezTo>
                    <a:pt x="1505" y="6"/>
                    <a:pt x="1505" y="6"/>
                    <a:pt x="1505" y="6"/>
                  </a:cubicBezTo>
                  <a:close/>
                  <a:moveTo>
                    <a:pt x="1740" y="56"/>
                  </a:moveTo>
                  <a:cubicBezTo>
                    <a:pt x="1740" y="56"/>
                    <a:pt x="1740" y="56"/>
                    <a:pt x="1740" y="56"/>
                  </a:cubicBezTo>
                  <a:cubicBezTo>
                    <a:pt x="1740" y="56"/>
                    <a:pt x="1740" y="56"/>
                    <a:pt x="1740" y="56"/>
                  </a:cubicBezTo>
                  <a:close/>
                  <a:moveTo>
                    <a:pt x="1224" y="87"/>
                  </a:moveTo>
                  <a:cubicBezTo>
                    <a:pt x="1224" y="87"/>
                    <a:pt x="1224" y="87"/>
                    <a:pt x="1224" y="87"/>
                  </a:cubicBezTo>
                  <a:cubicBezTo>
                    <a:pt x="1224" y="87"/>
                    <a:pt x="1224" y="87"/>
                    <a:pt x="1224" y="87"/>
                  </a:cubicBezTo>
                  <a:close/>
                  <a:moveTo>
                    <a:pt x="1504" y="7"/>
                  </a:moveTo>
                  <a:cubicBezTo>
                    <a:pt x="1504" y="7"/>
                    <a:pt x="1504" y="7"/>
                    <a:pt x="1504" y="7"/>
                  </a:cubicBezTo>
                  <a:cubicBezTo>
                    <a:pt x="1504" y="7"/>
                    <a:pt x="1504" y="7"/>
                    <a:pt x="1504" y="7"/>
                  </a:cubicBezTo>
                  <a:close/>
                  <a:moveTo>
                    <a:pt x="1503" y="7"/>
                  </a:moveTo>
                  <a:cubicBezTo>
                    <a:pt x="1504" y="7"/>
                    <a:pt x="1504" y="7"/>
                    <a:pt x="1504" y="7"/>
                  </a:cubicBezTo>
                  <a:cubicBezTo>
                    <a:pt x="1504" y="7"/>
                    <a:pt x="1503" y="7"/>
                    <a:pt x="1503" y="7"/>
                  </a:cubicBezTo>
                  <a:close/>
                  <a:moveTo>
                    <a:pt x="1503" y="7"/>
                  </a:moveTo>
                  <a:cubicBezTo>
                    <a:pt x="1503" y="7"/>
                    <a:pt x="1503" y="7"/>
                    <a:pt x="1503" y="7"/>
                  </a:cubicBezTo>
                  <a:cubicBezTo>
                    <a:pt x="1503" y="7"/>
                    <a:pt x="1503" y="7"/>
                    <a:pt x="1503" y="7"/>
                  </a:cubicBezTo>
                  <a:close/>
                  <a:moveTo>
                    <a:pt x="1727" y="55"/>
                  </a:moveTo>
                  <a:cubicBezTo>
                    <a:pt x="1727" y="55"/>
                    <a:pt x="1728" y="54"/>
                    <a:pt x="1728" y="54"/>
                  </a:cubicBezTo>
                  <a:cubicBezTo>
                    <a:pt x="1727" y="54"/>
                    <a:pt x="1727" y="54"/>
                    <a:pt x="1727" y="55"/>
                  </a:cubicBezTo>
                  <a:close/>
                  <a:moveTo>
                    <a:pt x="1502" y="8"/>
                  </a:moveTo>
                  <a:cubicBezTo>
                    <a:pt x="1502" y="8"/>
                    <a:pt x="1502" y="8"/>
                    <a:pt x="1502" y="8"/>
                  </a:cubicBezTo>
                  <a:cubicBezTo>
                    <a:pt x="1502" y="8"/>
                    <a:pt x="1502" y="8"/>
                    <a:pt x="1502" y="8"/>
                  </a:cubicBezTo>
                  <a:close/>
                  <a:moveTo>
                    <a:pt x="1373" y="56"/>
                  </a:moveTo>
                  <a:cubicBezTo>
                    <a:pt x="1373" y="56"/>
                    <a:pt x="1373" y="56"/>
                    <a:pt x="1373" y="56"/>
                  </a:cubicBezTo>
                  <a:cubicBezTo>
                    <a:pt x="1373" y="56"/>
                    <a:pt x="1373" y="56"/>
                    <a:pt x="1373" y="56"/>
                  </a:cubicBezTo>
                  <a:close/>
                  <a:moveTo>
                    <a:pt x="1387" y="56"/>
                  </a:moveTo>
                  <a:cubicBezTo>
                    <a:pt x="1387" y="56"/>
                    <a:pt x="1387" y="56"/>
                    <a:pt x="1387" y="56"/>
                  </a:cubicBezTo>
                  <a:cubicBezTo>
                    <a:pt x="1387" y="56"/>
                    <a:pt x="1387" y="56"/>
                    <a:pt x="1387" y="56"/>
                  </a:cubicBezTo>
                  <a:close/>
                  <a:moveTo>
                    <a:pt x="977" y="87"/>
                  </a:moveTo>
                  <a:cubicBezTo>
                    <a:pt x="977" y="87"/>
                    <a:pt x="977" y="88"/>
                    <a:pt x="977" y="88"/>
                  </a:cubicBezTo>
                  <a:cubicBezTo>
                    <a:pt x="977" y="87"/>
                    <a:pt x="977" y="87"/>
                    <a:pt x="977" y="87"/>
                  </a:cubicBezTo>
                  <a:close/>
                  <a:moveTo>
                    <a:pt x="1572" y="56"/>
                  </a:moveTo>
                  <a:cubicBezTo>
                    <a:pt x="1571" y="56"/>
                    <a:pt x="1571" y="56"/>
                    <a:pt x="1571" y="56"/>
                  </a:cubicBezTo>
                  <a:cubicBezTo>
                    <a:pt x="1571" y="56"/>
                    <a:pt x="1571" y="56"/>
                    <a:pt x="1572" y="56"/>
                  </a:cubicBezTo>
                  <a:close/>
                  <a:moveTo>
                    <a:pt x="1033" y="88"/>
                  </a:moveTo>
                  <a:cubicBezTo>
                    <a:pt x="1033" y="87"/>
                    <a:pt x="1033" y="87"/>
                    <a:pt x="1033" y="87"/>
                  </a:cubicBezTo>
                  <a:cubicBezTo>
                    <a:pt x="1033" y="87"/>
                    <a:pt x="1033" y="87"/>
                    <a:pt x="1033" y="88"/>
                  </a:cubicBezTo>
                  <a:close/>
                  <a:moveTo>
                    <a:pt x="1046" y="87"/>
                  </a:moveTo>
                  <a:cubicBezTo>
                    <a:pt x="1046" y="87"/>
                    <a:pt x="1046" y="88"/>
                    <a:pt x="1046" y="88"/>
                  </a:cubicBezTo>
                  <a:cubicBezTo>
                    <a:pt x="1046" y="87"/>
                    <a:pt x="1046" y="87"/>
                    <a:pt x="1046" y="87"/>
                  </a:cubicBezTo>
                  <a:close/>
                  <a:moveTo>
                    <a:pt x="1082" y="88"/>
                  </a:moveTo>
                  <a:cubicBezTo>
                    <a:pt x="1082" y="88"/>
                    <a:pt x="1082" y="88"/>
                    <a:pt x="1082" y="87"/>
                  </a:cubicBezTo>
                  <a:cubicBezTo>
                    <a:pt x="1082" y="87"/>
                    <a:pt x="1082" y="87"/>
                    <a:pt x="1082" y="88"/>
                  </a:cubicBezTo>
                  <a:close/>
                  <a:moveTo>
                    <a:pt x="1384" y="9"/>
                  </a:moveTo>
                  <a:cubicBezTo>
                    <a:pt x="1384" y="9"/>
                    <a:pt x="1384" y="9"/>
                    <a:pt x="1385" y="9"/>
                  </a:cubicBezTo>
                  <a:cubicBezTo>
                    <a:pt x="1385" y="9"/>
                    <a:pt x="1384" y="9"/>
                    <a:pt x="1384" y="9"/>
                  </a:cubicBezTo>
                  <a:close/>
                  <a:moveTo>
                    <a:pt x="1740" y="56"/>
                  </a:moveTo>
                  <a:cubicBezTo>
                    <a:pt x="1740" y="56"/>
                    <a:pt x="1739" y="56"/>
                    <a:pt x="1739" y="56"/>
                  </a:cubicBezTo>
                  <a:cubicBezTo>
                    <a:pt x="1739" y="56"/>
                    <a:pt x="1740" y="56"/>
                    <a:pt x="1740" y="56"/>
                  </a:cubicBezTo>
                  <a:close/>
                  <a:moveTo>
                    <a:pt x="1224" y="87"/>
                  </a:moveTo>
                  <a:cubicBezTo>
                    <a:pt x="1224" y="87"/>
                    <a:pt x="1224" y="88"/>
                    <a:pt x="1224" y="88"/>
                  </a:cubicBezTo>
                  <a:cubicBezTo>
                    <a:pt x="1224" y="87"/>
                    <a:pt x="1224" y="87"/>
                    <a:pt x="1224" y="87"/>
                  </a:cubicBezTo>
                  <a:close/>
                  <a:moveTo>
                    <a:pt x="1259" y="88"/>
                  </a:moveTo>
                  <a:cubicBezTo>
                    <a:pt x="1260" y="88"/>
                    <a:pt x="1260" y="87"/>
                    <a:pt x="1260" y="87"/>
                  </a:cubicBezTo>
                  <a:cubicBezTo>
                    <a:pt x="1260" y="87"/>
                    <a:pt x="1260" y="87"/>
                    <a:pt x="1259" y="88"/>
                  </a:cubicBezTo>
                  <a:close/>
                  <a:moveTo>
                    <a:pt x="576" y="56"/>
                  </a:moveTo>
                  <a:cubicBezTo>
                    <a:pt x="576" y="57"/>
                    <a:pt x="577" y="57"/>
                    <a:pt x="577" y="57"/>
                  </a:cubicBezTo>
                  <a:cubicBezTo>
                    <a:pt x="577" y="56"/>
                    <a:pt x="576" y="56"/>
                    <a:pt x="576" y="56"/>
                  </a:cubicBezTo>
                  <a:close/>
                  <a:moveTo>
                    <a:pt x="1501" y="9"/>
                  </a:moveTo>
                  <a:cubicBezTo>
                    <a:pt x="1501" y="9"/>
                    <a:pt x="1501" y="9"/>
                    <a:pt x="1501" y="9"/>
                  </a:cubicBezTo>
                  <a:cubicBezTo>
                    <a:pt x="1501" y="9"/>
                    <a:pt x="1501" y="9"/>
                    <a:pt x="1501" y="9"/>
                  </a:cubicBezTo>
                  <a:close/>
                  <a:moveTo>
                    <a:pt x="671" y="56"/>
                  </a:moveTo>
                  <a:cubicBezTo>
                    <a:pt x="671" y="56"/>
                    <a:pt x="671" y="57"/>
                    <a:pt x="671" y="57"/>
                  </a:cubicBezTo>
                  <a:cubicBezTo>
                    <a:pt x="671" y="57"/>
                    <a:pt x="671" y="56"/>
                    <a:pt x="671" y="56"/>
                  </a:cubicBezTo>
                  <a:close/>
                  <a:moveTo>
                    <a:pt x="1455" y="9"/>
                  </a:moveTo>
                  <a:cubicBezTo>
                    <a:pt x="1455" y="9"/>
                    <a:pt x="1455" y="9"/>
                    <a:pt x="1455" y="9"/>
                  </a:cubicBezTo>
                  <a:cubicBezTo>
                    <a:pt x="1455" y="9"/>
                    <a:pt x="1455" y="9"/>
                    <a:pt x="1455" y="9"/>
                  </a:cubicBezTo>
                  <a:close/>
                  <a:moveTo>
                    <a:pt x="1501" y="9"/>
                  </a:moveTo>
                  <a:cubicBezTo>
                    <a:pt x="1501" y="9"/>
                    <a:pt x="1501" y="9"/>
                    <a:pt x="1501" y="9"/>
                  </a:cubicBezTo>
                  <a:cubicBezTo>
                    <a:pt x="1501" y="9"/>
                    <a:pt x="1501" y="9"/>
                    <a:pt x="1501" y="9"/>
                  </a:cubicBezTo>
                  <a:close/>
                  <a:moveTo>
                    <a:pt x="1426" y="10"/>
                  </a:moveTo>
                  <a:cubicBezTo>
                    <a:pt x="1427" y="10"/>
                    <a:pt x="1427" y="10"/>
                    <a:pt x="1427" y="9"/>
                  </a:cubicBezTo>
                  <a:cubicBezTo>
                    <a:pt x="1427" y="9"/>
                    <a:pt x="1427" y="9"/>
                    <a:pt x="1426" y="10"/>
                  </a:cubicBezTo>
                  <a:close/>
                  <a:moveTo>
                    <a:pt x="1570" y="9"/>
                  </a:moveTo>
                  <a:cubicBezTo>
                    <a:pt x="1570" y="10"/>
                    <a:pt x="1570" y="10"/>
                    <a:pt x="1570" y="10"/>
                  </a:cubicBezTo>
                  <a:cubicBezTo>
                    <a:pt x="1570" y="9"/>
                    <a:pt x="1570" y="9"/>
                    <a:pt x="1570" y="9"/>
                  </a:cubicBezTo>
                  <a:close/>
                  <a:moveTo>
                    <a:pt x="1738" y="9"/>
                  </a:moveTo>
                  <a:cubicBezTo>
                    <a:pt x="1738" y="10"/>
                    <a:pt x="1738" y="10"/>
                    <a:pt x="1738" y="10"/>
                  </a:cubicBezTo>
                  <a:cubicBezTo>
                    <a:pt x="1738" y="9"/>
                    <a:pt x="1738" y="9"/>
                    <a:pt x="1738" y="9"/>
                  </a:cubicBezTo>
                  <a:close/>
                  <a:moveTo>
                    <a:pt x="1373" y="57"/>
                  </a:moveTo>
                  <a:cubicBezTo>
                    <a:pt x="1373" y="57"/>
                    <a:pt x="1373" y="56"/>
                    <a:pt x="1373" y="56"/>
                  </a:cubicBezTo>
                  <a:cubicBezTo>
                    <a:pt x="1373" y="56"/>
                    <a:pt x="1373" y="57"/>
                    <a:pt x="1373" y="57"/>
                  </a:cubicBezTo>
                  <a:close/>
                  <a:moveTo>
                    <a:pt x="1387" y="56"/>
                  </a:moveTo>
                  <a:cubicBezTo>
                    <a:pt x="1387" y="56"/>
                    <a:pt x="1387" y="56"/>
                    <a:pt x="1387" y="57"/>
                  </a:cubicBezTo>
                  <a:cubicBezTo>
                    <a:pt x="1387" y="57"/>
                    <a:pt x="1387" y="56"/>
                    <a:pt x="1387" y="56"/>
                  </a:cubicBezTo>
                  <a:close/>
                  <a:moveTo>
                    <a:pt x="1557" y="57"/>
                  </a:moveTo>
                  <a:cubicBezTo>
                    <a:pt x="1557" y="57"/>
                    <a:pt x="1557" y="57"/>
                    <a:pt x="1557" y="56"/>
                  </a:cubicBezTo>
                  <a:cubicBezTo>
                    <a:pt x="1557" y="56"/>
                    <a:pt x="1557" y="56"/>
                    <a:pt x="1557" y="57"/>
                  </a:cubicBezTo>
                  <a:close/>
                  <a:moveTo>
                    <a:pt x="751" y="88"/>
                  </a:moveTo>
                  <a:cubicBezTo>
                    <a:pt x="751" y="88"/>
                    <a:pt x="751" y="88"/>
                    <a:pt x="751" y="87"/>
                  </a:cubicBezTo>
                  <a:cubicBezTo>
                    <a:pt x="751" y="88"/>
                    <a:pt x="751" y="88"/>
                    <a:pt x="751" y="88"/>
                  </a:cubicBezTo>
                  <a:close/>
                  <a:moveTo>
                    <a:pt x="799" y="88"/>
                  </a:moveTo>
                  <a:cubicBezTo>
                    <a:pt x="799" y="88"/>
                    <a:pt x="799" y="88"/>
                    <a:pt x="799" y="88"/>
                  </a:cubicBezTo>
                  <a:cubicBezTo>
                    <a:pt x="799" y="88"/>
                    <a:pt x="799" y="88"/>
                    <a:pt x="799" y="88"/>
                  </a:cubicBezTo>
                  <a:close/>
                  <a:moveTo>
                    <a:pt x="961" y="88"/>
                  </a:moveTo>
                  <a:cubicBezTo>
                    <a:pt x="961" y="88"/>
                    <a:pt x="961" y="88"/>
                    <a:pt x="960" y="87"/>
                  </a:cubicBezTo>
                  <a:cubicBezTo>
                    <a:pt x="960" y="88"/>
                    <a:pt x="961" y="88"/>
                    <a:pt x="961" y="88"/>
                  </a:cubicBezTo>
                  <a:close/>
                  <a:moveTo>
                    <a:pt x="1571" y="56"/>
                  </a:moveTo>
                  <a:cubicBezTo>
                    <a:pt x="1571" y="56"/>
                    <a:pt x="1571" y="56"/>
                    <a:pt x="1571" y="57"/>
                  </a:cubicBezTo>
                  <a:cubicBezTo>
                    <a:pt x="1571" y="56"/>
                    <a:pt x="1571" y="56"/>
                    <a:pt x="1571" y="56"/>
                  </a:cubicBezTo>
                  <a:close/>
                  <a:moveTo>
                    <a:pt x="549" y="10"/>
                  </a:moveTo>
                  <a:cubicBezTo>
                    <a:pt x="549" y="10"/>
                    <a:pt x="550" y="10"/>
                    <a:pt x="550" y="10"/>
                  </a:cubicBezTo>
                  <a:cubicBezTo>
                    <a:pt x="549" y="10"/>
                    <a:pt x="549" y="10"/>
                    <a:pt x="549" y="10"/>
                  </a:cubicBezTo>
                  <a:close/>
                  <a:moveTo>
                    <a:pt x="1046" y="88"/>
                  </a:moveTo>
                  <a:cubicBezTo>
                    <a:pt x="1046" y="88"/>
                    <a:pt x="1046" y="88"/>
                    <a:pt x="1047" y="88"/>
                  </a:cubicBezTo>
                  <a:cubicBezTo>
                    <a:pt x="1047" y="88"/>
                    <a:pt x="1046" y="88"/>
                    <a:pt x="1046" y="88"/>
                  </a:cubicBezTo>
                  <a:close/>
                  <a:moveTo>
                    <a:pt x="1725" y="57"/>
                  </a:moveTo>
                  <a:cubicBezTo>
                    <a:pt x="1725" y="57"/>
                    <a:pt x="1725" y="57"/>
                    <a:pt x="1725" y="56"/>
                  </a:cubicBezTo>
                  <a:cubicBezTo>
                    <a:pt x="1725" y="56"/>
                    <a:pt x="1725" y="56"/>
                    <a:pt x="1725" y="57"/>
                  </a:cubicBezTo>
                  <a:close/>
                  <a:moveTo>
                    <a:pt x="1224" y="88"/>
                  </a:moveTo>
                  <a:cubicBezTo>
                    <a:pt x="1224" y="88"/>
                    <a:pt x="1224" y="88"/>
                    <a:pt x="1225" y="88"/>
                  </a:cubicBezTo>
                  <a:cubicBezTo>
                    <a:pt x="1224" y="88"/>
                    <a:pt x="1224" y="88"/>
                    <a:pt x="1224" y="88"/>
                  </a:cubicBezTo>
                  <a:close/>
                  <a:moveTo>
                    <a:pt x="1739" y="56"/>
                  </a:moveTo>
                  <a:cubicBezTo>
                    <a:pt x="1739" y="56"/>
                    <a:pt x="1739" y="56"/>
                    <a:pt x="1739" y="57"/>
                  </a:cubicBezTo>
                  <a:cubicBezTo>
                    <a:pt x="1739" y="56"/>
                    <a:pt x="1739" y="56"/>
                    <a:pt x="1739" y="56"/>
                  </a:cubicBezTo>
                  <a:close/>
                  <a:moveTo>
                    <a:pt x="1500" y="10"/>
                  </a:moveTo>
                  <a:cubicBezTo>
                    <a:pt x="1500" y="10"/>
                    <a:pt x="1500" y="10"/>
                    <a:pt x="1500" y="10"/>
                  </a:cubicBezTo>
                  <a:cubicBezTo>
                    <a:pt x="1500" y="10"/>
                    <a:pt x="1500" y="10"/>
                    <a:pt x="1500" y="10"/>
                  </a:cubicBezTo>
                  <a:close/>
                  <a:moveTo>
                    <a:pt x="659" y="88"/>
                  </a:moveTo>
                  <a:cubicBezTo>
                    <a:pt x="659" y="88"/>
                    <a:pt x="659" y="88"/>
                    <a:pt x="660" y="88"/>
                  </a:cubicBezTo>
                  <a:cubicBezTo>
                    <a:pt x="660" y="88"/>
                    <a:pt x="659" y="88"/>
                    <a:pt x="659" y="88"/>
                  </a:cubicBezTo>
                  <a:close/>
                  <a:moveTo>
                    <a:pt x="1537" y="10"/>
                  </a:moveTo>
                  <a:cubicBezTo>
                    <a:pt x="1537" y="10"/>
                    <a:pt x="1538" y="10"/>
                    <a:pt x="1538" y="10"/>
                  </a:cubicBezTo>
                  <a:cubicBezTo>
                    <a:pt x="1537" y="10"/>
                    <a:pt x="1537" y="10"/>
                    <a:pt x="1537" y="10"/>
                  </a:cubicBezTo>
                  <a:close/>
                  <a:moveTo>
                    <a:pt x="1705" y="10"/>
                  </a:moveTo>
                  <a:cubicBezTo>
                    <a:pt x="1705" y="10"/>
                    <a:pt x="1706" y="10"/>
                    <a:pt x="1706" y="10"/>
                  </a:cubicBezTo>
                  <a:cubicBezTo>
                    <a:pt x="1706" y="10"/>
                    <a:pt x="1705" y="10"/>
                    <a:pt x="1705" y="10"/>
                  </a:cubicBezTo>
                  <a:close/>
                  <a:moveTo>
                    <a:pt x="549" y="10"/>
                  </a:moveTo>
                  <a:cubicBezTo>
                    <a:pt x="549" y="10"/>
                    <a:pt x="549" y="10"/>
                    <a:pt x="549" y="10"/>
                  </a:cubicBezTo>
                  <a:cubicBezTo>
                    <a:pt x="549" y="10"/>
                    <a:pt x="549" y="10"/>
                    <a:pt x="549" y="10"/>
                  </a:cubicBezTo>
                  <a:close/>
                  <a:moveTo>
                    <a:pt x="961" y="88"/>
                  </a:moveTo>
                  <a:cubicBezTo>
                    <a:pt x="961" y="88"/>
                    <a:pt x="961" y="88"/>
                    <a:pt x="961" y="88"/>
                  </a:cubicBezTo>
                  <a:cubicBezTo>
                    <a:pt x="961" y="88"/>
                    <a:pt x="961" y="88"/>
                    <a:pt x="961" y="88"/>
                  </a:cubicBezTo>
                  <a:close/>
                  <a:moveTo>
                    <a:pt x="978" y="88"/>
                  </a:moveTo>
                  <a:cubicBezTo>
                    <a:pt x="978" y="88"/>
                    <a:pt x="978" y="88"/>
                    <a:pt x="978" y="88"/>
                  </a:cubicBezTo>
                  <a:cubicBezTo>
                    <a:pt x="978" y="88"/>
                    <a:pt x="978" y="88"/>
                    <a:pt x="978" y="88"/>
                  </a:cubicBezTo>
                  <a:close/>
                  <a:moveTo>
                    <a:pt x="1018" y="88"/>
                  </a:moveTo>
                  <a:cubicBezTo>
                    <a:pt x="1018" y="88"/>
                    <a:pt x="1019" y="88"/>
                    <a:pt x="1019" y="88"/>
                  </a:cubicBezTo>
                  <a:cubicBezTo>
                    <a:pt x="1018" y="88"/>
                    <a:pt x="1018" y="88"/>
                    <a:pt x="1018" y="88"/>
                  </a:cubicBezTo>
                  <a:close/>
                  <a:moveTo>
                    <a:pt x="1033" y="88"/>
                  </a:moveTo>
                  <a:cubicBezTo>
                    <a:pt x="1033" y="88"/>
                    <a:pt x="1033" y="88"/>
                    <a:pt x="1033" y="88"/>
                  </a:cubicBezTo>
                  <a:cubicBezTo>
                    <a:pt x="1033" y="88"/>
                    <a:pt x="1033" y="88"/>
                    <a:pt x="1033" y="88"/>
                  </a:cubicBezTo>
                  <a:close/>
                  <a:moveTo>
                    <a:pt x="1047" y="88"/>
                  </a:moveTo>
                  <a:cubicBezTo>
                    <a:pt x="1047" y="88"/>
                    <a:pt x="1047" y="88"/>
                    <a:pt x="1047" y="88"/>
                  </a:cubicBezTo>
                  <a:cubicBezTo>
                    <a:pt x="1047" y="88"/>
                    <a:pt x="1047" y="88"/>
                    <a:pt x="1047" y="88"/>
                  </a:cubicBezTo>
                  <a:close/>
                  <a:moveTo>
                    <a:pt x="1080" y="88"/>
                  </a:moveTo>
                  <a:cubicBezTo>
                    <a:pt x="1081" y="88"/>
                    <a:pt x="1081" y="88"/>
                    <a:pt x="1081" y="88"/>
                  </a:cubicBezTo>
                  <a:cubicBezTo>
                    <a:pt x="1081" y="88"/>
                    <a:pt x="1081" y="88"/>
                    <a:pt x="1080" y="88"/>
                  </a:cubicBezTo>
                  <a:close/>
                  <a:moveTo>
                    <a:pt x="1352" y="10"/>
                  </a:moveTo>
                  <a:cubicBezTo>
                    <a:pt x="1353" y="10"/>
                    <a:pt x="1353" y="10"/>
                    <a:pt x="1353" y="10"/>
                  </a:cubicBezTo>
                  <a:cubicBezTo>
                    <a:pt x="1353" y="10"/>
                    <a:pt x="1352" y="10"/>
                    <a:pt x="1352" y="10"/>
                  </a:cubicBezTo>
                  <a:close/>
                  <a:moveTo>
                    <a:pt x="1224" y="88"/>
                  </a:moveTo>
                  <a:cubicBezTo>
                    <a:pt x="1225" y="88"/>
                    <a:pt x="1225" y="88"/>
                    <a:pt x="1225" y="88"/>
                  </a:cubicBezTo>
                  <a:cubicBezTo>
                    <a:pt x="1225" y="88"/>
                    <a:pt x="1225" y="88"/>
                    <a:pt x="1224" y="88"/>
                  </a:cubicBezTo>
                  <a:close/>
                  <a:moveTo>
                    <a:pt x="1258" y="88"/>
                  </a:moveTo>
                  <a:cubicBezTo>
                    <a:pt x="1259" y="88"/>
                    <a:pt x="1259" y="88"/>
                    <a:pt x="1259" y="88"/>
                  </a:cubicBezTo>
                  <a:cubicBezTo>
                    <a:pt x="1259" y="88"/>
                    <a:pt x="1258" y="88"/>
                    <a:pt x="1258" y="88"/>
                  </a:cubicBezTo>
                  <a:close/>
                  <a:moveTo>
                    <a:pt x="1387" y="10"/>
                  </a:moveTo>
                  <a:cubicBezTo>
                    <a:pt x="1387" y="10"/>
                    <a:pt x="1387" y="10"/>
                    <a:pt x="1387" y="10"/>
                  </a:cubicBezTo>
                  <a:cubicBezTo>
                    <a:pt x="1387" y="10"/>
                    <a:pt x="1387" y="10"/>
                    <a:pt x="1387" y="10"/>
                  </a:cubicBezTo>
                  <a:close/>
                  <a:moveTo>
                    <a:pt x="1739" y="10"/>
                  </a:moveTo>
                  <a:cubicBezTo>
                    <a:pt x="1739" y="10"/>
                    <a:pt x="1739" y="10"/>
                    <a:pt x="1739" y="10"/>
                  </a:cubicBezTo>
                  <a:cubicBezTo>
                    <a:pt x="1739" y="10"/>
                    <a:pt x="1739" y="10"/>
                    <a:pt x="1739" y="10"/>
                  </a:cubicBezTo>
                  <a:close/>
                  <a:moveTo>
                    <a:pt x="1425" y="11"/>
                  </a:moveTo>
                  <a:cubicBezTo>
                    <a:pt x="1425" y="11"/>
                    <a:pt x="1425" y="11"/>
                    <a:pt x="1425" y="10"/>
                  </a:cubicBezTo>
                  <a:cubicBezTo>
                    <a:pt x="1425" y="10"/>
                    <a:pt x="1425" y="11"/>
                    <a:pt x="1425" y="11"/>
                  </a:cubicBezTo>
                  <a:close/>
                  <a:moveTo>
                    <a:pt x="1387" y="57"/>
                  </a:moveTo>
                  <a:cubicBezTo>
                    <a:pt x="1387" y="57"/>
                    <a:pt x="1386" y="57"/>
                    <a:pt x="1386" y="57"/>
                  </a:cubicBezTo>
                  <a:cubicBezTo>
                    <a:pt x="1387" y="57"/>
                    <a:pt x="1387" y="57"/>
                    <a:pt x="1387" y="57"/>
                  </a:cubicBezTo>
                  <a:close/>
                  <a:moveTo>
                    <a:pt x="1682" y="88"/>
                  </a:moveTo>
                  <a:cubicBezTo>
                    <a:pt x="1682" y="88"/>
                    <a:pt x="1682" y="88"/>
                    <a:pt x="1682" y="88"/>
                  </a:cubicBezTo>
                  <a:cubicBezTo>
                    <a:pt x="1682" y="88"/>
                    <a:pt x="1682" y="88"/>
                    <a:pt x="1682" y="88"/>
                  </a:cubicBezTo>
                  <a:close/>
                  <a:moveTo>
                    <a:pt x="1556" y="57"/>
                  </a:moveTo>
                  <a:cubicBezTo>
                    <a:pt x="1557" y="57"/>
                    <a:pt x="1557" y="57"/>
                    <a:pt x="1557" y="57"/>
                  </a:cubicBezTo>
                  <a:cubicBezTo>
                    <a:pt x="1557" y="57"/>
                    <a:pt x="1556" y="57"/>
                    <a:pt x="1556" y="57"/>
                  </a:cubicBezTo>
                  <a:close/>
                  <a:moveTo>
                    <a:pt x="1571" y="57"/>
                  </a:moveTo>
                  <a:cubicBezTo>
                    <a:pt x="1571" y="57"/>
                    <a:pt x="1571" y="57"/>
                    <a:pt x="1571" y="57"/>
                  </a:cubicBezTo>
                  <a:cubicBezTo>
                    <a:pt x="1571" y="57"/>
                    <a:pt x="1571" y="57"/>
                    <a:pt x="1571" y="57"/>
                  </a:cubicBezTo>
                  <a:close/>
                  <a:moveTo>
                    <a:pt x="1457" y="10"/>
                  </a:moveTo>
                  <a:cubicBezTo>
                    <a:pt x="1457" y="11"/>
                    <a:pt x="1457" y="11"/>
                    <a:pt x="1457" y="11"/>
                  </a:cubicBezTo>
                  <a:cubicBezTo>
                    <a:pt x="1457" y="11"/>
                    <a:pt x="1457" y="10"/>
                    <a:pt x="1457" y="10"/>
                  </a:cubicBezTo>
                  <a:close/>
                  <a:moveTo>
                    <a:pt x="1724" y="57"/>
                  </a:moveTo>
                  <a:cubicBezTo>
                    <a:pt x="1725" y="57"/>
                    <a:pt x="1725" y="57"/>
                    <a:pt x="1725" y="57"/>
                  </a:cubicBezTo>
                  <a:cubicBezTo>
                    <a:pt x="1725" y="57"/>
                    <a:pt x="1725" y="57"/>
                    <a:pt x="1724" y="57"/>
                  </a:cubicBezTo>
                  <a:close/>
                  <a:moveTo>
                    <a:pt x="751" y="89"/>
                  </a:moveTo>
                  <a:cubicBezTo>
                    <a:pt x="752" y="88"/>
                    <a:pt x="751" y="88"/>
                    <a:pt x="751" y="88"/>
                  </a:cubicBezTo>
                  <a:cubicBezTo>
                    <a:pt x="751" y="88"/>
                    <a:pt x="751" y="89"/>
                    <a:pt x="751" y="89"/>
                  </a:cubicBezTo>
                  <a:close/>
                  <a:moveTo>
                    <a:pt x="798" y="89"/>
                  </a:moveTo>
                  <a:cubicBezTo>
                    <a:pt x="798" y="89"/>
                    <a:pt x="798" y="89"/>
                    <a:pt x="798" y="88"/>
                  </a:cubicBezTo>
                  <a:cubicBezTo>
                    <a:pt x="798" y="88"/>
                    <a:pt x="798" y="88"/>
                    <a:pt x="798" y="89"/>
                  </a:cubicBezTo>
                  <a:close/>
                  <a:moveTo>
                    <a:pt x="1739" y="57"/>
                  </a:moveTo>
                  <a:cubicBezTo>
                    <a:pt x="1739" y="57"/>
                    <a:pt x="1739" y="57"/>
                    <a:pt x="1739" y="57"/>
                  </a:cubicBezTo>
                  <a:cubicBezTo>
                    <a:pt x="1739" y="57"/>
                    <a:pt x="1739" y="57"/>
                    <a:pt x="1739" y="57"/>
                  </a:cubicBezTo>
                  <a:close/>
                  <a:moveTo>
                    <a:pt x="979" y="88"/>
                  </a:moveTo>
                  <a:cubicBezTo>
                    <a:pt x="979" y="89"/>
                    <a:pt x="979" y="89"/>
                    <a:pt x="979" y="89"/>
                  </a:cubicBezTo>
                  <a:cubicBezTo>
                    <a:pt x="979" y="88"/>
                    <a:pt x="979" y="88"/>
                    <a:pt x="979" y="88"/>
                  </a:cubicBezTo>
                  <a:close/>
                  <a:moveTo>
                    <a:pt x="1017" y="89"/>
                  </a:moveTo>
                  <a:cubicBezTo>
                    <a:pt x="1018" y="89"/>
                    <a:pt x="1018" y="89"/>
                    <a:pt x="1018" y="88"/>
                  </a:cubicBezTo>
                  <a:cubicBezTo>
                    <a:pt x="1018" y="88"/>
                    <a:pt x="1018" y="88"/>
                    <a:pt x="1017" y="89"/>
                  </a:cubicBezTo>
                  <a:close/>
                  <a:moveTo>
                    <a:pt x="1047" y="88"/>
                  </a:moveTo>
                  <a:cubicBezTo>
                    <a:pt x="1047" y="89"/>
                    <a:pt x="1047" y="89"/>
                    <a:pt x="1047" y="89"/>
                  </a:cubicBezTo>
                  <a:cubicBezTo>
                    <a:pt x="1047" y="89"/>
                    <a:pt x="1047" y="88"/>
                    <a:pt x="1047" y="88"/>
                  </a:cubicBezTo>
                  <a:close/>
                  <a:moveTo>
                    <a:pt x="577" y="57"/>
                  </a:moveTo>
                  <a:cubicBezTo>
                    <a:pt x="577" y="57"/>
                    <a:pt x="578" y="57"/>
                    <a:pt x="578" y="57"/>
                  </a:cubicBezTo>
                  <a:cubicBezTo>
                    <a:pt x="578" y="57"/>
                    <a:pt x="578" y="57"/>
                    <a:pt x="577" y="57"/>
                  </a:cubicBezTo>
                  <a:close/>
                  <a:moveTo>
                    <a:pt x="548" y="11"/>
                  </a:moveTo>
                  <a:cubicBezTo>
                    <a:pt x="548" y="11"/>
                    <a:pt x="548" y="11"/>
                    <a:pt x="548" y="11"/>
                  </a:cubicBezTo>
                  <a:cubicBezTo>
                    <a:pt x="548" y="11"/>
                    <a:pt x="548" y="11"/>
                    <a:pt x="548" y="11"/>
                  </a:cubicBezTo>
                  <a:close/>
                  <a:moveTo>
                    <a:pt x="1225" y="88"/>
                  </a:moveTo>
                  <a:cubicBezTo>
                    <a:pt x="1225" y="89"/>
                    <a:pt x="1225" y="89"/>
                    <a:pt x="1225" y="89"/>
                  </a:cubicBezTo>
                  <a:cubicBezTo>
                    <a:pt x="1225" y="88"/>
                    <a:pt x="1225" y="88"/>
                    <a:pt x="1225" y="88"/>
                  </a:cubicBezTo>
                  <a:close/>
                  <a:moveTo>
                    <a:pt x="1388" y="11"/>
                  </a:moveTo>
                  <a:cubicBezTo>
                    <a:pt x="1388" y="11"/>
                    <a:pt x="1388" y="11"/>
                    <a:pt x="1388" y="11"/>
                  </a:cubicBezTo>
                  <a:cubicBezTo>
                    <a:pt x="1388" y="11"/>
                    <a:pt x="1388" y="11"/>
                    <a:pt x="1388" y="11"/>
                  </a:cubicBezTo>
                  <a:close/>
                  <a:moveTo>
                    <a:pt x="1386" y="57"/>
                  </a:moveTo>
                  <a:cubicBezTo>
                    <a:pt x="1386" y="57"/>
                    <a:pt x="1386" y="57"/>
                    <a:pt x="1386" y="57"/>
                  </a:cubicBezTo>
                  <a:cubicBezTo>
                    <a:pt x="1386" y="57"/>
                    <a:pt x="1386" y="57"/>
                    <a:pt x="1386" y="57"/>
                  </a:cubicBezTo>
                  <a:close/>
                  <a:moveTo>
                    <a:pt x="1556" y="57"/>
                  </a:moveTo>
                  <a:cubicBezTo>
                    <a:pt x="1556" y="57"/>
                    <a:pt x="1556" y="57"/>
                    <a:pt x="1556" y="57"/>
                  </a:cubicBezTo>
                  <a:cubicBezTo>
                    <a:pt x="1556" y="57"/>
                    <a:pt x="1556" y="57"/>
                    <a:pt x="1556" y="57"/>
                  </a:cubicBezTo>
                  <a:close/>
                  <a:moveTo>
                    <a:pt x="1571" y="57"/>
                  </a:moveTo>
                  <a:cubicBezTo>
                    <a:pt x="1570" y="57"/>
                    <a:pt x="1570" y="57"/>
                    <a:pt x="1570" y="57"/>
                  </a:cubicBezTo>
                  <a:cubicBezTo>
                    <a:pt x="1570" y="57"/>
                    <a:pt x="1570" y="57"/>
                    <a:pt x="1571" y="57"/>
                  </a:cubicBezTo>
                  <a:close/>
                  <a:moveTo>
                    <a:pt x="1424" y="11"/>
                  </a:moveTo>
                  <a:cubicBezTo>
                    <a:pt x="1425" y="11"/>
                    <a:pt x="1425" y="11"/>
                    <a:pt x="1425" y="11"/>
                  </a:cubicBezTo>
                  <a:cubicBezTo>
                    <a:pt x="1425" y="11"/>
                    <a:pt x="1424" y="11"/>
                    <a:pt x="1424" y="11"/>
                  </a:cubicBezTo>
                  <a:close/>
                  <a:moveTo>
                    <a:pt x="1724" y="57"/>
                  </a:moveTo>
                  <a:cubicBezTo>
                    <a:pt x="1724" y="57"/>
                    <a:pt x="1724" y="57"/>
                    <a:pt x="1724" y="57"/>
                  </a:cubicBezTo>
                  <a:cubicBezTo>
                    <a:pt x="1724" y="57"/>
                    <a:pt x="1724" y="57"/>
                    <a:pt x="1724" y="57"/>
                  </a:cubicBezTo>
                  <a:close/>
                  <a:moveTo>
                    <a:pt x="1739" y="57"/>
                  </a:moveTo>
                  <a:cubicBezTo>
                    <a:pt x="1738" y="57"/>
                    <a:pt x="1738" y="57"/>
                    <a:pt x="1738" y="57"/>
                  </a:cubicBezTo>
                  <a:cubicBezTo>
                    <a:pt x="1738" y="57"/>
                    <a:pt x="1739" y="57"/>
                    <a:pt x="1739" y="57"/>
                  </a:cubicBezTo>
                  <a:close/>
                  <a:moveTo>
                    <a:pt x="578" y="57"/>
                  </a:moveTo>
                  <a:cubicBezTo>
                    <a:pt x="578" y="58"/>
                    <a:pt x="578" y="58"/>
                    <a:pt x="578" y="58"/>
                  </a:cubicBezTo>
                  <a:cubicBezTo>
                    <a:pt x="578" y="58"/>
                    <a:pt x="578" y="57"/>
                    <a:pt x="578" y="57"/>
                  </a:cubicBezTo>
                  <a:close/>
                  <a:moveTo>
                    <a:pt x="1498" y="11"/>
                  </a:moveTo>
                  <a:cubicBezTo>
                    <a:pt x="1498" y="11"/>
                    <a:pt x="1498" y="11"/>
                    <a:pt x="1498" y="11"/>
                  </a:cubicBezTo>
                  <a:cubicBezTo>
                    <a:pt x="1498" y="11"/>
                    <a:pt x="1498" y="11"/>
                    <a:pt x="1498" y="11"/>
                  </a:cubicBezTo>
                  <a:close/>
                  <a:moveTo>
                    <a:pt x="1535" y="11"/>
                  </a:moveTo>
                  <a:cubicBezTo>
                    <a:pt x="1536" y="11"/>
                    <a:pt x="1536" y="11"/>
                    <a:pt x="1536" y="11"/>
                  </a:cubicBezTo>
                  <a:cubicBezTo>
                    <a:pt x="1536" y="11"/>
                    <a:pt x="1535" y="11"/>
                    <a:pt x="1535" y="11"/>
                  </a:cubicBezTo>
                  <a:close/>
                  <a:moveTo>
                    <a:pt x="1572" y="11"/>
                  </a:moveTo>
                  <a:cubicBezTo>
                    <a:pt x="1572" y="11"/>
                    <a:pt x="1572" y="11"/>
                    <a:pt x="1572" y="11"/>
                  </a:cubicBezTo>
                  <a:cubicBezTo>
                    <a:pt x="1572" y="11"/>
                    <a:pt x="1572" y="11"/>
                    <a:pt x="1572" y="11"/>
                  </a:cubicBezTo>
                  <a:close/>
                  <a:moveTo>
                    <a:pt x="1034" y="89"/>
                  </a:moveTo>
                  <a:cubicBezTo>
                    <a:pt x="1034" y="89"/>
                    <a:pt x="1034" y="89"/>
                    <a:pt x="1034" y="88"/>
                  </a:cubicBezTo>
                  <a:cubicBezTo>
                    <a:pt x="1034" y="89"/>
                    <a:pt x="1034" y="89"/>
                    <a:pt x="1034" y="89"/>
                  </a:cubicBezTo>
                  <a:close/>
                  <a:moveTo>
                    <a:pt x="1047" y="89"/>
                  </a:moveTo>
                  <a:cubicBezTo>
                    <a:pt x="1047" y="89"/>
                    <a:pt x="1048" y="89"/>
                    <a:pt x="1048" y="89"/>
                  </a:cubicBezTo>
                  <a:cubicBezTo>
                    <a:pt x="1048" y="89"/>
                    <a:pt x="1047" y="89"/>
                    <a:pt x="1047" y="89"/>
                  </a:cubicBezTo>
                  <a:close/>
                  <a:moveTo>
                    <a:pt x="1079" y="89"/>
                  </a:moveTo>
                  <a:cubicBezTo>
                    <a:pt x="1080" y="89"/>
                    <a:pt x="1080" y="89"/>
                    <a:pt x="1080" y="89"/>
                  </a:cubicBezTo>
                  <a:cubicBezTo>
                    <a:pt x="1080" y="89"/>
                    <a:pt x="1080" y="89"/>
                    <a:pt x="1079" y="89"/>
                  </a:cubicBezTo>
                  <a:close/>
                  <a:moveTo>
                    <a:pt x="671" y="57"/>
                  </a:moveTo>
                  <a:cubicBezTo>
                    <a:pt x="671" y="58"/>
                    <a:pt x="672" y="58"/>
                    <a:pt x="672" y="58"/>
                  </a:cubicBezTo>
                  <a:cubicBezTo>
                    <a:pt x="672" y="58"/>
                    <a:pt x="672" y="57"/>
                    <a:pt x="671" y="57"/>
                  </a:cubicBezTo>
                  <a:close/>
                  <a:moveTo>
                    <a:pt x="1225" y="89"/>
                  </a:moveTo>
                  <a:cubicBezTo>
                    <a:pt x="1225" y="89"/>
                    <a:pt x="1225" y="89"/>
                    <a:pt x="1226" y="89"/>
                  </a:cubicBezTo>
                  <a:cubicBezTo>
                    <a:pt x="1226" y="89"/>
                    <a:pt x="1225" y="89"/>
                    <a:pt x="1225" y="89"/>
                  </a:cubicBezTo>
                  <a:close/>
                  <a:moveTo>
                    <a:pt x="1257" y="89"/>
                  </a:moveTo>
                  <a:cubicBezTo>
                    <a:pt x="1257" y="89"/>
                    <a:pt x="1258" y="89"/>
                    <a:pt x="1258" y="89"/>
                  </a:cubicBezTo>
                  <a:cubicBezTo>
                    <a:pt x="1258" y="89"/>
                    <a:pt x="1257" y="89"/>
                    <a:pt x="1257" y="89"/>
                  </a:cubicBezTo>
                  <a:close/>
                  <a:moveTo>
                    <a:pt x="1704" y="11"/>
                  </a:moveTo>
                  <a:cubicBezTo>
                    <a:pt x="1704" y="11"/>
                    <a:pt x="1704" y="11"/>
                    <a:pt x="1704" y="11"/>
                  </a:cubicBezTo>
                  <a:cubicBezTo>
                    <a:pt x="1704" y="11"/>
                    <a:pt x="1704" y="11"/>
                    <a:pt x="1704" y="11"/>
                  </a:cubicBezTo>
                  <a:close/>
                  <a:moveTo>
                    <a:pt x="1740" y="11"/>
                  </a:moveTo>
                  <a:cubicBezTo>
                    <a:pt x="1740" y="11"/>
                    <a:pt x="1740" y="11"/>
                    <a:pt x="1740" y="11"/>
                  </a:cubicBezTo>
                  <a:cubicBezTo>
                    <a:pt x="1740" y="11"/>
                    <a:pt x="1740" y="11"/>
                    <a:pt x="1740" y="11"/>
                  </a:cubicBezTo>
                  <a:close/>
                  <a:moveTo>
                    <a:pt x="1371" y="58"/>
                  </a:moveTo>
                  <a:cubicBezTo>
                    <a:pt x="1371" y="58"/>
                    <a:pt x="1371" y="58"/>
                    <a:pt x="1372" y="57"/>
                  </a:cubicBezTo>
                  <a:cubicBezTo>
                    <a:pt x="1371" y="57"/>
                    <a:pt x="1371" y="58"/>
                    <a:pt x="1371" y="58"/>
                  </a:cubicBezTo>
                  <a:close/>
                  <a:moveTo>
                    <a:pt x="1386" y="57"/>
                  </a:moveTo>
                  <a:cubicBezTo>
                    <a:pt x="1386" y="57"/>
                    <a:pt x="1386" y="57"/>
                    <a:pt x="1386" y="58"/>
                  </a:cubicBezTo>
                  <a:cubicBezTo>
                    <a:pt x="1386" y="58"/>
                    <a:pt x="1386" y="57"/>
                    <a:pt x="1386" y="57"/>
                  </a:cubicBezTo>
                  <a:close/>
                  <a:moveTo>
                    <a:pt x="1388" y="11"/>
                  </a:moveTo>
                  <a:cubicBezTo>
                    <a:pt x="1388" y="11"/>
                    <a:pt x="1388" y="11"/>
                    <a:pt x="1389" y="11"/>
                  </a:cubicBezTo>
                  <a:cubicBezTo>
                    <a:pt x="1388" y="11"/>
                    <a:pt x="1388" y="11"/>
                    <a:pt x="1388" y="11"/>
                  </a:cubicBezTo>
                  <a:close/>
                  <a:moveTo>
                    <a:pt x="1570" y="57"/>
                  </a:moveTo>
                  <a:cubicBezTo>
                    <a:pt x="1570" y="57"/>
                    <a:pt x="1570" y="57"/>
                    <a:pt x="1570" y="58"/>
                  </a:cubicBezTo>
                  <a:cubicBezTo>
                    <a:pt x="1570" y="58"/>
                    <a:pt x="1570" y="57"/>
                    <a:pt x="1570" y="57"/>
                  </a:cubicBezTo>
                  <a:close/>
                  <a:moveTo>
                    <a:pt x="661" y="89"/>
                  </a:moveTo>
                  <a:cubicBezTo>
                    <a:pt x="661" y="89"/>
                    <a:pt x="661" y="89"/>
                    <a:pt x="661" y="89"/>
                  </a:cubicBezTo>
                  <a:cubicBezTo>
                    <a:pt x="661" y="89"/>
                    <a:pt x="661" y="89"/>
                    <a:pt x="661" y="89"/>
                  </a:cubicBezTo>
                  <a:close/>
                  <a:moveTo>
                    <a:pt x="687" y="89"/>
                  </a:moveTo>
                  <a:cubicBezTo>
                    <a:pt x="687" y="89"/>
                    <a:pt x="687" y="89"/>
                    <a:pt x="687" y="89"/>
                  </a:cubicBezTo>
                  <a:cubicBezTo>
                    <a:pt x="687" y="89"/>
                    <a:pt x="687" y="89"/>
                    <a:pt x="687" y="89"/>
                  </a:cubicBezTo>
                  <a:close/>
                  <a:moveTo>
                    <a:pt x="766" y="89"/>
                  </a:moveTo>
                  <a:cubicBezTo>
                    <a:pt x="766" y="89"/>
                    <a:pt x="766" y="89"/>
                    <a:pt x="766" y="89"/>
                  </a:cubicBezTo>
                  <a:cubicBezTo>
                    <a:pt x="766" y="89"/>
                    <a:pt x="766" y="89"/>
                    <a:pt x="766" y="89"/>
                  </a:cubicBezTo>
                  <a:close/>
                  <a:moveTo>
                    <a:pt x="797" y="89"/>
                  </a:moveTo>
                  <a:cubicBezTo>
                    <a:pt x="797" y="89"/>
                    <a:pt x="797" y="89"/>
                    <a:pt x="797" y="89"/>
                  </a:cubicBezTo>
                  <a:cubicBezTo>
                    <a:pt x="797" y="89"/>
                    <a:pt x="797" y="89"/>
                    <a:pt x="797" y="89"/>
                  </a:cubicBezTo>
                  <a:close/>
                  <a:moveTo>
                    <a:pt x="1672" y="11"/>
                  </a:moveTo>
                  <a:cubicBezTo>
                    <a:pt x="1673" y="11"/>
                    <a:pt x="1673" y="11"/>
                    <a:pt x="1673" y="11"/>
                  </a:cubicBezTo>
                  <a:cubicBezTo>
                    <a:pt x="1673" y="11"/>
                    <a:pt x="1673" y="11"/>
                    <a:pt x="1672" y="11"/>
                  </a:cubicBezTo>
                  <a:close/>
                  <a:moveTo>
                    <a:pt x="546" y="12"/>
                  </a:moveTo>
                  <a:cubicBezTo>
                    <a:pt x="547" y="12"/>
                    <a:pt x="547" y="12"/>
                    <a:pt x="547" y="11"/>
                  </a:cubicBezTo>
                  <a:cubicBezTo>
                    <a:pt x="547" y="11"/>
                    <a:pt x="547" y="12"/>
                    <a:pt x="546" y="12"/>
                  </a:cubicBezTo>
                  <a:close/>
                  <a:moveTo>
                    <a:pt x="1738" y="57"/>
                  </a:moveTo>
                  <a:cubicBezTo>
                    <a:pt x="1738" y="57"/>
                    <a:pt x="1738" y="57"/>
                    <a:pt x="1738" y="58"/>
                  </a:cubicBezTo>
                  <a:cubicBezTo>
                    <a:pt x="1738" y="58"/>
                    <a:pt x="1738" y="57"/>
                    <a:pt x="1738" y="57"/>
                  </a:cubicBezTo>
                  <a:close/>
                  <a:moveTo>
                    <a:pt x="1048" y="89"/>
                  </a:moveTo>
                  <a:cubicBezTo>
                    <a:pt x="1048" y="89"/>
                    <a:pt x="1048" y="89"/>
                    <a:pt x="1048" y="89"/>
                  </a:cubicBezTo>
                  <a:cubicBezTo>
                    <a:pt x="1048" y="89"/>
                    <a:pt x="1048" y="89"/>
                    <a:pt x="1048" y="89"/>
                  </a:cubicBezTo>
                  <a:close/>
                  <a:moveTo>
                    <a:pt x="1350" y="12"/>
                  </a:moveTo>
                  <a:cubicBezTo>
                    <a:pt x="1350" y="12"/>
                    <a:pt x="1351" y="12"/>
                    <a:pt x="1351" y="11"/>
                  </a:cubicBezTo>
                  <a:cubicBezTo>
                    <a:pt x="1350" y="11"/>
                    <a:pt x="1350" y="12"/>
                    <a:pt x="1350" y="12"/>
                  </a:cubicBezTo>
                  <a:close/>
                  <a:moveTo>
                    <a:pt x="1458" y="11"/>
                  </a:moveTo>
                  <a:cubicBezTo>
                    <a:pt x="1458" y="12"/>
                    <a:pt x="1458" y="12"/>
                    <a:pt x="1458" y="12"/>
                  </a:cubicBezTo>
                  <a:cubicBezTo>
                    <a:pt x="1458" y="12"/>
                    <a:pt x="1458" y="11"/>
                    <a:pt x="1458" y="11"/>
                  </a:cubicBezTo>
                  <a:close/>
                  <a:moveTo>
                    <a:pt x="1226" y="89"/>
                  </a:moveTo>
                  <a:cubicBezTo>
                    <a:pt x="1226" y="89"/>
                    <a:pt x="1226" y="89"/>
                    <a:pt x="1226" y="89"/>
                  </a:cubicBezTo>
                  <a:cubicBezTo>
                    <a:pt x="1226" y="89"/>
                    <a:pt x="1226" y="89"/>
                    <a:pt x="1226" y="89"/>
                  </a:cubicBezTo>
                  <a:close/>
                  <a:moveTo>
                    <a:pt x="1497" y="12"/>
                  </a:moveTo>
                  <a:cubicBezTo>
                    <a:pt x="1497" y="12"/>
                    <a:pt x="1497" y="12"/>
                    <a:pt x="1497" y="11"/>
                  </a:cubicBezTo>
                  <a:cubicBezTo>
                    <a:pt x="1497" y="11"/>
                    <a:pt x="1497" y="12"/>
                    <a:pt x="1497" y="12"/>
                  </a:cubicBezTo>
                  <a:close/>
                  <a:moveTo>
                    <a:pt x="672" y="58"/>
                  </a:moveTo>
                  <a:cubicBezTo>
                    <a:pt x="672" y="58"/>
                    <a:pt x="672" y="58"/>
                    <a:pt x="672" y="58"/>
                  </a:cubicBezTo>
                  <a:cubicBezTo>
                    <a:pt x="672" y="58"/>
                    <a:pt x="672" y="58"/>
                    <a:pt x="672" y="58"/>
                  </a:cubicBezTo>
                  <a:close/>
                  <a:moveTo>
                    <a:pt x="1674" y="54"/>
                  </a:moveTo>
                  <a:cubicBezTo>
                    <a:pt x="1673" y="54"/>
                    <a:pt x="1673" y="54"/>
                    <a:pt x="1673" y="54"/>
                  </a:cubicBezTo>
                  <a:cubicBezTo>
                    <a:pt x="1673" y="54"/>
                    <a:pt x="1674" y="54"/>
                    <a:pt x="1674" y="54"/>
                  </a:cubicBezTo>
                  <a:close/>
                  <a:moveTo>
                    <a:pt x="1534" y="12"/>
                  </a:moveTo>
                  <a:cubicBezTo>
                    <a:pt x="1535" y="12"/>
                    <a:pt x="1535" y="12"/>
                    <a:pt x="1535" y="11"/>
                  </a:cubicBezTo>
                  <a:cubicBezTo>
                    <a:pt x="1535" y="11"/>
                    <a:pt x="1534" y="12"/>
                    <a:pt x="1534" y="12"/>
                  </a:cubicBezTo>
                  <a:close/>
                  <a:moveTo>
                    <a:pt x="1573" y="11"/>
                  </a:moveTo>
                  <a:cubicBezTo>
                    <a:pt x="1573" y="12"/>
                    <a:pt x="1573" y="12"/>
                    <a:pt x="1573" y="12"/>
                  </a:cubicBezTo>
                  <a:cubicBezTo>
                    <a:pt x="1573" y="12"/>
                    <a:pt x="1573" y="11"/>
                    <a:pt x="1573" y="11"/>
                  </a:cubicBezTo>
                  <a:close/>
                  <a:moveTo>
                    <a:pt x="1703" y="12"/>
                  </a:moveTo>
                  <a:cubicBezTo>
                    <a:pt x="1703" y="12"/>
                    <a:pt x="1703" y="12"/>
                    <a:pt x="1703" y="11"/>
                  </a:cubicBezTo>
                  <a:cubicBezTo>
                    <a:pt x="1703" y="11"/>
                    <a:pt x="1703" y="12"/>
                    <a:pt x="1703" y="12"/>
                  </a:cubicBezTo>
                  <a:close/>
                  <a:moveTo>
                    <a:pt x="1423" y="12"/>
                  </a:moveTo>
                  <a:cubicBezTo>
                    <a:pt x="1423" y="12"/>
                    <a:pt x="1423" y="12"/>
                    <a:pt x="1423" y="12"/>
                  </a:cubicBezTo>
                  <a:cubicBezTo>
                    <a:pt x="1423" y="12"/>
                    <a:pt x="1423" y="12"/>
                    <a:pt x="1423" y="12"/>
                  </a:cubicBezTo>
                  <a:close/>
                  <a:moveTo>
                    <a:pt x="1371" y="58"/>
                  </a:moveTo>
                  <a:cubicBezTo>
                    <a:pt x="1371" y="58"/>
                    <a:pt x="1371" y="58"/>
                    <a:pt x="1371" y="58"/>
                  </a:cubicBezTo>
                  <a:cubicBezTo>
                    <a:pt x="1371" y="58"/>
                    <a:pt x="1371" y="58"/>
                    <a:pt x="1371" y="58"/>
                  </a:cubicBezTo>
                  <a:close/>
                  <a:moveTo>
                    <a:pt x="1386" y="58"/>
                  </a:moveTo>
                  <a:cubicBezTo>
                    <a:pt x="1385" y="58"/>
                    <a:pt x="1385" y="58"/>
                    <a:pt x="1385" y="58"/>
                  </a:cubicBezTo>
                  <a:cubicBezTo>
                    <a:pt x="1385" y="58"/>
                    <a:pt x="1386" y="58"/>
                    <a:pt x="1386" y="58"/>
                  </a:cubicBezTo>
                  <a:close/>
                  <a:moveTo>
                    <a:pt x="766" y="89"/>
                  </a:moveTo>
                  <a:cubicBezTo>
                    <a:pt x="766" y="90"/>
                    <a:pt x="766" y="90"/>
                    <a:pt x="766" y="90"/>
                  </a:cubicBezTo>
                  <a:cubicBezTo>
                    <a:pt x="766" y="90"/>
                    <a:pt x="766" y="89"/>
                    <a:pt x="766" y="89"/>
                  </a:cubicBezTo>
                  <a:close/>
                  <a:moveTo>
                    <a:pt x="1555" y="58"/>
                  </a:moveTo>
                  <a:cubicBezTo>
                    <a:pt x="1555" y="58"/>
                    <a:pt x="1555" y="58"/>
                    <a:pt x="1555" y="58"/>
                  </a:cubicBezTo>
                  <a:cubicBezTo>
                    <a:pt x="1555" y="58"/>
                    <a:pt x="1555" y="58"/>
                    <a:pt x="1555" y="58"/>
                  </a:cubicBezTo>
                  <a:close/>
                  <a:moveTo>
                    <a:pt x="962" y="90"/>
                  </a:moveTo>
                  <a:cubicBezTo>
                    <a:pt x="962" y="89"/>
                    <a:pt x="962" y="89"/>
                    <a:pt x="962" y="89"/>
                  </a:cubicBezTo>
                  <a:cubicBezTo>
                    <a:pt x="962" y="89"/>
                    <a:pt x="962" y="90"/>
                    <a:pt x="962" y="90"/>
                  </a:cubicBezTo>
                  <a:close/>
                  <a:moveTo>
                    <a:pt x="1570" y="58"/>
                  </a:moveTo>
                  <a:cubicBezTo>
                    <a:pt x="1570" y="58"/>
                    <a:pt x="1570" y="58"/>
                    <a:pt x="1569" y="58"/>
                  </a:cubicBezTo>
                  <a:cubicBezTo>
                    <a:pt x="1570" y="58"/>
                    <a:pt x="1570" y="58"/>
                    <a:pt x="1570" y="58"/>
                  </a:cubicBezTo>
                  <a:close/>
                  <a:moveTo>
                    <a:pt x="1458" y="12"/>
                  </a:moveTo>
                  <a:cubicBezTo>
                    <a:pt x="1458" y="12"/>
                    <a:pt x="1459" y="12"/>
                    <a:pt x="1459" y="12"/>
                  </a:cubicBezTo>
                  <a:cubicBezTo>
                    <a:pt x="1459" y="12"/>
                    <a:pt x="1459" y="12"/>
                    <a:pt x="1458" y="12"/>
                  </a:cubicBezTo>
                  <a:close/>
                  <a:moveTo>
                    <a:pt x="1723" y="58"/>
                  </a:moveTo>
                  <a:cubicBezTo>
                    <a:pt x="1723" y="58"/>
                    <a:pt x="1723" y="58"/>
                    <a:pt x="1723" y="58"/>
                  </a:cubicBezTo>
                  <a:cubicBezTo>
                    <a:pt x="1723" y="58"/>
                    <a:pt x="1723" y="58"/>
                    <a:pt x="1723" y="58"/>
                  </a:cubicBezTo>
                  <a:close/>
                  <a:moveTo>
                    <a:pt x="1738" y="58"/>
                  </a:moveTo>
                  <a:cubicBezTo>
                    <a:pt x="1738" y="58"/>
                    <a:pt x="1738" y="58"/>
                    <a:pt x="1738" y="58"/>
                  </a:cubicBezTo>
                  <a:cubicBezTo>
                    <a:pt x="1738" y="58"/>
                    <a:pt x="1738" y="58"/>
                    <a:pt x="1738" y="58"/>
                  </a:cubicBezTo>
                  <a:close/>
                  <a:moveTo>
                    <a:pt x="672" y="58"/>
                  </a:moveTo>
                  <a:cubicBezTo>
                    <a:pt x="672" y="58"/>
                    <a:pt x="672" y="58"/>
                    <a:pt x="672" y="58"/>
                  </a:cubicBezTo>
                  <a:cubicBezTo>
                    <a:pt x="672" y="58"/>
                    <a:pt x="672" y="58"/>
                    <a:pt x="672" y="58"/>
                  </a:cubicBezTo>
                  <a:close/>
                  <a:moveTo>
                    <a:pt x="1212" y="90"/>
                  </a:moveTo>
                  <a:cubicBezTo>
                    <a:pt x="1212" y="89"/>
                    <a:pt x="1212" y="89"/>
                    <a:pt x="1212" y="89"/>
                  </a:cubicBezTo>
                  <a:cubicBezTo>
                    <a:pt x="1212" y="89"/>
                    <a:pt x="1212" y="90"/>
                    <a:pt x="1212" y="90"/>
                  </a:cubicBezTo>
                  <a:close/>
                  <a:moveTo>
                    <a:pt x="1534" y="12"/>
                  </a:moveTo>
                  <a:cubicBezTo>
                    <a:pt x="1534" y="12"/>
                    <a:pt x="1534" y="12"/>
                    <a:pt x="1534" y="12"/>
                  </a:cubicBezTo>
                  <a:cubicBezTo>
                    <a:pt x="1534" y="12"/>
                    <a:pt x="1534" y="12"/>
                    <a:pt x="1534" y="12"/>
                  </a:cubicBezTo>
                  <a:close/>
                  <a:moveTo>
                    <a:pt x="1573" y="12"/>
                  </a:moveTo>
                  <a:cubicBezTo>
                    <a:pt x="1573" y="12"/>
                    <a:pt x="1573" y="12"/>
                    <a:pt x="1574" y="12"/>
                  </a:cubicBezTo>
                  <a:cubicBezTo>
                    <a:pt x="1574" y="12"/>
                    <a:pt x="1573" y="12"/>
                    <a:pt x="1573" y="12"/>
                  </a:cubicBezTo>
                  <a:close/>
                  <a:moveTo>
                    <a:pt x="1416" y="90"/>
                  </a:moveTo>
                  <a:cubicBezTo>
                    <a:pt x="1416" y="89"/>
                    <a:pt x="1416" y="89"/>
                    <a:pt x="1416" y="89"/>
                  </a:cubicBezTo>
                  <a:cubicBezTo>
                    <a:pt x="1416" y="89"/>
                    <a:pt x="1416" y="90"/>
                    <a:pt x="1416" y="90"/>
                  </a:cubicBezTo>
                  <a:close/>
                  <a:moveTo>
                    <a:pt x="1463" y="89"/>
                  </a:moveTo>
                  <a:cubicBezTo>
                    <a:pt x="1463" y="89"/>
                    <a:pt x="1463" y="89"/>
                    <a:pt x="1463" y="90"/>
                  </a:cubicBezTo>
                  <a:cubicBezTo>
                    <a:pt x="1463" y="90"/>
                    <a:pt x="1463" y="89"/>
                    <a:pt x="1463" y="89"/>
                  </a:cubicBezTo>
                  <a:close/>
                  <a:moveTo>
                    <a:pt x="1702" y="12"/>
                  </a:moveTo>
                  <a:cubicBezTo>
                    <a:pt x="1702" y="12"/>
                    <a:pt x="1702" y="12"/>
                    <a:pt x="1703" y="12"/>
                  </a:cubicBezTo>
                  <a:cubicBezTo>
                    <a:pt x="1702" y="12"/>
                    <a:pt x="1702" y="12"/>
                    <a:pt x="1702" y="12"/>
                  </a:cubicBezTo>
                  <a:close/>
                  <a:moveTo>
                    <a:pt x="1741" y="12"/>
                  </a:moveTo>
                  <a:cubicBezTo>
                    <a:pt x="1741" y="12"/>
                    <a:pt x="1742" y="12"/>
                    <a:pt x="1742" y="12"/>
                  </a:cubicBezTo>
                  <a:cubicBezTo>
                    <a:pt x="1742" y="12"/>
                    <a:pt x="1742" y="12"/>
                    <a:pt x="1741" y="12"/>
                  </a:cubicBezTo>
                  <a:close/>
                  <a:moveTo>
                    <a:pt x="1555" y="58"/>
                  </a:moveTo>
                  <a:cubicBezTo>
                    <a:pt x="1555" y="58"/>
                    <a:pt x="1555" y="58"/>
                    <a:pt x="1555" y="58"/>
                  </a:cubicBezTo>
                  <a:cubicBezTo>
                    <a:pt x="1555" y="58"/>
                    <a:pt x="1555" y="58"/>
                    <a:pt x="1555" y="58"/>
                  </a:cubicBezTo>
                  <a:close/>
                  <a:moveTo>
                    <a:pt x="1569" y="58"/>
                  </a:moveTo>
                  <a:cubicBezTo>
                    <a:pt x="1569" y="58"/>
                    <a:pt x="1569" y="58"/>
                    <a:pt x="1569" y="58"/>
                  </a:cubicBezTo>
                  <a:cubicBezTo>
                    <a:pt x="1569" y="58"/>
                    <a:pt x="1569" y="58"/>
                    <a:pt x="1569" y="58"/>
                  </a:cubicBezTo>
                  <a:close/>
                  <a:moveTo>
                    <a:pt x="963" y="90"/>
                  </a:moveTo>
                  <a:cubicBezTo>
                    <a:pt x="962" y="90"/>
                    <a:pt x="962" y="90"/>
                    <a:pt x="962" y="90"/>
                  </a:cubicBezTo>
                  <a:cubicBezTo>
                    <a:pt x="962" y="90"/>
                    <a:pt x="962" y="90"/>
                    <a:pt x="963" y="90"/>
                  </a:cubicBezTo>
                  <a:close/>
                  <a:moveTo>
                    <a:pt x="974" y="12"/>
                  </a:moveTo>
                  <a:cubicBezTo>
                    <a:pt x="974" y="12"/>
                    <a:pt x="974" y="12"/>
                    <a:pt x="974" y="12"/>
                  </a:cubicBezTo>
                  <a:cubicBezTo>
                    <a:pt x="974" y="12"/>
                    <a:pt x="974" y="12"/>
                    <a:pt x="974" y="12"/>
                  </a:cubicBezTo>
                  <a:close/>
                  <a:moveTo>
                    <a:pt x="1723" y="58"/>
                  </a:moveTo>
                  <a:cubicBezTo>
                    <a:pt x="1723" y="58"/>
                    <a:pt x="1723" y="58"/>
                    <a:pt x="1723" y="58"/>
                  </a:cubicBezTo>
                  <a:cubicBezTo>
                    <a:pt x="1723" y="58"/>
                    <a:pt x="1723" y="58"/>
                    <a:pt x="1723" y="58"/>
                  </a:cubicBezTo>
                  <a:close/>
                  <a:moveTo>
                    <a:pt x="1738" y="58"/>
                  </a:moveTo>
                  <a:cubicBezTo>
                    <a:pt x="1737" y="58"/>
                    <a:pt x="1737" y="58"/>
                    <a:pt x="1737" y="58"/>
                  </a:cubicBezTo>
                  <a:cubicBezTo>
                    <a:pt x="1737" y="58"/>
                    <a:pt x="1738" y="58"/>
                    <a:pt x="1738" y="58"/>
                  </a:cubicBezTo>
                  <a:close/>
                  <a:moveTo>
                    <a:pt x="1049" y="90"/>
                  </a:moveTo>
                  <a:cubicBezTo>
                    <a:pt x="1049" y="90"/>
                    <a:pt x="1049" y="90"/>
                    <a:pt x="1049" y="90"/>
                  </a:cubicBezTo>
                  <a:cubicBezTo>
                    <a:pt x="1049" y="90"/>
                    <a:pt x="1049" y="90"/>
                    <a:pt x="1049" y="90"/>
                  </a:cubicBezTo>
                  <a:close/>
                  <a:moveTo>
                    <a:pt x="1078" y="90"/>
                  </a:moveTo>
                  <a:cubicBezTo>
                    <a:pt x="1078" y="90"/>
                    <a:pt x="1078" y="90"/>
                    <a:pt x="1078" y="90"/>
                  </a:cubicBezTo>
                  <a:cubicBezTo>
                    <a:pt x="1078" y="90"/>
                    <a:pt x="1078" y="90"/>
                    <a:pt x="1078" y="90"/>
                  </a:cubicBezTo>
                  <a:close/>
                  <a:moveTo>
                    <a:pt x="579" y="58"/>
                  </a:moveTo>
                  <a:cubicBezTo>
                    <a:pt x="579" y="59"/>
                    <a:pt x="579" y="59"/>
                    <a:pt x="580" y="59"/>
                  </a:cubicBezTo>
                  <a:cubicBezTo>
                    <a:pt x="579" y="59"/>
                    <a:pt x="579" y="58"/>
                    <a:pt x="579" y="58"/>
                  </a:cubicBezTo>
                  <a:close/>
                  <a:moveTo>
                    <a:pt x="1349" y="12"/>
                  </a:moveTo>
                  <a:cubicBezTo>
                    <a:pt x="1349" y="12"/>
                    <a:pt x="1350" y="12"/>
                    <a:pt x="1350" y="12"/>
                  </a:cubicBezTo>
                  <a:cubicBezTo>
                    <a:pt x="1349" y="12"/>
                    <a:pt x="1349" y="12"/>
                    <a:pt x="1349" y="12"/>
                  </a:cubicBezTo>
                  <a:close/>
                  <a:moveTo>
                    <a:pt x="1389" y="12"/>
                  </a:moveTo>
                  <a:cubicBezTo>
                    <a:pt x="1390" y="12"/>
                    <a:pt x="1390" y="12"/>
                    <a:pt x="1390" y="12"/>
                  </a:cubicBezTo>
                  <a:cubicBezTo>
                    <a:pt x="1390" y="12"/>
                    <a:pt x="1390" y="12"/>
                    <a:pt x="1389" y="12"/>
                  </a:cubicBezTo>
                  <a:close/>
                  <a:moveTo>
                    <a:pt x="1423" y="12"/>
                  </a:moveTo>
                  <a:cubicBezTo>
                    <a:pt x="1423" y="12"/>
                    <a:pt x="1423" y="12"/>
                    <a:pt x="1423" y="12"/>
                  </a:cubicBezTo>
                  <a:cubicBezTo>
                    <a:pt x="1423" y="12"/>
                    <a:pt x="1423" y="12"/>
                    <a:pt x="1423" y="12"/>
                  </a:cubicBezTo>
                  <a:close/>
                  <a:moveTo>
                    <a:pt x="672" y="58"/>
                  </a:moveTo>
                  <a:cubicBezTo>
                    <a:pt x="673" y="59"/>
                    <a:pt x="673" y="59"/>
                    <a:pt x="673" y="59"/>
                  </a:cubicBezTo>
                  <a:cubicBezTo>
                    <a:pt x="673" y="59"/>
                    <a:pt x="673" y="58"/>
                    <a:pt x="672" y="58"/>
                  </a:cubicBezTo>
                  <a:close/>
                  <a:moveTo>
                    <a:pt x="1459" y="12"/>
                  </a:moveTo>
                  <a:cubicBezTo>
                    <a:pt x="1459" y="12"/>
                    <a:pt x="1459" y="12"/>
                    <a:pt x="1459" y="12"/>
                  </a:cubicBezTo>
                  <a:cubicBezTo>
                    <a:pt x="1459" y="12"/>
                    <a:pt x="1459" y="12"/>
                    <a:pt x="1459" y="12"/>
                  </a:cubicBezTo>
                  <a:close/>
                  <a:moveTo>
                    <a:pt x="1574" y="12"/>
                  </a:moveTo>
                  <a:cubicBezTo>
                    <a:pt x="1574" y="12"/>
                    <a:pt x="1574" y="12"/>
                    <a:pt x="1574" y="12"/>
                  </a:cubicBezTo>
                  <a:cubicBezTo>
                    <a:pt x="1574" y="12"/>
                    <a:pt x="1574" y="12"/>
                    <a:pt x="1574" y="12"/>
                  </a:cubicBezTo>
                  <a:close/>
                  <a:moveTo>
                    <a:pt x="586" y="90"/>
                  </a:moveTo>
                  <a:cubicBezTo>
                    <a:pt x="586" y="90"/>
                    <a:pt x="586" y="90"/>
                    <a:pt x="586" y="90"/>
                  </a:cubicBezTo>
                  <a:cubicBezTo>
                    <a:pt x="586" y="90"/>
                    <a:pt x="586" y="90"/>
                    <a:pt x="586" y="90"/>
                  </a:cubicBezTo>
                  <a:close/>
                  <a:moveTo>
                    <a:pt x="1370" y="59"/>
                  </a:moveTo>
                  <a:cubicBezTo>
                    <a:pt x="1370" y="59"/>
                    <a:pt x="1370" y="59"/>
                    <a:pt x="1370" y="58"/>
                  </a:cubicBezTo>
                  <a:cubicBezTo>
                    <a:pt x="1370" y="58"/>
                    <a:pt x="1370" y="59"/>
                    <a:pt x="1370" y="59"/>
                  </a:cubicBezTo>
                  <a:close/>
                  <a:moveTo>
                    <a:pt x="662" y="90"/>
                  </a:moveTo>
                  <a:cubicBezTo>
                    <a:pt x="662" y="90"/>
                    <a:pt x="663" y="90"/>
                    <a:pt x="663" y="90"/>
                  </a:cubicBezTo>
                  <a:cubicBezTo>
                    <a:pt x="663" y="90"/>
                    <a:pt x="663" y="90"/>
                    <a:pt x="662" y="90"/>
                  </a:cubicBezTo>
                  <a:close/>
                  <a:moveTo>
                    <a:pt x="686" y="90"/>
                  </a:moveTo>
                  <a:cubicBezTo>
                    <a:pt x="687" y="90"/>
                    <a:pt x="687" y="90"/>
                    <a:pt x="687" y="90"/>
                  </a:cubicBezTo>
                  <a:cubicBezTo>
                    <a:pt x="687" y="90"/>
                    <a:pt x="686" y="90"/>
                    <a:pt x="686" y="90"/>
                  </a:cubicBezTo>
                  <a:close/>
                  <a:moveTo>
                    <a:pt x="1674" y="12"/>
                  </a:moveTo>
                  <a:cubicBezTo>
                    <a:pt x="1674" y="12"/>
                    <a:pt x="1674" y="12"/>
                    <a:pt x="1675" y="12"/>
                  </a:cubicBezTo>
                  <a:cubicBezTo>
                    <a:pt x="1675" y="12"/>
                    <a:pt x="1674" y="12"/>
                    <a:pt x="1674" y="12"/>
                  </a:cubicBezTo>
                  <a:close/>
                  <a:moveTo>
                    <a:pt x="1569" y="58"/>
                  </a:moveTo>
                  <a:cubicBezTo>
                    <a:pt x="1569" y="58"/>
                    <a:pt x="1569" y="58"/>
                    <a:pt x="1569" y="59"/>
                  </a:cubicBezTo>
                  <a:cubicBezTo>
                    <a:pt x="1569" y="59"/>
                    <a:pt x="1569" y="58"/>
                    <a:pt x="1569" y="58"/>
                  </a:cubicBezTo>
                  <a:close/>
                  <a:moveTo>
                    <a:pt x="1742" y="12"/>
                  </a:moveTo>
                  <a:cubicBezTo>
                    <a:pt x="1742" y="12"/>
                    <a:pt x="1742" y="12"/>
                    <a:pt x="1742" y="12"/>
                  </a:cubicBezTo>
                  <a:cubicBezTo>
                    <a:pt x="1742" y="12"/>
                    <a:pt x="1742" y="12"/>
                    <a:pt x="1742" y="12"/>
                  </a:cubicBezTo>
                  <a:close/>
                  <a:moveTo>
                    <a:pt x="545" y="13"/>
                  </a:moveTo>
                  <a:cubicBezTo>
                    <a:pt x="545" y="13"/>
                    <a:pt x="545" y="13"/>
                    <a:pt x="546" y="12"/>
                  </a:cubicBezTo>
                  <a:cubicBezTo>
                    <a:pt x="545" y="12"/>
                    <a:pt x="545" y="13"/>
                    <a:pt x="545" y="13"/>
                  </a:cubicBezTo>
                  <a:close/>
                  <a:moveTo>
                    <a:pt x="963" y="90"/>
                  </a:moveTo>
                  <a:cubicBezTo>
                    <a:pt x="963" y="90"/>
                    <a:pt x="963" y="90"/>
                    <a:pt x="962" y="90"/>
                  </a:cubicBezTo>
                  <a:cubicBezTo>
                    <a:pt x="963" y="90"/>
                    <a:pt x="963" y="90"/>
                    <a:pt x="963" y="90"/>
                  </a:cubicBezTo>
                  <a:close/>
                  <a:moveTo>
                    <a:pt x="1737" y="58"/>
                  </a:moveTo>
                  <a:cubicBezTo>
                    <a:pt x="1737" y="58"/>
                    <a:pt x="1737" y="58"/>
                    <a:pt x="1737" y="59"/>
                  </a:cubicBezTo>
                  <a:cubicBezTo>
                    <a:pt x="1737" y="59"/>
                    <a:pt x="1737" y="58"/>
                    <a:pt x="1737" y="58"/>
                  </a:cubicBezTo>
                  <a:close/>
                  <a:moveTo>
                    <a:pt x="580" y="59"/>
                  </a:moveTo>
                  <a:cubicBezTo>
                    <a:pt x="580" y="59"/>
                    <a:pt x="580" y="59"/>
                    <a:pt x="580" y="59"/>
                  </a:cubicBezTo>
                  <a:cubicBezTo>
                    <a:pt x="580" y="59"/>
                    <a:pt x="580" y="59"/>
                    <a:pt x="580" y="59"/>
                  </a:cubicBezTo>
                  <a:close/>
                  <a:moveTo>
                    <a:pt x="1049" y="90"/>
                  </a:moveTo>
                  <a:cubicBezTo>
                    <a:pt x="1049" y="90"/>
                    <a:pt x="1049" y="90"/>
                    <a:pt x="1049" y="90"/>
                  </a:cubicBezTo>
                  <a:cubicBezTo>
                    <a:pt x="1049" y="90"/>
                    <a:pt x="1049" y="90"/>
                    <a:pt x="1049" y="90"/>
                  </a:cubicBezTo>
                  <a:close/>
                  <a:moveTo>
                    <a:pt x="1077" y="90"/>
                  </a:moveTo>
                  <a:cubicBezTo>
                    <a:pt x="1077" y="90"/>
                    <a:pt x="1077" y="90"/>
                    <a:pt x="1077" y="90"/>
                  </a:cubicBezTo>
                  <a:cubicBezTo>
                    <a:pt x="1077" y="90"/>
                    <a:pt x="1077" y="90"/>
                    <a:pt x="1077" y="90"/>
                  </a:cubicBezTo>
                  <a:close/>
                  <a:moveTo>
                    <a:pt x="1227" y="90"/>
                  </a:moveTo>
                  <a:cubicBezTo>
                    <a:pt x="1227" y="90"/>
                    <a:pt x="1227" y="90"/>
                    <a:pt x="1227" y="90"/>
                  </a:cubicBezTo>
                  <a:cubicBezTo>
                    <a:pt x="1227" y="90"/>
                    <a:pt x="1227" y="90"/>
                    <a:pt x="1227" y="90"/>
                  </a:cubicBezTo>
                  <a:close/>
                  <a:moveTo>
                    <a:pt x="1255" y="90"/>
                  </a:moveTo>
                  <a:cubicBezTo>
                    <a:pt x="1255" y="90"/>
                    <a:pt x="1255" y="90"/>
                    <a:pt x="1255" y="90"/>
                  </a:cubicBezTo>
                  <a:cubicBezTo>
                    <a:pt x="1255" y="90"/>
                    <a:pt x="1255" y="90"/>
                    <a:pt x="1255" y="90"/>
                  </a:cubicBezTo>
                  <a:close/>
                  <a:moveTo>
                    <a:pt x="1349" y="13"/>
                  </a:moveTo>
                  <a:cubicBezTo>
                    <a:pt x="1349" y="13"/>
                    <a:pt x="1349" y="13"/>
                    <a:pt x="1349" y="12"/>
                  </a:cubicBezTo>
                  <a:cubicBezTo>
                    <a:pt x="1349" y="13"/>
                    <a:pt x="1349" y="13"/>
                    <a:pt x="1349" y="13"/>
                  </a:cubicBezTo>
                  <a:close/>
                  <a:moveTo>
                    <a:pt x="1390" y="12"/>
                  </a:moveTo>
                  <a:cubicBezTo>
                    <a:pt x="1390" y="13"/>
                    <a:pt x="1390" y="13"/>
                    <a:pt x="1390" y="13"/>
                  </a:cubicBezTo>
                  <a:cubicBezTo>
                    <a:pt x="1390" y="13"/>
                    <a:pt x="1390" y="12"/>
                    <a:pt x="1390" y="12"/>
                  </a:cubicBezTo>
                  <a:close/>
                  <a:moveTo>
                    <a:pt x="1422" y="13"/>
                  </a:moveTo>
                  <a:cubicBezTo>
                    <a:pt x="1422" y="13"/>
                    <a:pt x="1423" y="13"/>
                    <a:pt x="1423" y="12"/>
                  </a:cubicBezTo>
                  <a:cubicBezTo>
                    <a:pt x="1423" y="13"/>
                    <a:pt x="1422" y="13"/>
                    <a:pt x="1422" y="13"/>
                  </a:cubicBezTo>
                  <a:close/>
                  <a:moveTo>
                    <a:pt x="1459" y="12"/>
                  </a:moveTo>
                  <a:cubicBezTo>
                    <a:pt x="1459" y="13"/>
                    <a:pt x="1459" y="13"/>
                    <a:pt x="1460" y="13"/>
                  </a:cubicBezTo>
                  <a:cubicBezTo>
                    <a:pt x="1459" y="13"/>
                    <a:pt x="1459" y="13"/>
                    <a:pt x="1459" y="12"/>
                  </a:cubicBezTo>
                  <a:close/>
                  <a:moveTo>
                    <a:pt x="1369" y="59"/>
                  </a:moveTo>
                  <a:cubicBezTo>
                    <a:pt x="1370" y="59"/>
                    <a:pt x="1370" y="59"/>
                    <a:pt x="1370" y="59"/>
                  </a:cubicBezTo>
                  <a:cubicBezTo>
                    <a:pt x="1370" y="59"/>
                    <a:pt x="1369" y="59"/>
                    <a:pt x="1369" y="59"/>
                  </a:cubicBezTo>
                  <a:close/>
                  <a:moveTo>
                    <a:pt x="686" y="91"/>
                  </a:moveTo>
                  <a:cubicBezTo>
                    <a:pt x="686" y="91"/>
                    <a:pt x="686" y="91"/>
                    <a:pt x="686" y="90"/>
                  </a:cubicBezTo>
                  <a:cubicBezTo>
                    <a:pt x="686" y="90"/>
                    <a:pt x="686" y="91"/>
                    <a:pt x="686" y="91"/>
                  </a:cubicBezTo>
                  <a:close/>
                  <a:moveTo>
                    <a:pt x="1554" y="59"/>
                  </a:moveTo>
                  <a:cubicBezTo>
                    <a:pt x="1554" y="59"/>
                    <a:pt x="1554" y="59"/>
                    <a:pt x="1554" y="59"/>
                  </a:cubicBezTo>
                  <a:cubicBezTo>
                    <a:pt x="1554" y="59"/>
                    <a:pt x="1554" y="59"/>
                    <a:pt x="1554" y="59"/>
                  </a:cubicBezTo>
                  <a:close/>
                  <a:moveTo>
                    <a:pt x="1569" y="59"/>
                  </a:moveTo>
                  <a:cubicBezTo>
                    <a:pt x="1569" y="59"/>
                    <a:pt x="1568" y="59"/>
                    <a:pt x="1568" y="59"/>
                  </a:cubicBezTo>
                  <a:cubicBezTo>
                    <a:pt x="1569" y="59"/>
                    <a:pt x="1569" y="59"/>
                    <a:pt x="1569" y="59"/>
                  </a:cubicBezTo>
                  <a:close/>
                  <a:moveTo>
                    <a:pt x="1722" y="59"/>
                  </a:moveTo>
                  <a:cubicBezTo>
                    <a:pt x="1722" y="59"/>
                    <a:pt x="1722" y="59"/>
                    <a:pt x="1722" y="59"/>
                  </a:cubicBezTo>
                  <a:cubicBezTo>
                    <a:pt x="1722" y="59"/>
                    <a:pt x="1722" y="59"/>
                    <a:pt x="1722" y="59"/>
                  </a:cubicBezTo>
                  <a:close/>
                  <a:moveTo>
                    <a:pt x="963" y="91"/>
                  </a:moveTo>
                  <a:cubicBezTo>
                    <a:pt x="963" y="90"/>
                    <a:pt x="963" y="90"/>
                    <a:pt x="963" y="90"/>
                  </a:cubicBezTo>
                  <a:cubicBezTo>
                    <a:pt x="963" y="91"/>
                    <a:pt x="963" y="91"/>
                    <a:pt x="963" y="91"/>
                  </a:cubicBezTo>
                  <a:close/>
                  <a:moveTo>
                    <a:pt x="1737" y="59"/>
                  </a:moveTo>
                  <a:cubicBezTo>
                    <a:pt x="1737" y="59"/>
                    <a:pt x="1737" y="59"/>
                    <a:pt x="1736" y="59"/>
                  </a:cubicBezTo>
                  <a:cubicBezTo>
                    <a:pt x="1737" y="59"/>
                    <a:pt x="1737" y="59"/>
                    <a:pt x="1737" y="59"/>
                  </a:cubicBezTo>
                  <a:close/>
                  <a:moveTo>
                    <a:pt x="580" y="59"/>
                  </a:moveTo>
                  <a:cubicBezTo>
                    <a:pt x="580" y="59"/>
                    <a:pt x="580" y="59"/>
                    <a:pt x="580" y="59"/>
                  </a:cubicBezTo>
                  <a:cubicBezTo>
                    <a:pt x="580" y="59"/>
                    <a:pt x="580" y="59"/>
                    <a:pt x="580" y="59"/>
                  </a:cubicBezTo>
                  <a:close/>
                  <a:moveTo>
                    <a:pt x="1035" y="91"/>
                  </a:moveTo>
                  <a:cubicBezTo>
                    <a:pt x="1035" y="91"/>
                    <a:pt x="1035" y="90"/>
                    <a:pt x="1035" y="90"/>
                  </a:cubicBezTo>
                  <a:cubicBezTo>
                    <a:pt x="1035" y="90"/>
                    <a:pt x="1035" y="91"/>
                    <a:pt x="1035" y="91"/>
                  </a:cubicBezTo>
                  <a:close/>
                  <a:moveTo>
                    <a:pt x="1533" y="13"/>
                  </a:moveTo>
                  <a:cubicBezTo>
                    <a:pt x="1533" y="13"/>
                    <a:pt x="1533" y="13"/>
                    <a:pt x="1533" y="12"/>
                  </a:cubicBezTo>
                  <a:cubicBezTo>
                    <a:pt x="1533" y="12"/>
                    <a:pt x="1533" y="13"/>
                    <a:pt x="1533" y="13"/>
                  </a:cubicBezTo>
                  <a:close/>
                  <a:moveTo>
                    <a:pt x="1574" y="12"/>
                  </a:moveTo>
                  <a:cubicBezTo>
                    <a:pt x="1574" y="13"/>
                    <a:pt x="1574" y="13"/>
                    <a:pt x="1574" y="13"/>
                  </a:cubicBezTo>
                  <a:cubicBezTo>
                    <a:pt x="1574" y="13"/>
                    <a:pt x="1574" y="13"/>
                    <a:pt x="1574" y="12"/>
                  </a:cubicBezTo>
                  <a:close/>
                  <a:moveTo>
                    <a:pt x="1187" y="90"/>
                  </a:moveTo>
                  <a:cubicBezTo>
                    <a:pt x="1187" y="91"/>
                    <a:pt x="1187" y="91"/>
                    <a:pt x="1188" y="91"/>
                  </a:cubicBezTo>
                  <a:cubicBezTo>
                    <a:pt x="1188" y="91"/>
                    <a:pt x="1187" y="90"/>
                    <a:pt x="1187" y="90"/>
                  </a:cubicBezTo>
                  <a:close/>
                  <a:moveTo>
                    <a:pt x="1701" y="13"/>
                  </a:moveTo>
                  <a:cubicBezTo>
                    <a:pt x="1701" y="13"/>
                    <a:pt x="1701" y="13"/>
                    <a:pt x="1702" y="12"/>
                  </a:cubicBezTo>
                  <a:cubicBezTo>
                    <a:pt x="1701" y="12"/>
                    <a:pt x="1701" y="13"/>
                    <a:pt x="1701" y="13"/>
                  </a:cubicBezTo>
                  <a:close/>
                  <a:moveTo>
                    <a:pt x="673" y="59"/>
                  </a:moveTo>
                  <a:cubicBezTo>
                    <a:pt x="674" y="59"/>
                    <a:pt x="674" y="59"/>
                    <a:pt x="674" y="59"/>
                  </a:cubicBezTo>
                  <a:cubicBezTo>
                    <a:pt x="674" y="59"/>
                    <a:pt x="674" y="59"/>
                    <a:pt x="673" y="59"/>
                  </a:cubicBezTo>
                  <a:close/>
                  <a:moveTo>
                    <a:pt x="1742" y="12"/>
                  </a:moveTo>
                  <a:cubicBezTo>
                    <a:pt x="1742" y="13"/>
                    <a:pt x="1742" y="13"/>
                    <a:pt x="1743" y="13"/>
                  </a:cubicBezTo>
                  <a:cubicBezTo>
                    <a:pt x="1742" y="13"/>
                    <a:pt x="1742" y="13"/>
                    <a:pt x="1742" y="12"/>
                  </a:cubicBezTo>
                  <a:close/>
                  <a:moveTo>
                    <a:pt x="1384" y="59"/>
                  </a:moveTo>
                  <a:cubicBezTo>
                    <a:pt x="1384" y="59"/>
                    <a:pt x="1384" y="59"/>
                    <a:pt x="1384" y="59"/>
                  </a:cubicBezTo>
                  <a:cubicBezTo>
                    <a:pt x="1384" y="59"/>
                    <a:pt x="1384" y="59"/>
                    <a:pt x="1384" y="59"/>
                  </a:cubicBezTo>
                  <a:close/>
                  <a:moveTo>
                    <a:pt x="1553" y="59"/>
                  </a:moveTo>
                  <a:cubicBezTo>
                    <a:pt x="1553" y="59"/>
                    <a:pt x="1554" y="59"/>
                    <a:pt x="1554" y="59"/>
                  </a:cubicBezTo>
                  <a:cubicBezTo>
                    <a:pt x="1553" y="59"/>
                    <a:pt x="1553" y="59"/>
                    <a:pt x="1553" y="59"/>
                  </a:cubicBezTo>
                  <a:close/>
                  <a:moveTo>
                    <a:pt x="545" y="13"/>
                  </a:moveTo>
                  <a:cubicBezTo>
                    <a:pt x="545" y="13"/>
                    <a:pt x="545" y="13"/>
                    <a:pt x="545" y="13"/>
                  </a:cubicBezTo>
                  <a:cubicBezTo>
                    <a:pt x="545" y="13"/>
                    <a:pt x="545" y="13"/>
                    <a:pt x="545" y="13"/>
                  </a:cubicBezTo>
                  <a:close/>
                  <a:moveTo>
                    <a:pt x="1390" y="13"/>
                  </a:moveTo>
                  <a:cubicBezTo>
                    <a:pt x="1390" y="13"/>
                    <a:pt x="1390" y="13"/>
                    <a:pt x="1391" y="13"/>
                  </a:cubicBezTo>
                  <a:cubicBezTo>
                    <a:pt x="1391" y="13"/>
                    <a:pt x="1390" y="13"/>
                    <a:pt x="1390" y="13"/>
                  </a:cubicBezTo>
                  <a:close/>
                  <a:moveTo>
                    <a:pt x="1721" y="59"/>
                  </a:moveTo>
                  <a:cubicBezTo>
                    <a:pt x="1721" y="59"/>
                    <a:pt x="1722" y="59"/>
                    <a:pt x="1722" y="59"/>
                  </a:cubicBezTo>
                  <a:cubicBezTo>
                    <a:pt x="1722" y="59"/>
                    <a:pt x="1721" y="59"/>
                    <a:pt x="1721" y="59"/>
                  </a:cubicBezTo>
                  <a:close/>
                  <a:moveTo>
                    <a:pt x="686" y="91"/>
                  </a:moveTo>
                  <a:cubicBezTo>
                    <a:pt x="686" y="91"/>
                    <a:pt x="686" y="91"/>
                    <a:pt x="686" y="91"/>
                  </a:cubicBezTo>
                  <a:cubicBezTo>
                    <a:pt x="686" y="91"/>
                    <a:pt x="686" y="91"/>
                    <a:pt x="686" y="91"/>
                  </a:cubicBezTo>
                  <a:close/>
                  <a:moveTo>
                    <a:pt x="768" y="91"/>
                  </a:moveTo>
                  <a:cubicBezTo>
                    <a:pt x="768" y="91"/>
                    <a:pt x="768" y="91"/>
                    <a:pt x="769" y="91"/>
                  </a:cubicBezTo>
                  <a:cubicBezTo>
                    <a:pt x="768" y="91"/>
                    <a:pt x="768" y="91"/>
                    <a:pt x="768" y="91"/>
                  </a:cubicBezTo>
                  <a:close/>
                  <a:moveTo>
                    <a:pt x="1422" y="13"/>
                  </a:moveTo>
                  <a:cubicBezTo>
                    <a:pt x="1422" y="13"/>
                    <a:pt x="1422" y="13"/>
                    <a:pt x="1422" y="13"/>
                  </a:cubicBezTo>
                  <a:cubicBezTo>
                    <a:pt x="1422" y="13"/>
                    <a:pt x="1422" y="13"/>
                    <a:pt x="1422" y="13"/>
                  </a:cubicBezTo>
                  <a:close/>
                  <a:moveTo>
                    <a:pt x="964" y="91"/>
                  </a:moveTo>
                  <a:cubicBezTo>
                    <a:pt x="963" y="91"/>
                    <a:pt x="963" y="91"/>
                    <a:pt x="963" y="91"/>
                  </a:cubicBezTo>
                  <a:cubicBezTo>
                    <a:pt x="963" y="91"/>
                    <a:pt x="963" y="91"/>
                    <a:pt x="964" y="91"/>
                  </a:cubicBezTo>
                  <a:close/>
                  <a:moveTo>
                    <a:pt x="1459" y="13"/>
                  </a:moveTo>
                  <a:cubicBezTo>
                    <a:pt x="1460" y="13"/>
                    <a:pt x="1460" y="13"/>
                    <a:pt x="1460" y="13"/>
                  </a:cubicBezTo>
                  <a:cubicBezTo>
                    <a:pt x="1460" y="13"/>
                    <a:pt x="1460" y="13"/>
                    <a:pt x="1459" y="13"/>
                  </a:cubicBezTo>
                  <a:close/>
                  <a:moveTo>
                    <a:pt x="1494" y="13"/>
                  </a:moveTo>
                  <a:cubicBezTo>
                    <a:pt x="1495" y="13"/>
                    <a:pt x="1495" y="13"/>
                    <a:pt x="1495" y="13"/>
                  </a:cubicBezTo>
                  <a:cubicBezTo>
                    <a:pt x="1495" y="13"/>
                    <a:pt x="1494" y="13"/>
                    <a:pt x="1494" y="13"/>
                  </a:cubicBezTo>
                  <a:close/>
                  <a:moveTo>
                    <a:pt x="1533" y="13"/>
                  </a:moveTo>
                  <a:cubicBezTo>
                    <a:pt x="1533" y="13"/>
                    <a:pt x="1533" y="13"/>
                    <a:pt x="1533" y="13"/>
                  </a:cubicBezTo>
                  <a:cubicBezTo>
                    <a:pt x="1533" y="13"/>
                    <a:pt x="1533" y="13"/>
                    <a:pt x="1533" y="13"/>
                  </a:cubicBezTo>
                  <a:close/>
                  <a:moveTo>
                    <a:pt x="1574" y="13"/>
                  </a:moveTo>
                  <a:cubicBezTo>
                    <a:pt x="1574" y="13"/>
                    <a:pt x="1575" y="13"/>
                    <a:pt x="1575" y="13"/>
                  </a:cubicBezTo>
                  <a:cubicBezTo>
                    <a:pt x="1575" y="13"/>
                    <a:pt x="1575" y="13"/>
                    <a:pt x="1574" y="13"/>
                  </a:cubicBezTo>
                  <a:close/>
                  <a:moveTo>
                    <a:pt x="1701" y="13"/>
                  </a:moveTo>
                  <a:cubicBezTo>
                    <a:pt x="1701" y="13"/>
                    <a:pt x="1701" y="13"/>
                    <a:pt x="1701" y="13"/>
                  </a:cubicBezTo>
                  <a:cubicBezTo>
                    <a:pt x="1701" y="13"/>
                    <a:pt x="1701" y="13"/>
                    <a:pt x="1701" y="13"/>
                  </a:cubicBezTo>
                  <a:close/>
                  <a:moveTo>
                    <a:pt x="1368" y="60"/>
                  </a:moveTo>
                  <a:cubicBezTo>
                    <a:pt x="1369" y="60"/>
                    <a:pt x="1369" y="60"/>
                    <a:pt x="1369" y="59"/>
                  </a:cubicBezTo>
                  <a:cubicBezTo>
                    <a:pt x="1369" y="59"/>
                    <a:pt x="1368" y="60"/>
                    <a:pt x="1368" y="60"/>
                  </a:cubicBezTo>
                  <a:close/>
                  <a:moveTo>
                    <a:pt x="1384" y="59"/>
                  </a:moveTo>
                  <a:cubicBezTo>
                    <a:pt x="1383" y="59"/>
                    <a:pt x="1383" y="60"/>
                    <a:pt x="1383" y="60"/>
                  </a:cubicBezTo>
                  <a:cubicBezTo>
                    <a:pt x="1383" y="60"/>
                    <a:pt x="1384" y="60"/>
                    <a:pt x="1384" y="59"/>
                  </a:cubicBezTo>
                  <a:close/>
                  <a:moveTo>
                    <a:pt x="1743" y="13"/>
                  </a:moveTo>
                  <a:cubicBezTo>
                    <a:pt x="1743" y="13"/>
                    <a:pt x="1743" y="13"/>
                    <a:pt x="1743" y="13"/>
                  </a:cubicBezTo>
                  <a:cubicBezTo>
                    <a:pt x="1743" y="13"/>
                    <a:pt x="1743" y="13"/>
                    <a:pt x="1743" y="13"/>
                  </a:cubicBezTo>
                  <a:close/>
                  <a:moveTo>
                    <a:pt x="544" y="13"/>
                  </a:moveTo>
                  <a:cubicBezTo>
                    <a:pt x="545" y="13"/>
                    <a:pt x="545" y="13"/>
                    <a:pt x="545" y="13"/>
                  </a:cubicBezTo>
                  <a:cubicBezTo>
                    <a:pt x="545" y="13"/>
                    <a:pt x="545" y="13"/>
                    <a:pt x="544" y="13"/>
                  </a:cubicBezTo>
                  <a:close/>
                  <a:moveTo>
                    <a:pt x="972" y="13"/>
                  </a:moveTo>
                  <a:cubicBezTo>
                    <a:pt x="972" y="13"/>
                    <a:pt x="972" y="13"/>
                    <a:pt x="972" y="13"/>
                  </a:cubicBezTo>
                  <a:cubicBezTo>
                    <a:pt x="972" y="13"/>
                    <a:pt x="972" y="13"/>
                    <a:pt x="972" y="13"/>
                  </a:cubicBezTo>
                  <a:close/>
                  <a:moveTo>
                    <a:pt x="1391" y="13"/>
                  </a:moveTo>
                  <a:cubicBezTo>
                    <a:pt x="1391" y="13"/>
                    <a:pt x="1391" y="13"/>
                    <a:pt x="1391" y="14"/>
                  </a:cubicBezTo>
                  <a:cubicBezTo>
                    <a:pt x="1391" y="13"/>
                    <a:pt x="1391" y="13"/>
                    <a:pt x="1391" y="13"/>
                  </a:cubicBezTo>
                  <a:close/>
                  <a:moveTo>
                    <a:pt x="1422" y="13"/>
                  </a:moveTo>
                  <a:cubicBezTo>
                    <a:pt x="1422" y="13"/>
                    <a:pt x="1422" y="13"/>
                    <a:pt x="1422" y="13"/>
                  </a:cubicBezTo>
                  <a:cubicBezTo>
                    <a:pt x="1422" y="13"/>
                    <a:pt x="1422" y="13"/>
                    <a:pt x="1422" y="13"/>
                  </a:cubicBezTo>
                  <a:close/>
                  <a:moveTo>
                    <a:pt x="685" y="91"/>
                  </a:moveTo>
                  <a:cubicBezTo>
                    <a:pt x="686" y="91"/>
                    <a:pt x="686" y="91"/>
                    <a:pt x="686" y="91"/>
                  </a:cubicBezTo>
                  <a:cubicBezTo>
                    <a:pt x="686" y="91"/>
                    <a:pt x="685" y="91"/>
                    <a:pt x="685" y="91"/>
                  </a:cubicBezTo>
                  <a:close/>
                  <a:moveTo>
                    <a:pt x="675" y="60"/>
                  </a:moveTo>
                  <a:cubicBezTo>
                    <a:pt x="675" y="60"/>
                    <a:pt x="675" y="60"/>
                    <a:pt x="675" y="60"/>
                  </a:cubicBezTo>
                  <a:cubicBezTo>
                    <a:pt x="675" y="60"/>
                    <a:pt x="675" y="60"/>
                    <a:pt x="675" y="60"/>
                  </a:cubicBezTo>
                  <a:close/>
                  <a:moveTo>
                    <a:pt x="728" y="91"/>
                  </a:moveTo>
                  <a:cubicBezTo>
                    <a:pt x="728" y="91"/>
                    <a:pt x="728" y="91"/>
                    <a:pt x="728" y="91"/>
                  </a:cubicBezTo>
                  <a:cubicBezTo>
                    <a:pt x="728" y="91"/>
                    <a:pt x="728" y="91"/>
                    <a:pt x="728" y="91"/>
                  </a:cubicBezTo>
                  <a:close/>
                  <a:moveTo>
                    <a:pt x="1368" y="60"/>
                  </a:moveTo>
                  <a:cubicBezTo>
                    <a:pt x="1368" y="60"/>
                    <a:pt x="1368" y="60"/>
                    <a:pt x="1368" y="60"/>
                  </a:cubicBezTo>
                  <a:cubicBezTo>
                    <a:pt x="1368" y="60"/>
                    <a:pt x="1368" y="60"/>
                    <a:pt x="1368" y="60"/>
                  </a:cubicBezTo>
                  <a:close/>
                  <a:moveTo>
                    <a:pt x="1383" y="60"/>
                  </a:moveTo>
                  <a:cubicBezTo>
                    <a:pt x="1383" y="60"/>
                    <a:pt x="1383" y="60"/>
                    <a:pt x="1383" y="60"/>
                  </a:cubicBezTo>
                  <a:cubicBezTo>
                    <a:pt x="1383" y="60"/>
                    <a:pt x="1383" y="60"/>
                    <a:pt x="1383" y="60"/>
                  </a:cubicBezTo>
                  <a:close/>
                  <a:moveTo>
                    <a:pt x="1552" y="60"/>
                  </a:moveTo>
                  <a:cubicBezTo>
                    <a:pt x="1552" y="60"/>
                    <a:pt x="1552" y="60"/>
                    <a:pt x="1553" y="60"/>
                  </a:cubicBezTo>
                  <a:cubicBezTo>
                    <a:pt x="1552" y="60"/>
                    <a:pt x="1552" y="60"/>
                    <a:pt x="1552" y="60"/>
                  </a:cubicBezTo>
                  <a:close/>
                  <a:moveTo>
                    <a:pt x="964" y="91"/>
                  </a:moveTo>
                  <a:cubicBezTo>
                    <a:pt x="964" y="91"/>
                    <a:pt x="964" y="91"/>
                    <a:pt x="964" y="91"/>
                  </a:cubicBezTo>
                  <a:cubicBezTo>
                    <a:pt x="964" y="91"/>
                    <a:pt x="964" y="91"/>
                    <a:pt x="964" y="91"/>
                  </a:cubicBezTo>
                  <a:close/>
                  <a:moveTo>
                    <a:pt x="1666" y="60"/>
                  </a:moveTo>
                  <a:cubicBezTo>
                    <a:pt x="1666" y="60"/>
                    <a:pt x="1666" y="60"/>
                    <a:pt x="1666" y="60"/>
                  </a:cubicBezTo>
                  <a:cubicBezTo>
                    <a:pt x="1666" y="60"/>
                    <a:pt x="1666" y="60"/>
                    <a:pt x="1666" y="60"/>
                  </a:cubicBezTo>
                  <a:close/>
                  <a:moveTo>
                    <a:pt x="1720" y="60"/>
                  </a:moveTo>
                  <a:cubicBezTo>
                    <a:pt x="1720" y="60"/>
                    <a:pt x="1721" y="60"/>
                    <a:pt x="1721" y="60"/>
                  </a:cubicBezTo>
                  <a:cubicBezTo>
                    <a:pt x="1720" y="60"/>
                    <a:pt x="1720" y="60"/>
                    <a:pt x="1720" y="60"/>
                  </a:cubicBezTo>
                  <a:close/>
                  <a:moveTo>
                    <a:pt x="1051" y="91"/>
                  </a:moveTo>
                  <a:cubicBezTo>
                    <a:pt x="1051" y="91"/>
                    <a:pt x="1051" y="91"/>
                    <a:pt x="1051" y="91"/>
                  </a:cubicBezTo>
                  <a:cubicBezTo>
                    <a:pt x="1051" y="91"/>
                    <a:pt x="1051" y="91"/>
                    <a:pt x="1051" y="91"/>
                  </a:cubicBezTo>
                  <a:close/>
                  <a:moveTo>
                    <a:pt x="1736" y="60"/>
                  </a:moveTo>
                  <a:cubicBezTo>
                    <a:pt x="1735" y="60"/>
                    <a:pt x="1735" y="60"/>
                    <a:pt x="1735" y="60"/>
                  </a:cubicBezTo>
                  <a:cubicBezTo>
                    <a:pt x="1735" y="60"/>
                    <a:pt x="1735" y="60"/>
                    <a:pt x="1736" y="60"/>
                  </a:cubicBezTo>
                  <a:close/>
                  <a:moveTo>
                    <a:pt x="581" y="60"/>
                  </a:moveTo>
                  <a:cubicBezTo>
                    <a:pt x="581" y="60"/>
                    <a:pt x="581" y="61"/>
                    <a:pt x="582" y="61"/>
                  </a:cubicBezTo>
                  <a:cubicBezTo>
                    <a:pt x="582" y="60"/>
                    <a:pt x="581" y="60"/>
                    <a:pt x="581" y="60"/>
                  </a:cubicBezTo>
                  <a:close/>
                  <a:moveTo>
                    <a:pt x="1229" y="91"/>
                  </a:moveTo>
                  <a:cubicBezTo>
                    <a:pt x="1229" y="91"/>
                    <a:pt x="1229" y="91"/>
                    <a:pt x="1229" y="91"/>
                  </a:cubicBezTo>
                  <a:cubicBezTo>
                    <a:pt x="1229" y="91"/>
                    <a:pt x="1229" y="91"/>
                    <a:pt x="1229" y="91"/>
                  </a:cubicBezTo>
                  <a:close/>
                  <a:moveTo>
                    <a:pt x="1460" y="13"/>
                  </a:moveTo>
                  <a:cubicBezTo>
                    <a:pt x="1460" y="13"/>
                    <a:pt x="1460" y="13"/>
                    <a:pt x="1460" y="13"/>
                  </a:cubicBezTo>
                  <a:cubicBezTo>
                    <a:pt x="1460" y="13"/>
                    <a:pt x="1460" y="13"/>
                    <a:pt x="1460" y="13"/>
                  </a:cubicBezTo>
                  <a:close/>
                  <a:moveTo>
                    <a:pt x="1417" y="91"/>
                  </a:moveTo>
                  <a:cubicBezTo>
                    <a:pt x="1417" y="91"/>
                    <a:pt x="1417" y="91"/>
                    <a:pt x="1417" y="91"/>
                  </a:cubicBezTo>
                  <a:cubicBezTo>
                    <a:pt x="1417" y="91"/>
                    <a:pt x="1417" y="91"/>
                    <a:pt x="1417" y="91"/>
                  </a:cubicBezTo>
                  <a:close/>
                  <a:moveTo>
                    <a:pt x="1532" y="13"/>
                  </a:moveTo>
                  <a:cubicBezTo>
                    <a:pt x="1532" y="13"/>
                    <a:pt x="1533" y="13"/>
                    <a:pt x="1533" y="13"/>
                  </a:cubicBezTo>
                  <a:cubicBezTo>
                    <a:pt x="1533" y="13"/>
                    <a:pt x="1532" y="13"/>
                    <a:pt x="1532" y="13"/>
                  </a:cubicBezTo>
                  <a:close/>
                  <a:moveTo>
                    <a:pt x="1575" y="13"/>
                  </a:moveTo>
                  <a:cubicBezTo>
                    <a:pt x="1575" y="13"/>
                    <a:pt x="1575" y="13"/>
                    <a:pt x="1575" y="13"/>
                  </a:cubicBezTo>
                  <a:cubicBezTo>
                    <a:pt x="1575" y="13"/>
                    <a:pt x="1575" y="13"/>
                    <a:pt x="1575" y="13"/>
                  </a:cubicBezTo>
                  <a:close/>
                  <a:moveTo>
                    <a:pt x="1676" y="13"/>
                  </a:moveTo>
                  <a:cubicBezTo>
                    <a:pt x="1676" y="13"/>
                    <a:pt x="1676" y="13"/>
                    <a:pt x="1676" y="13"/>
                  </a:cubicBezTo>
                  <a:cubicBezTo>
                    <a:pt x="1676" y="13"/>
                    <a:pt x="1676" y="13"/>
                    <a:pt x="1676" y="13"/>
                  </a:cubicBezTo>
                  <a:close/>
                  <a:moveTo>
                    <a:pt x="1573" y="54"/>
                  </a:moveTo>
                  <a:cubicBezTo>
                    <a:pt x="1573" y="54"/>
                    <a:pt x="1573" y="54"/>
                    <a:pt x="1573" y="54"/>
                  </a:cubicBezTo>
                  <a:cubicBezTo>
                    <a:pt x="1573" y="54"/>
                    <a:pt x="1573" y="54"/>
                    <a:pt x="1573" y="54"/>
                  </a:cubicBezTo>
                  <a:close/>
                  <a:moveTo>
                    <a:pt x="1559" y="55"/>
                  </a:moveTo>
                  <a:cubicBezTo>
                    <a:pt x="1559" y="55"/>
                    <a:pt x="1559" y="54"/>
                    <a:pt x="1560" y="54"/>
                  </a:cubicBezTo>
                  <a:cubicBezTo>
                    <a:pt x="1559" y="54"/>
                    <a:pt x="1559" y="54"/>
                    <a:pt x="1559" y="55"/>
                  </a:cubicBezTo>
                  <a:close/>
                  <a:moveTo>
                    <a:pt x="1700" y="13"/>
                  </a:moveTo>
                  <a:cubicBezTo>
                    <a:pt x="1701" y="13"/>
                    <a:pt x="1701" y="13"/>
                    <a:pt x="1701" y="13"/>
                  </a:cubicBezTo>
                  <a:cubicBezTo>
                    <a:pt x="1701" y="13"/>
                    <a:pt x="1701" y="13"/>
                    <a:pt x="1700" y="13"/>
                  </a:cubicBezTo>
                  <a:close/>
                  <a:moveTo>
                    <a:pt x="728" y="91"/>
                  </a:moveTo>
                  <a:cubicBezTo>
                    <a:pt x="728" y="92"/>
                    <a:pt x="728" y="92"/>
                    <a:pt x="729" y="92"/>
                  </a:cubicBezTo>
                  <a:cubicBezTo>
                    <a:pt x="728" y="92"/>
                    <a:pt x="728" y="92"/>
                    <a:pt x="728" y="91"/>
                  </a:cubicBezTo>
                  <a:close/>
                  <a:moveTo>
                    <a:pt x="1743" y="13"/>
                  </a:moveTo>
                  <a:cubicBezTo>
                    <a:pt x="1743" y="13"/>
                    <a:pt x="1743" y="13"/>
                    <a:pt x="1743" y="13"/>
                  </a:cubicBezTo>
                  <a:cubicBezTo>
                    <a:pt x="1743" y="13"/>
                    <a:pt x="1743" y="13"/>
                    <a:pt x="1743" y="13"/>
                  </a:cubicBezTo>
                  <a:close/>
                  <a:moveTo>
                    <a:pt x="1383" y="60"/>
                  </a:moveTo>
                  <a:cubicBezTo>
                    <a:pt x="1383" y="60"/>
                    <a:pt x="1383" y="60"/>
                    <a:pt x="1383" y="60"/>
                  </a:cubicBezTo>
                  <a:cubicBezTo>
                    <a:pt x="1383" y="60"/>
                    <a:pt x="1383" y="60"/>
                    <a:pt x="1383" y="60"/>
                  </a:cubicBezTo>
                  <a:close/>
                  <a:moveTo>
                    <a:pt x="1552" y="60"/>
                  </a:moveTo>
                  <a:cubicBezTo>
                    <a:pt x="1552" y="60"/>
                    <a:pt x="1552" y="60"/>
                    <a:pt x="1552" y="60"/>
                  </a:cubicBezTo>
                  <a:cubicBezTo>
                    <a:pt x="1552" y="60"/>
                    <a:pt x="1552" y="60"/>
                    <a:pt x="1552" y="60"/>
                  </a:cubicBezTo>
                  <a:close/>
                  <a:moveTo>
                    <a:pt x="964" y="92"/>
                  </a:moveTo>
                  <a:cubicBezTo>
                    <a:pt x="964" y="92"/>
                    <a:pt x="964" y="91"/>
                    <a:pt x="964" y="91"/>
                  </a:cubicBezTo>
                  <a:cubicBezTo>
                    <a:pt x="964" y="92"/>
                    <a:pt x="964" y="92"/>
                    <a:pt x="964" y="92"/>
                  </a:cubicBezTo>
                  <a:close/>
                  <a:moveTo>
                    <a:pt x="1567" y="60"/>
                  </a:moveTo>
                  <a:cubicBezTo>
                    <a:pt x="1567" y="60"/>
                    <a:pt x="1567" y="60"/>
                    <a:pt x="1567" y="60"/>
                  </a:cubicBezTo>
                  <a:cubicBezTo>
                    <a:pt x="1567" y="60"/>
                    <a:pt x="1567" y="60"/>
                    <a:pt x="1567" y="60"/>
                  </a:cubicBezTo>
                  <a:close/>
                  <a:moveTo>
                    <a:pt x="544" y="14"/>
                  </a:moveTo>
                  <a:cubicBezTo>
                    <a:pt x="544" y="14"/>
                    <a:pt x="544" y="14"/>
                    <a:pt x="544" y="13"/>
                  </a:cubicBezTo>
                  <a:cubicBezTo>
                    <a:pt x="544" y="14"/>
                    <a:pt x="544" y="14"/>
                    <a:pt x="544" y="14"/>
                  </a:cubicBezTo>
                  <a:close/>
                  <a:moveTo>
                    <a:pt x="1036" y="92"/>
                  </a:moveTo>
                  <a:cubicBezTo>
                    <a:pt x="1036" y="92"/>
                    <a:pt x="1035" y="91"/>
                    <a:pt x="1035" y="91"/>
                  </a:cubicBezTo>
                  <a:cubicBezTo>
                    <a:pt x="1035" y="92"/>
                    <a:pt x="1035" y="92"/>
                    <a:pt x="1036" y="92"/>
                  </a:cubicBezTo>
                  <a:close/>
                  <a:moveTo>
                    <a:pt x="1347" y="14"/>
                  </a:moveTo>
                  <a:cubicBezTo>
                    <a:pt x="1348" y="14"/>
                    <a:pt x="1348" y="14"/>
                    <a:pt x="1348" y="14"/>
                  </a:cubicBezTo>
                  <a:cubicBezTo>
                    <a:pt x="1348" y="14"/>
                    <a:pt x="1348" y="14"/>
                    <a:pt x="1347" y="14"/>
                  </a:cubicBezTo>
                  <a:close/>
                  <a:moveTo>
                    <a:pt x="1735" y="60"/>
                  </a:moveTo>
                  <a:cubicBezTo>
                    <a:pt x="1735" y="60"/>
                    <a:pt x="1735" y="60"/>
                    <a:pt x="1735" y="60"/>
                  </a:cubicBezTo>
                  <a:cubicBezTo>
                    <a:pt x="1735" y="60"/>
                    <a:pt x="1735" y="60"/>
                    <a:pt x="1735" y="60"/>
                  </a:cubicBezTo>
                  <a:close/>
                  <a:moveTo>
                    <a:pt x="582" y="61"/>
                  </a:moveTo>
                  <a:cubicBezTo>
                    <a:pt x="582" y="61"/>
                    <a:pt x="582" y="61"/>
                    <a:pt x="582" y="61"/>
                  </a:cubicBezTo>
                  <a:cubicBezTo>
                    <a:pt x="582" y="61"/>
                    <a:pt x="582" y="61"/>
                    <a:pt x="582" y="61"/>
                  </a:cubicBezTo>
                  <a:close/>
                  <a:moveTo>
                    <a:pt x="1213" y="92"/>
                  </a:moveTo>
                  <a:cubicBezTo>
                    <a:pt x="1213" y="92"/>
                    <a:pt x="1213" y="91"/>
                    <a:pt x="1213" y="91"/>
                  </a:cubicBezTo>
                  <a:cubicBezTo>
                    <a:pt x="1213" y="92"/>
                    <a:pt x="1213" y="92"/>
                    <a:pt x="1213" y="92"/>
                  </a:cubicBezTo>
                  <a:close/>
                  <a:moveTo>
                    <a:pt x="1391" y="13"/>
                  </a:moveTo>
                  <a:cubicBezTo>
                    <a:pt x="1391" y="14"/>
                    <a:pt x="1391" y="14"/>
                    <a:pt x="1391" y="14"/>
                  </a:cubicBezTo>
                  <a:cubicBezTo>
                    <a:pt x="1391" y="14"/>
                    <a:pt x="1391" y="14"/>
                    <a:pt x="1391" y="13"/>
                  </a:cubicBezTo>
                  <a:close/>
                  <a:moveTo>
                    <a:pt x="1421" y="14"/>
                  </a:moveTo>
                  <a:cubicBezTo>
                    <a:pt x="1421" y="14"/>
                    <a:pt x="1422" y="14"/>
                    <a:pt x="1422" y="13"/>
                  </a:cubicBezTo>
                  <a:cubicBezTo>
                    <a:pt x="1421" y="14"/>
                    <a:pt x="1421" y="14"/>
                    <a:pt x="1421" y="14"/>
                  </a:cubicBezTo>
                  <a:close/>
                  <a:moveTo>
                    <a:pt x="1375" y="55"/>
                  </a:moveTo>
                  <a:cubicBezTo>
                    <a:pt x="1375" y="55"/>
                    <a:pt x="1375" y="54"/>
                    <a:pt x="1375" y="54"/>
                  </a:cubicBezTo>
                  <a:cubicBezTo>
                    <a:pt x="1375" y="54"/>
                    <a:pt x="1375" y="54"/>
                    <a:pt x="1375" y="55"/>
                  </a:cubicBezTo>
                  <a:close/>
                  <a:moveTo>
                    <a:pt x="1462" y="91"/>
                  </a:moveTo>
                  <a:cubicBezTo>
                    <a:pt x="1462" y="91"/>
                    <a:pt x="1462" y="92"/>
                    <a:pt x="1462" y="92"/>
                  </a:cubicBezTo>
                  <a:cubicBezTo>
                    <a:pt x="1462" y="92"/>
                    <a:pt x="1462" y="92"/>
                    <a:pt x="1462" y="91"/>
                  </a:cubicBezTo>
                  <a:close/>
                  <a:moveTo>
                    <a:pt x="573" y="54"/>
                  </a:moveTo>
                  <a:cubicBezTo>
                    <a:pt x="573" y="54"/>
                    <a:pt x="573" y="54"/>
                    <a:pt x="573" y="54"/>
                  </a:cubicBezTo>
                  <a:cubicBezTo>
                    <a:pt x="573" y="54"/>
                    <a:pt x="573" y="54"/>
                    <a:pt x="573" y="54"/>
                  </a:cubicBezTo>
                  <a:close/>
                  <a:moveTo>
                    <a:pt x="1367" y="61"/>
                  </a:moveTo>
                  <a:cubicBezTo>
                    <a:pt x="1367" y="61"/>
                    <a:pt x="1367" y="61"/>
                    <a:pt x="1367" y="60"/>
                  </a:cubicBezTo>
                  <a:cubicBezTo>
                    <a:pt x="1367" y="61"/>
                    <a:pt x="1367" y="61"/>
                    <a:pt x="1367" y="61"/>
                  </a:cubicBezTo>
                  <a:close/>
                  <a:moveTo>
                    <a:pt x="1460" y="13"/>
                  </a:moveTo>
                  <a:cubicBezTo>
                    <a:pt x="1460" y="14"/>
                    <a:pt x="1460" y="14"/>
                    <a:pt x="1461" y="14"/>
                  </a:cubicBezTo>
                  <a:cubicBezTo>
                    <a:pt x="1460" y="14"/>
                    <a:pt x="1460" y="14"/>
                    <a:pt x="1460" y="13"/>
                  </a:cubicBezTo>
                  <a:close/>
                  <a:moveTo>
                    <a:pt x="1390" y="53"/>
                  </a:moveTo>
                  <a:cubicBezTo>
                    <a:pt x="1389" y="54"/>
                    <a:pt x="1389" y="54"/>
                    <a:pt x="1389" y="54"/>
                  </a:cubicBezTo>
                  <a:cubicBezTo>
                    <a:pt x="1389" y="54"/>
                    <a:pt x="1389" y="54"/>
                    <a:pt x="1390" y="53"/>
                  </a:cubicBezTo>
                  <a:close/>
                  <a:moveTo>
                    <a:pt x="585" y="92"/>
                  </a:moveTo>
                  <a:cubicBezTo>
                    <a:pt x="585" y="92"/>
                    <a:pt x="585" y="92"/>
                    <a:pt x="585" y="92"/>
                  </a:cubicBezTo>
                  <a:cubicBezTo>
                    <a:pt x="585" y="92"/>
                    <a:pt x="585" y="92"/>
                    <a:pt x="585" y="92"/>
                  </a:cubicBezTo>
                  <a:close/>
                  <a:moveTo>
                    <a:pt x="1575" y="13"/>
                  </a:moveTo>
                  <a:cubicBezTo>
                    <a:pt x="1575" y="14"/>
                    <a:pt x="1575" y="14"/>
                    <a:pt x="1575" y="14"/>
                  </a:cubicBezTo>
                  <a:cubicBezTo>
                    <a:pt x="1575" y="14"/>
                    <a:pt x="1575" y="14"/>
                    <a:pt x="1575" y="13"/>
                  </a:cubicBezTo>
                  <a:close/>
                  <a:moveTo>
                    <a:pt x="1567" y="60"/>
                  </a:moveTo>
                  <a:cubicBezTo>
                    <a:pt x="1567" y="60"/>
                    <a:pt x="1566" y="61"/>
                    <a:pt x="1566" y="61"/>
                  </a:cubicBezTo>
                  <a:cubicBezTo>
                    <a:pt x="1567" y="61"/>
                    <a:pt x="1567" y="61"/>
                    <a:pt x="1567" y="60"/>
                  </a:cubicBezTo>
                  <a:close/>
                  <a:moveTo>
                    <a:pt x="684" y="92"/>
                  </a:moveTo>
                  <a:cubicBezTo>
                    <a:pt x="685" y="92"/>
                    <a:pt x="685" y="92"/>
                    <a:pt x="685" y="92"/>
                  </a:cubicBezTo>
                  <a:cubicBezTo>
                    <a:pt x="685" y="92"/>
                    <a:pt x="684" y="92"/>
                    <a:pt x="684" y="92"/>
                  </a:cubicBezTo>
                  <a:close/>
                  <a:moveTo>
                    <a:pt x="1735" y="60"/>
                  </a:moveTo>
                  <a:cubicBezTo>
                    <a:pt x="1735" y="60"/>
                    <a:pt x="1734" y="61"/>
                    <a:pt x="1734" y="61"/>
                  </a:cubicBezTo>
                  <a:cubicBezTo>
                    <a:pt x="1735" y="61"/>
                    <a:pt x="1735" y="61"/>
                    <a:pt x="1735" y="60"/>
                  </a:cubicBezTo>
                  <a:close/>
                  <a:moveTo>
                    <a:pt x="582" y="61"/>
                  </a:moveTo>
                  <a:cubicBezTo>
                    <a:pt x="582" y="61"/>
                    <a:pt x="582" y="61"/>
                    <a:pt x="582" y="61"/>
                  </a:cubicBezTo>
                  <a:cubicBezTo>
                    <a:pt x="582" y="61"/>
                    <a:pt x="582" y="61"/>
                    <a:pt x="582" y="61"/>
                  </a:cubicBezTo>
                  <a:close/>
                  <a:moveTo>
                    <a:pt x="1676" y="13"/>
                  </a:moveTo>
                  <a:cubicBezTo>
                    <a:pt x="1676" y="14"/>
                    <a:pt x="1676" y="14"/>
                    <a:pt x="1676" y="14"/>
                  </a:cubicBezTo>
                  <a:cubicBezTo>
                    <a:pt x="1676" y="14"/>
                    <a:pt x="1676" y="14"/>
                    <a:pt x="1676" y="13"/>
                  </a:cubicBezTo>
                  <a:close/>
                  <a:moveTo>
                    <a:pt x="1376" y="54"/>
                  </a:moveTo>
                  <a:cubicBezTo>
                    <a:pt x="1376" y="54"/>
                    <a:pt x="1376" y="54"/>
                    <a:pt x="1376" y="54"/>
                  </a:cubicBezTo>
                  <a:cubicBezTo>
                    <a:pt x="1376" y="54"/>
                    <a:pt x="1376" y="54"/>
                    <a:pt x="1376" y="54"/>
                  </a:cubicBezTo>
                  <a:close/>
                  <a:moveTo>
                    <a:pt x="1743" y="13"/>
                  </a:moveTo>
                  <a:cubicBezTo>
                    <a:pt x="1743" y="14"/>
                    <a:pt x="1743" y="14"/>
                    <a:pt x="1744" y="14"/>
                  </a:cubicBezTo>
                  <a:cubicBezTo>
                    <a:pt x="1743" y="14"/>
                    <a:pt x="1743" y="14"/>
                    <a:pt x="1743" y="13"/>
                  </a:cubicBezTo>
                  <a:close/>
                  <a:moveTo>
                    <a:pt x="660" y="61"/>
                  </a:moveTo>
                  <a:cubicBezTo>
                    <a:pt x="660" y="61"/>
                    <a:pt x="660" y="61"/>
                    <a:pt x="660" y="61"/>
                  </a:cubicBezTo>
                  <a:cubicBezTo>
                    <a:pt x="660" y="61"/>
                    <a:pt x="660" y="61"/>
                    <a:pt x="660" y="61"/>
                  </a:cubicBezTo>
                  <a:close/>
                  <a:moveTo>
                    <a:pt x="965" y="92"/>
                  </a:moveTo>
                  <a:cubicBezTo>
                    <a:pt x="965" y="92"/>
                    <a:pt x="964" y="92"/>
                    <a:pt x="964" y="92"/>
                  </a:cubicBezTo>
                  <a:cubicBezTo>
                    <a:pt x="964" y="92"/>
                    <a:pt x="964" y="92"/>
                    <a:pt x="965" y="92"/>
                  </a:cubicBezTo>
                  <a:close/>
                  <a:moveTo>
                    <a:pt x="544" y="14"/>
                  </a:moveTo>
                  <a:cubicBezTo>
                    <a:pt x="544" y="14"/>
                    <a:pt x="544" y="14"/>
                    <a:pt x="544" y="14"/>
                  </a:cubicBezTo>
                  <a:cubicBezTo>
                    <a:pt x="544" y="14"/>
                    <a:pt x="544" y="14"/>
                    <a:pt x="544" y="14"/>
                  </a:cubicBezTo>
                  <a:close/>
                  <a:moveTo>
                    <a:pt x="971" y="14"/>
                  </a:moveTo>
                  <a:cubicBezTo>
                    <a:pt x="971" y="14"/>
                    <a:pt x="971" y="14"/>
                    <a:pt x="971" y="14"/>
                  </a:cubicBezTo>
                  <a:cubicBezTo>
                    <a:pt x="971" y="14"/>
                    <a:pt x="971" y="14"/>
                    <a:pt x="971" y="14"/>
                  </a:cubicBezTo>
                  <a:close/>
                  <a:moveTo>
                    <a:pt x="1347" y="14"/>
                  </a:moveTo>
                  <a:cubicBezTo>
                    <a:pt x="1347" y="14"/>
                    <a:pt x="1347" y="14"/>
                    <a:pt x="1348" y="14"/>
                  </a:cubicBezTo>
                  <a:cubicBezTo>
                    <a:pt x="1347" y="14"/>
                    <a:pt x="1347" y="14"/>
                    <a:pt x="1347" y="14"/>
                  </a:cubicBezTo>
                  <a:close/>
                  <a:moveTo>
                    <a:pt x="1551" y="61"/>
                  </a:moveTo>
                  <a:cubicBezTo>
                    <a:pt x="1551" y="61"/>
                    <a:pt x="1551" y="61"/>
                    <a:pt x="1551" y="61"/>
                  </a:cubicBezTo>
                  <a:cubicBezTo>
                    <a:pt x="1551" y="61"/>
                    <a:pt x="1551" y="61"/>
                    <a:pt x="1551" y="61"/>
                  </a:cubicBezTo>
                  <a:close/>
                  <a:moveTo>
                    <a:pt x="1566" y="61"/>
                  </a:moveTo>
                  <a:cubicBezTo>
                    <a:pt x="1566" y="61"/>
                    <a:pt x="1566" y="61"/>
                    <a:pt x="1566" y="61"/>
                  </a:cubicBezTo>
                  <a:cubicBezTo>
                    <a:pt x="1566" y="61"/>
                    <a:pt x="1566" y="61"/>
                    <a:pt x="1566" y="61"/>
                  </a:cubicBezTo>
                  <a:close/>
                  <a:moveTo>
                    <a:pt x="1189" y="92"/>
                  </a:moveTo>
                  <a:cubicBezTo>
                    <a:pt x="1189" y="92"/>
                    <a:pt x="1189" y="92"/>
                    <a:pt x="1189" y="92"/>
                  </a:cubicBezTo>
                  <a:cubicBezTo>
                    <a:pt x="1189" y="92"/>
                    <a:pt x="1189" y="92"/>
                    <a:pt x="1189" y="92"/>
                  </a:cubicBezTo>
                  <a:close/>
                  <a:moveTo>
                    <a:pt x="1201" y="92"/>
                  </a:moveTo>
                  <a:cubicBezTo>
                    <a:pt x="1201" y="92"/>
                    <a:pt x="1202" y="92"/>
                    <a:pt x="1202" y="92"/>
                  </a:cubicBezTo>
                  <a:cubicBezTo>
                    <a:pt x="1202" y="92"/>
                    <a:pt x="1201" y="92"/>
                    <a:pt x="1201" y="92"/>
                  </a:cubicBezTo>
                  <a:close/>
                  <a:moveTo>
                    <a:pt x="1667" y="61"/>
                  </a:moveTo>
                  <a:cubicBezTo>
                    <a:pt x="1667" y="61"/>
                    <a:pt x="1667" y="61"/>
                    <a:pt x="1667" y="61"/>
                  </a:cubicBezTo>
                  <a:cubicBezTo>
                    <a:pt x="1667" y="61"/>
                    <a:pt x="1667" y="61"/>
                    <a:pt x="1667" y="61"/>
                  </a:cubicBezTo>
                  <a:close/>
                  <a:moveTo>
                    <a:pt x="1719" y="61"/>
                  </a:moveTo>
                  <a:cubicBezTo>
                    <a:pt x="1719" y="61"/>
                    <a:pt x="1719" y="61"/>
                    <a:pt x="1719" y="61"/>
                  </a:cubicBezTo>
                  <a:cubicBezTo>
                    <a:pt x="1719" y="61"/>
                    <a:pt x="1719" y="61"/>
                    <a:pt x="1719" y="61"/>
                  </a:cubicBezTo>
                  <a:close/>
                  <a:moveTo>
                    <a:pt x="1734" y="61"/>
                  </a:moveTo>
                  <a:cubicBezTo>
                    <a:pt x="1734" y="61"/>
                    <a:pt x="1734" y="61"/>
                    <a:pt x="1734" y="61"/>
                  </a:cubicBezTo>
                  <a:cubicBezTo>
                    <a:pt x="1734" y="61"/>
                    <a:pt x="1734" y="61"/>
                    <a:pt x="1734" y="61"/>
                  </a:cubicBezTo>
                  <a:close/>
                  <a:moveTo>
                    <a:pt x="582" y="61"/>
                  </a:moveTo>
                  <a:cubicBezTo>
                    <a:pt x="582" y="61"/>
                    <a:pt x="582" y="62"/>
                    <a:pt x="583" y="62"/>
                  </a:cubicBezTo>
                  <a:cubicBezTo>
                    <a:pt x="583" y="61"/>
                    <a:pt x="582" y="61"/>
                    <a:pt x="582" y="61"/>
                  </a:cubicBezTo>
                  <a:close/>
                  <a:moveTo>
                    <a:pt x="1391" y="14"/>
                  </a:moveTo>
                  <a:cubicBezTo>
                    <a:pt x="1391" y="14"/>
                    <a:pt x="1391" y="14"/>
                    <a:pt x="1392" y="14"/>
                  </a:cubicBezTo>
                  <a:cubicBezTo>
                    <a:pt x="1392" y="14"/>
                    <a:pt x="1391" y="14"/>
                    <a:pt x="1391" y="14"/>
                  </a:cubicBezTo>
                  <a:close/>
                  <a:moveTo>
                    <a:pt x="1421" y="14"/>
                  </a:moveTo>
                  <a:cubicBezTo>
                    <a:pt x="1421" y="14"/>
                    <a:pt x="1421" y="14"/>
                    <a:pt x="1421" y="14"/>
                  </a:cubicBezTo>
                  <a:cubicBezTo>
                    <a:pt x="1421" y="14"/>
                    <a:pt x="1421" y="14"/>
                    <a:pt x="1421" y="14"/>
                  </a:cubicBezTo>
                  <a:close/>
                  <a:moveTo>
                    <a:pt x="1461" y="14"/>
                  </a:moveTo>
                  <a:cubicBezTo>
                    <a:pt x="1461" y="14"/>
                    <a:pt x="1461" y="14"/>
                    <a:pt x="1461" y="14"/>
                  </a:cubicBezTo>
                  <a:cubicBezTo>
                    <a:pt x="1461" y="14"/>
                    <a:pt x="1461" y="14"/>
                    <a:pt x="1461" y="14"/>
                  </a:cubicBezTo>
                  <a:close/>
                  <a:moveTo>
                    <a:pt x="585" y="92"/>
                  </a:moveTo>
                  <a:cubicBezTo>
                    <a:pt x="585" y="92"/>
                    <a:pt x="585" y="92"/>
                    <a:pt x="585" y="92"/>
                  </a:cubicBezTo>
                  <a:cubicBezTo>
                    <a:pt x="585" y="92"/>
                    <a:pt x="585" y="92"/>
                    <a:pt x="585" y="92"/>
                  </a:cubicBezTo>
                  <a:close/>
                  <a:moveTo>
                    <a:pt x="1575" y="14"/>
                  </a:moveTo>
                  <a:cubicBezTo>
                    <a:pt x="1575" y="14"/>
                    <a:pt x="1576" y="14"/>
                    <a:pt x="1576" y="14"/>
                  </a:cubicBezTo>
                  <a:cubicBezTo>
                    <a:pt x="1576" y="14"/>
                    <a:pt x="1576" y="14"/>
                    <a:pt x="1575" y="14"/>
                  </a:cubicBezTo>
                  <a:close/>
                  <a:moveTo>
                    <a:pt x="1744" y="14"/>
                  </a:moveTo>
                  <a:cubicBezTo>
                    <a:pt x="1744" y="14"/>
                    <a:pt x="1744" y="14"/>
                    <a:pt x="1744" y="14"/>
                  </a:cubicBezTo>
                  <a:cubicBezTo>
                    <a:pt x="1744" y="14"/>
                    <a:pt x="1744" y="14"/>
                    <a:pt x="1744" y="14"/>
                  </a:cubicBezTo>
                  <a:close/>
                  <a:moveTo>
                    <a:pt x="1382" y="61"/>
                  </a:moveTo>
                  <a:cubicBezTo>
                    <a:pt x="1381" y="61"/>
                    <a:pt x="1381" y="61"/>
                    <a:pt x="1381" y="61"/>
                  </a:cubicBezTo>
                  <a:cubicBezTo>
                    <a:pt x="1381" y="61"/>
                    <a:pt x="1381" y="61"/>
                    <a:pt x="1382" y="61"/>
                  </a:cubicBezTo>
                  <a:close/>
                  <a:moveTo>
                    <a:pt x="729" y="92"/>
                  </a:moveTo>
                  <a:cubicBezTo>
                    <a:pt x="729" y="92"/>
                    <a:pt x="729" y="92"/>
                    <a:pt x="730" y="92"/>
                  </a:cubicBezTo>
                  <a:cubicBezTo>
                    <a:pt x="729" y="92"/>
                    <a:pt x="729" y="92"/>
                    <a:pt x="729" y="92"/>
                  </a:cubicBezTo>
                  <a:close/>
                  <a:moveTo>
                    <a:pt x="543" y="14"/>
                  </a:moveTo>
                  <a:cubicBezTo>
                    <a:pt x="544" y="14"/>
                    <a:pt x="544" y="14"/>
                    <a:pt x="544" y="14"/>
                  </a:cubicBezTo>
                  <a:cubicBezTo>
                    <a:pt x="544" y="14"/>
                    <a:pt x="543" y="14"/>
                    <a:pt x="543" y="14"/>
                  </a:cubicBezTo>
                  <a:close/>
                  <a:moveTo>
                    <a:pt x="754" y="92"/>
                  </a:moveTo>
                  <a:cubicBezTo>
                    <a:pt x="754" y="92"/>
                    <a:pt x="754" y="92"/>
                    <a:pt x="754" y="92"/>
                  </a:cubicBezTo>
                  <a:cubicBezTo>
                    <a:pt x="754" y="92"/>
                    <a:pt x="754" y="92"/>
                    <a:pt x="754" y="92"/>
                  </a:cubicBezTo>
                  <a:close/>
                  <a:moveTo>
                    <a:pt x="970" y="14"/>
                  </a:moveTo>
                  <a:cubicBezTo>
                    <a:pt x="971" y="14"/>
                    <a:pt x="971" y="14"/>
                    <a:pt x="971" y="14"/>
                  </a:cubicBezTo>
                  <a:cubicBezTo>
                    <a:pt x="971" y="14"/>
                    <a:pt x="971" y="14"/>
                    <a:pt x="970" y="14"/>
                  </a:cubicBezTo>
                  <a:close/>
                  <a:moveTo>
                    <a:pt x="1667" y="61"/>
                  </a:moveTo>
                  <a:cubicBezTo>
                    <a:pt x="1667" y="61"/>
                    <a:pt x="1667" y="62"/>
                    <a:pt x="1668" y="62"/>
                  </a:cubicBezTo>
                  <a:cubicBezTo>
                    <a:pt x="1668" y="61"/>
                    <a:pt x="1667" y="61"/>
                    <a:pt x="1667" y="61"/>
                  </a:cubicBezTo>
                  <a:close/>
                  <a:moveTo>
                    <a:pt x="965" y="92"/>
                  </a:moveTo>
                  <a:cubicBezTo>
                    <a:pt x="965" y="92"/>
                    <a:pt x="965" y="92"/>
                    <a:pt x="965" y="92"/>
                  </a:cubicBezTo>
                  <a:cubicBezTo>
                    <a:pt x="965" y="92"/>
                    <a:pt x="965" y="92"/>
                    <a:pt x="965" y="92"/>
                  </a:cubicBezTo>
                  <a:close/>
                  <a:moveTo>
                    <a:pt x="1347" y="15"/>
                  </a:moveTo>
                  <a:cubicBezTo>
                    <a:pt x="1347" y="15"/>
                    <a:pt x="1347" y="14"/>
                    <a:pt x="1347" y="14"/>
                  </a:cubicBezTo>
                  <a:cubicBezTo>
                    <a:pt x="1347" y="14"/>
                    <a:pt x="1347" y="14"/>
                    <a:pt x="1347" y="15"/>
                  </a:cubicBezTo>
                  <a:close/>
                  <a:moveTo>
                    <a:pt x="1392" y="14"/>
                  </a:moveTo>
                  <a:cubicBezTo>
                    <a:pt x="1392" y="14"/>
                    <a:pt x="1392" y="15"/>
                    <a:pt x="1392" y="15"/>
                  </a:cubicBezTo>
                  <a:cubicBezTo>
                    <a:pt x="1392" y="14"/>
                    <a:pt x="1392" y="14"/>
                    <a:pt x="1392" y="14"/>
                  </a:cubicBezTo>
                  <a:close/>
                  <a:moveTo>
                    <a:pt x="583" y="62"/>
                  </a:moveTo>
                  <a:cubicBezTo>
                    <a:pt x="583" y="62"/>
                    <a:pt x="583" y="62"/>
                    <a:pt x="583" y="62"/>
                  </a:cubicBezTo>
                  <a:cubicBezTo>
                    <a:pt x="583" y="62"/>
                    <a:pt x="583" y="62"/>
                    <a:pt x="583" y="62"/>
                  </a:cubicBezTo>
                  <a:close/>
                  <a:moveTo>
                    <a:pt x="661" y="62"/>
                  </a:moveTo>
                  <a:cubicBezTo>
                    <a:pt x="661" y="62"/>
                    <a:pt x="661" y="61"/>
                    <a:pt x="660" y="61"/>
                  </a:cubicBezTo>
                  <a:cubicBezTo>
                    <a:pt x="660" y="62"/>
                    <a:pt x="660" y="62"/>
                    <a:pt x="661" y="62"/>
                  </a:cubicBezTo>
                  <a:close/>
                  <a:moveTo>
                    <a:pt x="1421" y="15"/>
                  </a:moveTo>
                  <a:cubicBezTo>
                    <a:pt x="1421" y="15"/>
                    <a:pt x="1421" y="14"/>
                    <a:pt x="1421" y="14"/>
                  </a:cubicBezTo>
                  <a:cubicBezTo>
                    <a:pt x="1421" y="14"/>
                    <a:pt x="1421" y="14"/>
                    <a:pt x="1421" y="15"/>
                  </a:cubicBezTo>
                  <a:close/>
                  <a:moveTo>
                    <a:pt x="1576" y="14"/>
                  </a:moveTo>
                  <a:cubicBezTo>
                    <a:pt x="1576" y="14"/>
                    <a:pt x="1576" y="14"/>
                    <a:pt x="1576" y="15"/>
                  </a:cubicBezTo>
                  <a:cubicBezTo>
                    <a:pt x="1576" y="14"/>
                    <a:pt x="1576" y="14"/>
                    <a:pt x="1576" y="14"/>
                  </a:cubicBezTo>
                  <a:close/>
                  <a:moveTo>
                    <a:pt x="1366" y="62"/>
                  </a:moveTo>
                  <a:cubicBezTo>
                    <a:pt x="1366" y="62"/>
                    <a:pt x="1366" y="62"/>
                    <a:pt x="1366" y="62"/>
                  </a:cubicBezTo>
                  <a:cubicBezTo>
                    <a:pt x="1366" y="62"/>
                    <a:pt x="1366" y="62"/>
                    <a:pt x="1366" y="62"/>
                  </a:cubicBezTo>
                  <a:close/>
                  <a:moveTo>
                    <a:pt x="1381" y="61"/>
                  </a:moveTo>
                  <a:cubicBezTo>
                    <a:pt x="1381" y="61"/>
                    <a:pt x="1381" y="62"/>
                    <a:pt x="1381" y="62"/>
                  </a:cubicBezTo>
                  <a:cubicBezTo>
                    <a:pt x="1381" y="62"/>
                    <a:pt x="1381" y="62"/>
                    <a:pt x="1381" y="61"/>
                  </a:cubicBezTo>
                  <a:close/>
                  <a:moveTo>
                    <a:pt x="1744" y="14"/>
                  </a:moveTo>
                  <a:cubicBezTo>
                    <a:pt x="1744" y="14"/>
                    <a:pt x="1744" y="14"/>
                    <a:pt x="1744" y="15"/>
                  </a:cubicBezTo>
                  <a:cubicBezTo>
                    <a:pt x="1744" y="14"/>
                    <a:pt x="1744" y="14"/>
                    <a:pt x="1744" y="14"/>
                  </a:cubicBezTo>
                  <a:close/>
                  <a:moveTo>
                    <a:pt x="1418" y="92"/>
                  </a:moveTo>
                  <a:cubicBezTo>
                    <a:pt x="1418" y="92"/>
                    <a:pt x="1418" y="92"/>
                    <a:pt x="1418" y="92"/>
                  </a:cubicBezTo>
                  <a:cubicBezTo>
                    <a:pt x="1418" y="92"/>
                    <a:pt x="1418" y="92"/>
                    <a:pt x="1418" y="92"/>
                  </a:cubicBezTo>
                  <a:close/>
                  <a:moveTo>
                    <a:pt x="1668" y="62"/>
                  </a:moveTo>
                  <a:cubicBezTo>
                    <a:pt x="1668" y="62"/>
                    <a:pt x="1668" y="62"/>
                    <a:pt x="1668" y="62"/>
                  </a:cubicBezTo>
                  <a:cubicBezTo>
                    <a:pt x="1668" y="62"/>
                    <a:pt x="1668" y="62"/>
                    <a:pt x="1668" y="62"/>
                  </a:cubicBezTo>
                  <a:close/>
                  <a:moveTo>
                    <a:pt x="583" y="62"/>
                  </a:moveTo>
                  <a:cubicBezTo>
                    <a:pt x="583" y="62"/>
                    <a:pt x="583" y="62"/>
                    <a:pt x="583" y="62"/>
                  </a:cubicBezTo>
                  <a:cubicBezTo>
                    <a:pt x="583" y="62"/>
                    <a:pt x="583" y="62"/>
                    <a:pt x="583" y="62"/>
                  </a:cubicBezTo>
                  <a:close/>
                  <a:moveTo>
                    <a:pt x="543" y="15"/>
                  </a:moveTo>
                  <a:cubicBezTo>
                    <a:pt x="543" y="15"/>
                    <a:pt x="543" y="15"/>
                    <a:pt x="543" y="14"/>
                  </a:cubicBezTo>
                  <a:cubicBezTo>
                    <a:pt x="543" y="15"/>
                    <a:pt x="543" y="15"/>
                    <a:pt x="543" y="15"/>
                  </a:cubicBezTo>
                  <a:close/>
                  <a:moveTo>
                    <a:pt x="1420" y="15"/>
                  </a:moveTo>
                  <a:cubicBezTo>
                    <a:pt x="1420" y="15"/>
                    <a:pt x="1421" y="15"/>
                    <a:pt x="1421" y="15"/>
                  </a:cubicBezTo>
                  <a:cubicBezTo>
                    <a:pt x="1420" y="15"/>
                    <a:pt x="1420" y="15"/>
                    <a:pt x="1420" y="15"/>
                  </a:cubicBezTo>
                  <a:close/>
                  <a:moveTo>
                    <a:pt x="1576" y="15"/>
                  </a:moveTo>
                  <a:cubicBezTo>
                    <a:pt x="1576" y="15"/>
                    <a:pt x="1576" y="15"/>
                    <a:pt x="1576" y="15"/>
                  </a:cubicBezTo>
                  <a:cubicBezTo>
                    <a:pt x="1576" y="15"/>
                    <a:pt x="1576" y="15"/>
                    <a:pt x="1576" y="15"/>
                  </a:cubicBezTo>
                  <a:close/>
                  <a:moveTo>
                    <a:pt x="1744" y="15"/>
                  </a:moveTo>
                  <a:cubicBezTo>
                    <a:pt x="1744" y="15"/>
                    <a:pt x="1744" y="15"/>
                    <a:pt x="1745" y="15"/>
                  </a:cubicBezTo>
                  <a:cubicBezTo>
                    <a:pt x="1745" y="15"/>
                    <a:pt x="1744" y="15"/>
                    <a:pt x="1744" y="15"/>
                  </a:cubicBezTo>
                  <a:close/>
                  <a:moveTo>
                    <a:pt x="543" y="15"/>
                  </a:moveTo>
                  <a:cubicBezTo>
                    <a:pt x="543" y="15"/>
                    <a:pt x="543" y="15"/>
                    <a:pt x="543" y="15"/>
                  </a:cubicBezTo>
                  <a:cubicBezTo>
                    <a:pt x="543" y="15"/>
                    <a:pt x="543" y="15"/>
                    <a:pt x="543" y="15"/>
                  </a:cubicBezTo>
                  <a:close/>
                  <a:moveTo>
                    <a:pt x="969" y="15"/>
                  </a:moveTo>
                  <a:cubicBezTo>
                    <a:pt x="970" y="15"/>
                    <a:pt x="970" y="15"/>
                    <a:pt x="970" y="15"/>
                  </a:cubicBezTo>
                  <a:cubicBezTo>
                    <a:pt x="970" y="15"/>
                    <a:pt x="969" y="15"/>
                    <a:pt x="969" y="15"/>
                  </a:cubicBezTo>
                  <a:close/>
                  <a:moveTo>
                    <a:pt x="542" y="16"/>
                  </a:moveTo>
                  <a:cubicBezTo>
                    <a:pt x="543" y="16"/>
                    <a:pt x="543" y="15"/>
                    <a:pt x="543" y="15"/>
                  </a:cubicBezTo>
                  <a:cubicBezTo>
                    <a:pt x="543" y="15"/>
                    <a:pt x="542" y="15"/>
                    <a:pt x="542" y="16"/>
                  </a:cubicBezTo>
                  <a:close/>
                  <a:moveTo>
                    <a:pt x="1381" y="62"/>
                  </a:moveTo>
                  <a:cubicBezTo>
                    <a:pt x="1381" y="62"/>
                    <a:pt x="1380" y="62"/>
                    <a:pt x="1380" y="62"/>
                  </a:cubicBezTo>
                  <a:cubicBezTo>
                    <a:pt x="1381" y="62"/>
                    <a:pt x="1381" y="62"/>
                    <a:pt x="1381" y="62"/>
                  </a:cubicBezTo>
                  <a:close/>
                  <a:moveTo>
                    <a:pt x="1549" y="62"/>
                  </a:moveTo>
                  <a:cubicBezTo>
                    <a:pt x="1550" y="62"/>
                    <a:pt x="1550" y="62"/>
                    <a:pt x="1550" y="62"/>
                  </a:cubicBezTo>
                  <a:cubicBezTo>
                    <a:pt x="1550" y="62"/>
                    <a:pt x="1549" y="62"/>
                    <a:pt x="1549" y="62"/>
                  </a:cubicBezTo>
                  <a:close/>
                  <a:moveTo>
                    <a:pt x="1565" y="62"/>
                  </a:moveTo>
                  <a:cubicBezTo>
                    <a:pt x="1565" y="62"/>
                    <a:pt x="1565" y="62"/>
                    <a:pt x="1565" y="62"/>
                  </a:cubicBezTo>
                  <a:cubicBezTo>
                    <a:pt x="1565" y="62"/>
                    <a:pt x="1565" y="62"/>
                    <a:pt x="1565" y="62"/>
                  </a:cubicBezTo>
                  <a:close/>
                  <a:moveTo>
                    <a:pt x="1392" y="15"/>
                  </a:moveTo>
                  <a:cubicBezTo>
                    <a:pt x="1392" y="15"/>
                    <a:pt x="1392" y="16"/>
                    <a:pt x="1393" y="16"/>
                  </a:cubicBezTo>
                  <a:cubicBezTo>
                    <a:pt x="1393" y="15"/>
                    <a:pt x="1392" y="15"/>
                    <a:pt x="1392" y="15"/>
                  </a:cubicBezTo>
                  <a:close/>
                  <a:moveTo>
                    <a:pt x="965" y="93"/>
                  </a:moveTo>
                  <a:cubicBezTo>
                    <a:pt x="965" y="93"/>
                    <a:pt x="965" y="92"/>
                    <a:pt x="965" y="92"/>
                  </a:cubicBezTo>
                  <a:cubicBezTo>
                    <a:pt x="965" y="93"/>
                    <a:pt x="965" y="93"/>
                    <a:pt x="965" y="93"/>
                  </a:cubicBezTo>
                  <a:close/>
                  <a:moveTo>
                    <a:pt x="1462" y="15"/>
                  </a:moveTo>
                  <a:cubicBezTo>
                    <a:pt x="1462" y="15"/>
                    <a:pt x="1462" y="16"/>
                    <a:pt x="1462" y="16"/>
                  </a:cubicBezTo>
                  <a:cubicBezTo>
                    <a:pt x="1462" y="15"/>
                    <a:pt x="1462" y="15"/>
                    <a:pt x="1462" y="15"/>
                  </a:cubicBezTo>
                  <a:close/>
                  <a:moveTo>
                    <a:pt x="1668" y="62"/>
                  </a:moveTo>
                  <a:cubicBezTo>
                    <a:pt x="1668" y="62"/>
                    <a:pt x="1668" y="62"/>
                    <a:pt x="1668" y="62"/>
                  </a:cubicBezTo>
                  <a:cubicBezTo>
                    <a:pt x="1668" y="62"/>
                    <a:pt x="1668" y="62"/>
                    <a:pt x="1668" y="62"/>
                  </a:cubicBezTo>
                  <a:close/>
                  <a:moveTo>
                    <a:pt x="1036" y="93"/>
                  </a:moveTo>
                  <a:cubicBezTo>
                    <a:pt x="1036" y="93"/>
                    <a:pt x="1036" y="92"/>
                    <a:pt x="1036" y="92"/>
                  </a:cubicBezTo>
                  <a:cubicBezTo>
                    <a:pt x="1036" y="93"/>
                    <a:pt x="1036" y="93"/>
                    <a:pt x="1036" y="93"/>
                  </a:cubicBezTo>
                  <a:close/>
                  <a:moveTo>
                    <a:pt x="1717" y="62"/>
                  </a:moveTo>
                  <a:cubicBezTo>
                    <a:pt x="1718" y="62"/>
                    <a:pt x="1718" y="62"/>
                    <a:pt x="1718" y="62"/>
                  </a:cubicBezTo>
                  <a:cubicBezTo>
                    <a:pt x="1718" y="62"/>
                    <a:pt x="1718" y="62"/>
                    <a:pt x="1717" y="62"/>
                  </a:cubicBezTo>
                  <a:close/>
                  <a:moveTo>
                    <a:pt x="1733" y="62"/>
                  </a:moveTo>
                  <a:cubicBezTo>
                    <a:pt x="1733" y="62"/>
                    <a:pt x="1733" y="62"/>
                    <a:pt x="1733" y="62"/>
                  </a:cubicBezTo>
                  <a:cubicBezTo>
                    <a:pt x="1733" y="62"/>
                    <a:pt x="1733" y="62"/>
                    <a:pt x="1733" y="62"/>
                  </a:cubicBezTo>
                  <a:close/>
                  <a:moveTo>
                    <a:pt x="542" y="16"/>
                  </a:moveTo>
                  <a:cubicBezTo>
                    <a:pt x="542" y="16"/>
                    <a:pt x="542" y="16"/>
                    <a:pt x="542" y="16"/>
                  </a:cubicBezTo>
                  <a:cubicBezTo>
                    <a:pt x="542" y="16"/>
                    <a:pt x="542" y="16"/>
                    <a:pt x="542" y="16"/>
                  </a:cubicBezTo>
                  <a:close/>
                  <a:moveTo>
                    <a:pt x="1393" y="16"/>
                  </a:moveTo>
                  <a:cubicBezTo>
                    <a:pt x="1393" y="16"/>
                    <a:pt x="1393" y="16"/>
                    <a:pt x="1393" y="16"/>
                  </a:cubicBezTo>
                  <a:cubicBezTo>
                    <a:pt x="1393" y="16"/>
                    <a:pt x="1393" y="16"/>
                    <a:pt x="1393" y="16"/>
                  </a:cubicBezTo>
                  <a:close/>
                  <a:moveTo>
                    <a:pt x="1214" y="93"/>
                  </a:moveTo>
                  <a:cubicBezTo>
                    <a:pt x="1214" y="93"/>
                    <a:pt x="1214" y="92"/>
                    <a:pt x="1214" y="92"/>
                  </a:cubicBezTo>
                  <a:cubicBezTo>
                    <a:pt x="1214" y="93"/>
                    <a:pt x="1214" y="93"/>
                    <a:pt x="1214" y="93"/>
                  </a:cubicBezTo>
                  <a:close/>
                  <a:moveTo>
                    <a:pt x="1462" y="16"/>
                  </a:moveTo>
                  <a:cubicBezTo>
                    <a:pt x="1462" y="16"/>
                    <a:pt x="1462" y="16"/>
                    <a:pt x="1462" y="16"/>
                  </a:cubicBezTo>
                  <a:cubicBezTo>
                    <a:pt x="1462" y="16"/>
                    <a:pt x="1462" y="16"/>
                    <a:pt x="1462" y="16"/>
                  </a:cubicBezTo>
                  <a:close/>
                  <a:moveTo>
                    <a:pt x="542" y="16"/>
                  </a:moveTo>
                  <a:cubicBezTo>
                    <a:pt x="542" y="16"/>
                    <a:pt x="542" y="16"/>
                    <a:pt x="542" y="16"/>
                  </a:cubicBezTo>
                  <a:cubicBezTo>
                    <a:pt x="542" y="16"/>
                    <a:pt x="542" y="16"/>
                    <a:pt x="542" y="16"/>
                  </a:cubicBezTo>
                  <a:close/>
                  <a:moveTo>
                    <a:pt x="968" y="16"/>
                  </a:moveTo>
                  <a:cubicBezTo>
                    <a:pt x="968" y="16"/>
                    <a:pt x="968" y="16"/>
                    <a:pt x="968" y="16"/>
                  </a:cubicBezTo>
                  <a:cubicBezTo>
                    <a:pt x="968" y="16"/>
                    <a:pt x="968" y="16"/>
                    <a:pt x="968" y="16"/>
                  </a:cubicBezTo>
                  <a:close/>
                  <a:moveTo>
                    <a:pt x="1461" y="92"/>
                  </a:moveTo>
                  <a:cubicBezTo>
                    <a:pt x="1461" y="92"/>
                    <a:pt x="1461" y="93"/>
                    <a:pt x="1461" y="93"/>
                  </a:cubicBezTo>
                  <a:cubicBezTo>
                    <a:pt x="1461" y="93"/>
                    <a:pt x="1461" y="93"/>
                    <a:pt x="1461" y="92"/>
                  </a:cubicBezTo>
                  <a:close/>
                  <a:moveTo>
                    <a:pt x="1419" y="16"/>
                  </a:moveTo>
                  <a:cubicBezTo>
                    <a:pt x="1419" y="16"/>
                    <a:pt x="1419" y="16"/>
                    <a:pt x="1419" y="16"/>
                  </a:cubicBezTo>
                  <a:cubicBezTo>
                    <a:pt x="1419" y="16"/>
                    <a:pt x="1419" y="16"/>
                    <a:pt x="1419" y="16"/>
                  </a:cubicBezTo>
                  <a:close/>
                  <a:moveTo>
                    <a:pt x="1565" y="62"/>
                  </a:moveTo>
                  <a:cubicBezTo>
                    <a:pt x="1564" y="62"/>
                    <a:pt x="1564" y="62"/>
                    <a:pt x="1564" y="62"/>
                  </a:cubicBezTo>
                  <a:cubicBezTo>
                    <a:pt x="1564" y="62"/>
                    <a:pt x="1565" y="62"/>
                    <a:pt x="1565" y="62"/>
                  </a:cubicBezTo>
                  <a:close/>
                  <a:moveTo>
                    <a:pt x="1577" y="16"/>
                  </a:moveTo>
                  <a:cubicBezTo>
                    <a:pt x="1577" y="16"/>
                    <a:pt x="1577" y="16"/>
                    <a:pt x="1577" y="16"/>
                  </a:cubicBezTo>
                  <a:cubicBezTo>
                    <a:pt x="1577" y="16"/>
                    <a:pt x="1577" y="16"/>
                    <a:pt x="1577" y="16"/>
                  </a:cubicBezTo>
                  <a:close/>
                  <a:moveTo>
                    <a:pt x="1745" y="16"/>
                  </a:moveTo>
                  <a:cubicBezTo>
                    <a:pt x="1745" y="16"/>
                    <a:pt x="1745" y="16"/>
                    <a:pt x="1746" y="16"/>
                  </a:cubicBezTo>
                  <a:cubicBezTo>
                    <a:pt x="1746" y="16"/>
                    <a:pt x="1745" y="16"/>
                    <a:pt x="1745" y="16"/>
                  </a:cubicBezTo>
                  <a:close/>
                  <a:moveTo>
                    <a:pt x="968" y="17"/>
                  </a:moveTo>
                  <a:cubicBezTo>
                    <a:pt x="968" y="17"/>
                    <a:pt x="968" y="16"/>
                    <a:pt x="968" y="16"/>
                  </a:cubicBezTo>
                  <a:cubicBezTo>
                    <a:pt x="968" y="16"/>
                    <a:pt x="968" y="16"/>
                    <a:pt x="968" y="17"/>
                  </a:cubicBezTo>
                  <a:close/>
                  <a:moveTo>
                    <a:pt x="1733" y="62"/>
                  </a:moveTo>
                  <a:cubicBezTo>
                    <a:pt x="1733" y="62"/>
                    <a:pt x="1732" y="62"/>
                    <a:pt x="1732" y="62"/>
                  </a:cubicBezTo>
                  <a:cubicBezTo>
                    <a:pt x="1733" y="62"/>
                    <a:pt x="1733" y="62"/>
                    <a:pt x="1733" y="62"/>
                  </a:cubicBezTo>
                  <a:close/>
                  <a:moveTo>
                    <a:pt x="1419" y="17"/>
                  </a:moveTo>
                  <a:cubicBezTo>
                    <a:pt x="1419" y="17"/>
                    <a:pt x="1419" y="16"/>
                    <a:pt x="1419" y="16"/>
                  </a:cubicBezTo>
                  <a:cubicBezTo>
                    <a:pt x="1419" y="16"/>
                    <a:pt x="1419" y="16"/>
                    <a:pt x="1419" y="17"/>
                  </a:cubicBezTo>
                  <a:close/>
                  <a:moveTo>
                    <a:pt x="661" y="63"/>
                  </a:moveTo>
                  <a:cubicBezTo>
                    <a:pt x="661" y="63"/>
                    <a:pt x="661" y="63"/>
                    <a:pt x="661" y="62"/>
                  </a:cubicBezTo>
                  <a:cubicBezTo>
                    <a:pt x="661" y="63"/>
                    <a:pt x="661" y="63"/>
                    <a:pt x="661" y="63"/>
                  </a:cubicBezTo>
                  <a:close/>
                  <a:moveTo>
                    <a:pt x="1037" y="93"/>
                  </a:moveTo>
                  <a:cubicBezTo>
                    <a:pt x="1037" y="93"/>
                    <a:pt x="1036" y="93"/>
                    <a:pt x="1036" y="93"/>
                  </a:cubicBezTo>
                  <a:cubicBezTo>
                    <a:pt x="1036" y="93"/>
                    <a:pt x="1036" y="93"/>
                    <a:pt x="1037" y="93"/>
                  </a:cubicBezTo>
                  <a:close/>
                  <a:moveTo>
                    <a:pt x="1679" y="16"/>
                  </a:moveTo>
                  <a:cubicBezTo>
                    <a:pt x="1679" y="16"/>
                    <a:pt x="1679" y="17"/>
                    <a:pt x="1679" y="17"/>
                  </a:cubicBezTo>
                  <a:cubicBezTo>
                    <a:pt x="1679" y="16"/>
                    <a:pt x="1679" y="16"/>
                    <a:pt x="1679" y="16"/>
                  </a:cubicBezTo>
                  <a:close/>
                  <a:moveTo>
                    <a:pt x="1364" y="63"/>
                  </a:moveTo>
                  <a:cubicBezTo>
                    <a:pt x="1364" y="63"/>
                    <a:pt x="1365" y="63"/>
                    <a:pt x="1365" y="63"/>
                  </a:cubicBezTo>
                  <a:cubicBezTo>
                    <a:pt x="1364" y="63"/>
                    <a:pt x="1364" y="63"/>
                    <a:pt x="1364" y="63"/>
                  </a:cubicBezTo>
                  <a:close/>
                  <a:moveTo>
                    <a:pt x="1380" y="63"/>
                  </a:moveTo>
                  <a:cubicBezTo>
                    <a:pt x="1380" y="63"/>
                    <a:pt x="1379" y="63"/>
                    <a:pt x="1379" y="63"/>
                  </a:cubicBezTo>
                  <a:cubicBezTo>
                    <a:pt x="1380" y="63"/>
                    <a:pt x="1380" y="63"/>
                    <a:pt x="1380" y="63"/>
                  </a:cubicBezTo>
                  <a:close/>
                  <a:moveTo>
                    <a:pt x="967" y="17"/>
                  </a:moveTo>
                  <a:cubicBezTo>
                    <a:pt x="968" y="17"/>
                    <a:pt x="968" y="17"/>
                    <a:pt x="968" y="17"/>
                  </a:cubicBezTo>
                  <a:cubicBezTo>
                    <a:pt x="968" y="17"/>
                    <a:pt x="967" y="17"/>
                    <a:pt x="967" y="17"/>
                  </a:cubicBezTo>
                  <a:close/>
                  <a:moveTo>
                    <a:pt x="1214" y="93"/>
                  </a:moveTo>
                  <a:cubicBezTo>
                    <a:pt x="1214" y="93"/>
                    <a:pt x="1214" y="93"/>
                    <a:pt x="1214" y="93"/>
                  </a:cubicBezTo>
                  <a:cubicBezTo>
                    <a:pt x="1214" y="93"/>
                    <a:pt x="1214" y="93"/>
                    <a:pt x="1214" y="93"/>
                  </a:cubicBezTo>
                  <a:close/>
                  <a:moveTo>
                    <a:pt x="1393" y="17"/>
                  </a:moveTo>
                  <a:cubicBezTo>
                    <a:pt x="1393" y="17"/>
                    <a:pt x="1393" y="17"/>
                    <a:pt x="1394" y="17"/>
                  </a:cubicBezTo>
                  <a:cubicBezTo>
                    <a:pt x="1394" y="17"/>
                    <a:pt x="1393" y="17"/>
                    <a:pt x="1393" y="17"/>
                  </a:cubicBezTo>
                  <a:close/>
                  <a:moveTo>
                    <a:pt x="1463" y="17"/>
                  </a:moveTo>
                  <a:cubicBezTo>
                    <a:pt x="1463" y="17"/>
                    <a:pt x="1463" y="17"/>
                    <a:pt x="1463" y="17"/>
                  </a:cubicBezTo>
                  <a:cubicBezTo>
                    <a:pt x="1463" y="17"/>
                    <a:pt x="1463" y="17"/>
                    <a:pt x="1463" y="17"/>
                  </a:cubicBezTo>
                  <a:close/>
                  <a:moveTo>
                    <a:pt x="1461" y="93"/>
                  </a:moveTo>
                  <a:cubicBezTo>
                    <a:pt x="1461" y="93"/>
                    <a:pt x="1461" y="93"/>
                    <a:pt x="1461" y="93"/>
                  </a:cubicBezTo>
                  <a:cubicBezTo>
                    <a:pt x="1461" y="93"/>
                    <a:pt x="1461" y="93"/>
                    <a:pt x="1461" y="93"/>
                  </a:cubicBezTo>
                  <a:close/>
                  <a:moveTo>
                    <a:pt x="1679" y="17"/>
                  </a:moveTo>
                  <a:cubicBezTo>
                    <a:pt x="1679" y="17"/>
                    <a:pt x="1679" y="17"/>
                    <a:pt x="1679" y="17"/>
                  </a:cubicBezTo>
                  <a:cubicBezTo>
                    <a:pt x="1679" y="17"/>
                    <a:pt x="1679" y="17"/>
                    <a:pt x="1679" y="17"/>
                  </a:cubicBezTo>
                  <a:close/>
                  <a:moveTo>
                    <a:pt x="541" y="17"/>
                  </a:moveTo>
                  <a:cubicBezTo>
                    <a:pt x="541" y="17"/>
                    <a:pt x="541" y="17"/>
                    <a:pt x="541" y="17"/>
                  </a:cubicBezTo>
                  <a:cubicBezTo>
                    <a:pt x="541" y="17"/>
                    <a:pt x="541" y="17"/>
                    <a:pt x="541" y="17"/>
                  </a:cubicBezTo>
                  <a:close/>
                  <a:moveTo>
                    <a:pt x="584" y="93"/>
                  </a:moveTo>
                  <a:cubicBezTo>
                    <a:pt x="584" y="93"/>
                    <a:pt x="584" y="93"/>
                    <a:pt x="584" y="93"/>
                  </a:cubicBezTo>
                  <a:cubicBezTo>
                    <a:pt x="584" y="93"/>
                    <a:pt x="584" y="93"/>
                    <a:pt x="584" y="93"/>
                  </a:cubicBezTo>
                  <a:close/>
                  <a:moveTo>
                    <a:pt x="1578" y="17"/>
                  </a:moveTo>
                  <a:cubicBezTo>
                    <a:pt x="1578" y="17"/>
                    <a:pt x="1578" y="17"/>
                    <a:pt x="1578" y="17"/>
                  </a:cubicBezTo>
                  <a:cubicBezTo>
                    <a:pt x="1578" y="17"/>
                    <a:pt x="1578" y="17"/>
                    <a:pt x="1578" y="17"/>
                  </a:cubicBezTo>
                  <a:close/>
                  <a:moveTo>
                    <a:pt x="1679" y="17"/>
                  </a:moveTo>
                  <a:cubicBezTo>
                    <a:pt x="1679" y="17"/>
                    <a:pt x="1680" y="17"/>
                    <a:pt x="1680" y="17"/>
                  </a:cubicBezTo>
                  <a:cubicBezTo>
                    <a:pt x="1680" y="17"/>
                    <a:pt x="1680" y="17"/>
                    <a:pt x="1679" y="17"/>
                  </a:cubicBezTo>
                  <a:close/>
                  <a:moveTo>
                    <a:pt x="1746" y="17"/>
                  </a:moveTo>
                  <a:cubicBezTo>
                    <a:pt x="1746" y="17"/>
                    <a:pt x="1746" y="17"/>
                    <a:pt x="1746" y="17"/>
                  </a:cubicBezTo>
                  <a:cubicBezTo>
                    <a:pt x="1746" y="17"/>
                    <a:pt x="1746" y="17"/>
                    <a:pt x="1746" y="17"/>
                  </a:cubicBezTo>
                  <a:close/>
                  <a:moveTo>
                    <a:pt x="697" y="93"/>
                  </a:moveTo>
                  <a:cubicBezTo>
                    <a:pt x="697" y="93"/>
                    <a:pt x="697" y="93"/>
                    <a:pt x="697" y="94"/>
                  </a:cubicBezTo>
                  <a:cubicBezTo>
                    <a:pt x="697" y="93"/>
                    <a:pt x="697" y="93"/>
                    <a:pt x="697" y="93"/>
                  </a:cubicBezTo>
                  <a:close/>
                  <a:moveTo>
                    <a:pt x="541" y="18"/>
                  </a:moveTo>
                  <a:cubicBezTo>
                    <a:pt x="541" y="18"/>
                    <a:pt x="541" y="17"/>
                    <a:pt x="541" y="17"/>
                  </a:cubicBezTo>
                  <a:cubicBezTo>
                    <a:pt x="541" y="17"/>
                    <a:pt x="541" y="18"/>
                    <a:pt x="541" y="18"/>
                  </a:cubicBezTo>
                  <a:close/>
                  <a:moveTo>
                    <a:pt x="1418" y="18"/>
                  </a:moveTo>
                  <a:cubicBezTo>
                    <a:pt x="1418" y="18"/>
                    <a:pt x="1418" y="17"/>
                    <a:pt x="1418" y="17"/>
                  </a:cubicBezTo>
                  <a:cubicBezTo>
                    <a:pt x="1418" y="17"/>
                    <a:pt x="1418" y="18"/>
                    <a:pt x="1418" y="18"/>
                  </a:cubicBezTo>
                  <a:close/>
                  <a:moveTo>
                    <a:pt x="966" y="18"/>
                  </a:moveTo>
                  <a:cubicBezTo>
                    <a:pt x="966" y="18"/>
                    <a:pt x="966" y="18"/>
                    <a:pt x="966" y="18"/>
                  </a:cubicBezTo>
                  <a:cubicBezTo>
                    <a:pt x="966" y="18"/>
                    <a:pt x="966" y="18"/>
                    <a:pt x="966" y="18"/>
                  </a:cubicBezTo>
                  <a:close/>
                  <a:moveTo>
                    <a:pt x="1380" y="18"/>
                  </a:moveTo>
                  <a:cubicBezTo>
                    <a:pt x="1379" y="18"/>
                    <a:pt x="1379" y="18"/>
                    <a:pt x="1379" y="18"/>
                  </a:cubicBezTo>
                  <a:cubicBezTo>
                    <a:pt x="1379" y="18"/>
                    <a:pt x="1379" y="18"/>
                    <a:pt x="1380" y="18"/>
                  </a:cubicBezTo>
                  <a:close/>
                  <a:moveTo>
                    <a:pt x="1037" y="94"/>
                  </a:moveTo>
                  <a:cubicBezTo>
                    <a:pt x="1037" y="93"/>
                    <a:pt x="1037" y="93"/>
                    <a:pt x="1037" y="93"/>
                  </a:cubicBezTo>
                  <a:cubicBezTo>
                    <a:pt x="1037" y="93"/>
                    <a:pt x="1037" y="93"/>
                    <a:pt x="1037" y="94"/>
                  </a:cubicBezTo>
                  <a:close/>
                  <a:moveTo>
                    <a:pt x="1564" y="18"/>
                  </a:moveTo>
                  <a:cubicBezTo>
                    <a:pt x="1564" y="18"/>
                    <a:pt x="1563" y="18"/>
                    <a:pt x="1563" y="18"/>
                  </a:cubicBezTo>
                  <a:cubicBezTo>
                    <a:pt x="1563" y="18"/>
                    <a:pt x="1563" y="18"/>
                    <a:pt x="1564" y="18"/>
                  </a:cubicBezTo>
                  <a:close/>
                  <a:moveTo>
                    <a:pt x="1379" y="63"/>
                  </a:moveTo>
                  <a:cubicBezTo>
                    <a:pt x="1379" y="63"/>
                    <a:pt x="1379" y="63"/>
                    <a:pt x="1379" y="63"/>
                  </a:cubicBezTo>
                  <a:cubicBezTo>
                    <a:pt x="1379" y="63"/>
                    <a:pt x="1379" y="63"/>
                    <a:pt x="1379" y="63"/>
                  </a:cubicBezTo>
                  <a:close/>
                  <a:moveTo>
                    <a:pt x="1548" y="63"/>
                  </a:moveTo>
                  <a:cubicBezTo>
                    <a:pt x="1548" y="63"/>
                    <a:pt x="1548" y="63"/>
                    <a:pt x="1548" y="63"/>
                  </a:cubicBezTo>
                  <a:cubicBezTo>
                    <a:pt x="1548" y="63"/>
                    <a:pt x="1548" y="63"/>
                    <a:pt x="1548" y="63"/>
                  </a:cubicBezTo>
                  <a:close/>
                  <a:moveTo>
                    <a:pt x="1564" y="63"/>
                  </a:moveTo>
                  <a:cubicBezTo>
                    <a:pt x="1563" y="63"/>
                    <a:pt x="1563" y="63"/>
                    <a:pt x="1563" y="63"/>
                  </a:cubicBezTo>
                  <a:cubicBezTo>
                    <a:pt x="1563" y="63"/>
                    <a:pt x="1563" y="63"/>
                    <a:pt x="1564" y="63"/>
                  </a:cubicBezTo>
                  <a:close/>
                  <a:moveTo>
                    <a:pt x="1654" y="63"/>
                  </a:moveTo>
                  <a:cubicBezTo>
                    <a:pt x="1654" y="63"/>
                    <a:pt x="1654" y="63"/>
                    <a:pt x="1654" y="63"/>
                  </a:cubicBezTo>
                  <a:cubicBezTo>
                    <a:pt x="1654" y="63"/>
                    <a:pt x="1654" y="63"/>
                    <a:pt x="1654" y="63"/>
                  </a:cubicBezTo>
                  <a:close/>
                  <a:moveTo>
                    <a:pt x="1716" y="63"/>
                  </a:moveTo>
                  <a:cubicBezTo>
                    <a:pt x="1716" y="63"/>
                    <a:pt x="1716" y="63"/>
                    <a:pt x="1716" y="63"/>
                  </a:cubicBezTo>
                  <a:cubicBezTo>
                    <a:pt x="1716" y="63"/>
                    <a:pt x="1716" y="63"/>
                    <a:pt x="1716" y="63"/>
                  </a:cubicBezTo>
                  <a:close/>
                  <a:moveTo>
                    <a:pt x="1732" y="63"/>
                  </a:moveTo>
                  <a:cubicBezTo>
                    <a:pt x="1732" y="63"/>
                    <a:pt x="1731" y="63"/>
                    <a:pt x="1731" y="63"/>
                  </a:cubicBezTo>
                  <a:cubicBezTo>
                    <a:pt x="1731" y="63"/>
                    <a:pt x="1732" y="63"/>
                    <a:pt x="1732" y="63"/>
                  </a:cubicBezTo>
                  <a:close/>
                  <a:moveTo>
                    <a:pt x="584" y="63"/>
                  </a:moveTo>
                  <a:cubicBezTo>
                    <a:pt x="584" y="63"/>
                    <a:pt x="584" y="64"/>
                    <a:pt x="584" y="64"/>
                  </a:cubicBezTo>
                  <a:cubicBezTo>
                    <a:pt x="584" y="63"/>
                    <a:pt x="584" y="63"/>
                    <a:pt x="584" y="63"/>
                  </a:cubicBezTo>
                  <a:close/>
                  <a:moveTo>
                    <a:pt x="1732" y="18"/>
                  </a:moveTo>
                  <a:cubicBezTo>
                    <a:pt x="1732" y="18"/>
                    <a:pt x="1732" y="18"/>
                    <a:pt x="1731" y="18"/>
                  </a:cubicBezTo>
                  <a:cubicBezTo>
                    <a:pt x="1731" y="18"/>
                    <a:pt x="1732" y="18"/>
                    <a:pt x="1732" y="18"/>
                  </a:cubicBezTo>
                  <a:close/>
                  <a:moveTo>
                    <a:pt x="584" y="93"/>
                  </a:moveTo>
                  <a:cubicBezTo>
                    <a:pt x="584" y="93"/>
                    <a:pt x="584" y="94"/>
                    <a:pt x="584" y="94"/>
                  </a:cubicBezTo>
                  <a:cubicBezTo>
                    <a:pt x="584" y="94"/>
                    <a:pt x="584" y="94"/>
                    <a:pt x="584" y="93"/>
                  </a:cubicBezTo>
                  <a:close/>
                  <a:moveTo>
                    <a:pt x="966" y="18"/>
                  </a:moveTo>
                  <a:cubicBezTo>
                    <a:pt x="966" y="18"/>
                    <a:pt x="966" y="18"/>
                    <a:pt x="966" y="18"/>
                  </a:cubicBezTo>
                  <a:cubicBezTo>
                    <a:pt x="966" y="18"/>
                    <a:pt x="966" y="18"/>
                    <a:pt x="966" y="18"/>
                  </a:cubicBezTo>
                  <a:close/>
                  <a:moveTo>
                    <a:pt x="1680" y="18"/>
                  </a:moveTo>
                  <a:cubicBezTo>
                    <a:pt x="1680" y="18"/>
                    <a:pt x="1680" y="18"/>
                    <a:pt x="1681" y="18"/>
                  </a:cubicBezTo>
                  <a:cubicBezTo>
                    <a:pt x="1680" y="18"/>
                    <a:pt x="1680" y="18"/>
                    <a:pt x="1680" y="18"/>
                  </a:cubicBezTo>
                  <a:close/>
                  <a:moveTo>
                    <a:pt x="1563" y="63"/>
                  </a:moveTo>
                  <a:cubicBezTo>
                    <a:pt x="1563" y="63"/>
                    <a:pt x="1563" y="63"/>
                    <a:pt x="1563" y="64"/>
                  </a:cubicBezTo>
                  <a:cubicBezTo>
                    <a:pt x="1563" y="63"/>
                    <a:pt x="1563" y="63"/>
                    <a:pt x="1563" y="63"/>
                  </a:cubicBezTo>
                  <a:close/>
                  <a:moveTo>
                    <a:pt x="1655" y="64"/>
                  </a:moveTo>
                  <a:cubicBezTo>
                    <a:pt x="1655" y="63"/>
                    <a:pt x="1655" y="63"/>
                    <a:pt x="1654" y="63"/>
                  </a:cubicBezTo>
                  <a:cubicBezTo>
                    <a:pt x="1655" y="63"/>
                    <a:pt x="1655" y="64"/>
                    <a:pt x="1655" y="64"/>
                  </a:cubicBezTo>
                  <a:close/>
                  <a:moveTo>
                    <a:pt x="1669" y="63"/>
                  </a:moveTo>
                  <a:cubicBezTo>
                    <a:pt x="1669" y="63"/>
                    <a:pt x="1669" y="64"/>
                    <a:pt x="1669" y="64"/>
                  </a:cubicBezTo>
                  <a:cubicBezTo>
                    <a:pt x="1669" y="63"/>
                    <a:pt x="1669" y="63"/>
                    <a:pt x="1669" y="63"/>
                  </a:cubicBezTo>
                  <a:close/>
                  <a:moveTo>
                    <a:pt x="755" y="94"/>
                  </a:moveTo>
                  <a:cubicBezTo>
                    <a:pt x="755" y="94"/>
                    <a:pt x="755" y="93"/>
                    <a:pt x="755" y="93"/>
                  </a:cubicBezTo>
                  <a:cubicBezTo>
                    <a:pt x="755" y="94"/>
                    <a:pt x="755" y="94"/>
                    <a:pt x="755" y="94"/>
                  </a:cubicBezTo>
                  <a:close/>
                  <a:moveTo>
                    <a:pt x="965" y="19"/>
                  </a:moveTo>
                  <a:cubicBezTo>
                    <a:pt x="965" y="19"/>
                    <a:pt x="966" y="19"/>
                    <a:pt x="966" y="18"/>
                  </a:cubicBezTo>
                  <a:cubicBezTo>
                    <a:pt x="965" y="18"/>
                    <a:pt x="965" y="19"/>
                    <a:pt x="965" y="19"/>
                  </a:cubicBezTo>
                  <a:close/>
                  <a:moveTo>
                    <a:pt x="967" y="94"/>
                  </a:moveTo>
                  <a:cubicBezTo>
                    <a:pt x="967" y="94"/>
                    <a:pt x="966" y="94"/>
                    <a:pt x="966" y="94"/>
                  </a:cubicBezTo>
                  <a:cubicBezTo>
                    <a:pt x="966" y="94"/>
                    <a:pt x="967" y="94"/>
                    <a:pt x="967" y="94"/>
                  </a:cubicBezTo>
                  <a:close/>
                  <a:moveTo>
                    <a:pt x="1731" y="63"/>
                  </a:moveTo>
                  <a:cubicBezTo>
                    <a:pt x="1731" y="63"/>
                    <a:pt x="1731" y="63"/>
                    <a:pt x="1731" y="64"/>
                  </a:cubicBezTo>
                  <a:cubicBezTo>
                    <a:pt x="1731" y="63"/>
                    <a:pt x="1731" y="63"/>
                    <a:pt x="1731" y="63"/>
                  </a:cubicBezTo>
                  <a:close/>
                  <a:moveTo>
                    <a:pt x="574" y="55"/>
                  </a:moveTo>
                  <a:cubicBezTo>
                    <a:pt x="574" y="55"/>
                    <a:pt x="574" y="55"/>
                    <a:pt x="574" y="55"/>
                  </a:cubicBezTo>
                  <a:cubicBezTo>
                    <a:pt x="574" y="55"/>
                    <a:pt x="574" y="55"/>
                    <a:pt x="574" y="55"/>
                  </a:cubicBezTo>
                  <a:close/>
                  <a:moveTo>
                    <a:pt x="584" y="64"/>
                  </a:moveTo>
                  <a:cubicBezTo>
                    <a:pt x="584" y="64"/>
                    <a:pt x="585" y="64"/>
                    <a:pt x="585" y="64"/>
                  </a:cubicBezTo>
                  <a:cubicBezTo>
                    <a:pt x="585" y="64"/>
                    <a:pt x="585" y="64"/>
                    <a:pt x="584" y="64"/>
                  </a:cubicBezTo>
                  <a:close/>
                  <a:moveTo>
                    <a:pt x="1394" y="18"/>
                  </a:moveTo>
                  <a:cubicBezTo>
                    <a:pt x="1394" y="19"/>
                    <a:pt x="1395" y="19"/>
                    <a:pt x="1395" y="19"/>
                  </a:cubicBezTo>
                  <a:cubicBezTo>
                    <a:pt x="1395" y="19"/>
                    <a:pt x="1395" y="18"/>
                    <a:pt x="1394" y="18"/>
                  </a:cubicBezTo>
                  <a:close/>
                  <a:moveTo>
                    <a:pt x="1417" y="19"/>
                  </a:moveTo>
                  <a:cubicBezTo>
                    <a:pt x="1418" y="19"/>
                    <a:pt x="1418" y="19"/>
                    <a:pt x="1418" y="18"/>
                  </a:cubicBezTo>
                  <a:cubicBezTo>
                    <a:pt x="1418" y="18"/>
                    <a:pt x="1417" y="19"/>
                    <a:pt x="1417" y="19"/>
                  </a:cubicBezTo>
                  <a:close/>
                  <a:moveTo>
                    <a:pt x="1419" y="94"/>
                  </a:moveTo>
                  <a:cubicBezTo>
                    <a:pt x="1419" y="94"/>
                    <a:pt x="1419" y="93"/>
                    <a:pt x="1419" y="93"/>
                  </a:cubicBezTo>
                  <a:cubicBezTo>
                    <a:pt x="1419" y="94"/>
                    <a:pt x="1419" y="94"/>
                    <a:pt x="1419" y="94"/>
                  </a:cubicBezTo>
                  <a:close/>
                  <a:moveTo>
                    <a:pt x="662" y="64"/>
                  </a:moveTo>
                  <a:cubicBezTo>
                    <a:pt x="662" y="64"/>
                    <a:pt x="662" y="64"/>
                    <a:pt x="662" y="63"/>
                  </a:cubicBezTo>
                  <a:cubicBezTo>
                    <a:pt x="662" y="64"/>
                    <a:pt x="662" y="64"/>
                    <a:pt x="662" y="64"/>
                  </a:cubicBezTo>
                  <a:close/>
                  <a:moveTo>
                    <a:pt x="1464" y="18"/>
                  </a:moveTo>
                  <a:cubicBezTo>
                    <a:pt x="1464" y="19"/>
                    <a:pt x="1464" y="19"/>
                    <a:pt x="1464" y="19"/>
                  </a:cubicBezTo>
                  <a:cubicBezTo>
                    <a:pt x="1464" y="19"/>
                    <a:pt x="1464" y="18"/>
                    <a:pt x="1464" y="18"/>
                  </a:cubicBezTo>
                  <a:close/>
                  <a:moveTo>
                    <a:pt x="584" y="94"/>
                  </a:moveTo>
                  <a:cubicBezTo>
                    <a:pt x="583" y="94"/>
                    <a:pt x="583" y="94"/>
                    <a:pt x="583" y="94"/>
                  </a:cubicBezTo>
                  <a:cubicBezTo>
                    <a:pt x="584" y="94"/>
                    <a:pt x="584" y="94"/>
                    <a:pt x="584" y="94"/>
                  </a:cubicBezTo>
                  <a:close/>
                  <a:moveTo>
                    <a:pt x="1363" y="64"/>
                  </a:moveTo>
                  <a:cubicBezTo>
                    <a:pt x="1363" y="64"/>
                    <a:pt x="1363" y="64"/>
                    <a:pt x="1363" y="64"/>
                  </a:cubicBezTo>
                  <a:cubicBezTo>
                    <a:pt x="1363" y="64"/>
                    <a:pt x="1363" y="64"/>
                    <a:pt x="1363" y="64"/>
                  </a:cubicBezTo>
                  <a:close/>
                  <a:moveTo>
                    <a:pt x="755" y="94"/>
                  </a:moveTo>
                  <a:cubicBezTo>
                    <a:pt x="755" y="94"/>
                    <a:pt x="755" y="94"/>
                    <a:pt x="755" y="94"/>
                  </a:cubicBezTo>
                  <a:cubicBezTo>
                    <a:pt x="755" y="94"/>
                    <a:pt x="755" y="94"/>
                    <a:pt x="755" y="94"/>
                  </a:cubicBezTo>
                  <a:close/>
                  <a:moveTo>
                    <a:pt x="967" y="94"/>
                  </a:moveTo>
                  <a:cubicBezTo>
                    <a:pt x="967" y="94"/>
                    <a:pt x="967" y="94"/>
                    <a:pt x="967" y="94"/>
                  </a:cubicBezTo>
                  <a:cubicBezTo>
                    <a:pt x="967" y="94"/>
                    <a:pt x="967" y="94"/>
                    <a:pt x="967" y="94"/>
                  </a:cubicBezTo>
                  <a:close/>
                  <a:moveTo>
                    <a:pt x="1419" y="94"/>
                  </a:moveTo>
                  <a:cubicBezTo>
                    <a:pt x="1419" y="94"/>
                    <a:pt x="1419" y="94"/>
                    <a:pt x="1419" y="94"/>
                  </a:cubicBezTo>
                  <a:cubicBezTo>
                    <a:pt x="1419" y="94"/>
                    <a:pt x="1419" y="94"/>
                    <a:pt x="1419" y="94"/>
                  </a:cubicBezTo>
                  <a:close/>
                  <a:moveTo>
                    <a:pt x="1460" y="94"/>
                  </a:moveTo>
                  <a:cubicBezTo>
                    <a:pt x="1460" y="94"/>
                    <a:pt x="1460" y="94"/>
                    <a:pt x="1460" y="94"/>
                  </a:cubicBezTo>
                  <a:cubicBezTo>
                    <a:pt x="1460" y="94"/>
                    <a:pt x="1460" y="94"/>
                    <a:pt x="1460" y="94"/>
                  </a:cubicBezTo>
                  <a:close/>
                  <a:moveTo>
                    <a:pt x="583" y="94"/>
                  </a:moveTo>
                  <a:cubicBezTo>
                    <a:pt x="583" y="94"/>
                    <a:pt x="583" y="94"/>
                    <a:pt x="583" y="95"/>
                  </a:cubicBezTo>
                  <a:cubicBezTo>
                    <a:pt x="583" y="94"/>
                    <a:pt x="583" y="94"/>
                    <a:pt x="583" y="94"/>
                  </a:cubicBezTo>
                  <a:close/>
                  <a:moveTo>
                    <a:pt x="1378" y="64"/>
                  </a:moveTo>
                  <a:cubicBezTo>
                    <a:pt x="1378" y="64"/>
                    <a:pt x="1378" y="64"/>
                    <a:pt x="1378" y="64"/>
                  </a:cubicBezTo>
                  <a:cubicBezTo>
                    <a:pt x="1378" y="64"/>
                    <a:pt x="1378" y="64"/>
                    <a:pt x="1378" y="64"/>
                  </a:cubicBezTo>
                  <a:close/>
                  <a:moveTo>
                    <a:pt x="696" y="94"/>
                  </a:moveTo>
                  <a:cubicBezTo>
                    <a:pt x="696" y="94"/>
                    <a:pt x="696" y="94"/>
                    <a:pt x="696" y="95"/>
                  </a:cubicBezTo>
                  <a:cubicBezTo>
                    <a:pt x="696" y="94"/>
                    <a:pt x="696" y="94"/>
                    <a:pt x="696" y="94"/>
                  </a:cubicBezTo>
                  <a:close/>
                  <a:moveTo>
                    <a:pt x="1565" y="19"/>
                  </a:moveTo>
                  <a:cubicBezTo>
                    <a:pt x="1565" y="18"/>
                    <a:pt x="1565" y="18"/>
                    <a:pt x="1564" y="18"/>
                  </a:cubicBezTo>
                  <a:cubicBezTo>
                    <a:pt x="1564" y="18"/>
                    <a:pt x="1565" y="19"/>
                    <a:pt x="1565" y="19"/>
                  </a:cubicBezTo>
                  <a:close/>
                  <a:moveTo>
                    <a:pt x="756" y="95"/>
                  </a:moveTo>
                  <a:cubicBezTo>
                    <a:pt x="756" y="94"/>
                    <a:pt x="756" y="94"/>
                    <a:pt x="755" y="94"/>
                  </a:cubicBezTo>
                  <a:cubicBezTo>
                    <a:pt x="755" y="94"/>
                    <a:pt x="756" y="94"/>
                    <a:pt x="756" y="95"/>
                  </a:cubicBezTo>
                  <a:close/>
                  <a:moveTo>
                    <a:pt x="967" y="94"/>
                  </a:moveTo>
                  <a:cubicBezTo>
                    <a:pt x="967" y="94"/>
                    <a:pt x="967" y="94"/>
                    <a:pt x="967" y="94"/>
                  </a:cubicBezTo>
                  <a:cubicBezTo>
                    <a:pt x="967" y="94"/>
                    <a:pt x="967" y="94"/>
                    <a:pt x="967" y="94"/>
                  </a:cubicBezTo>
                  <a:close/>
                  <a:moveTo>
                    <a:pt x="1733" y="19"/>
                  </a:moveTo>
                  <a:cubicBezTo>
                    <a:pt x="1733" y="18"/>
                    <a:pt x="1733" y="18"/>
                    <a:pt x="1732" y="18"/>
                  </a:cubicBezTo>
                  <a:cubicBezTo>
                    <a:pt x="1733" y="18"/>
                    <a:pt x="1733" y="19"/>
                    <a:pt x="1733" y="19"/>
                  </a:cubicBezTo>
                  <a:close/>
                  <a:moveTo>
                    <a:pt x="1216" y="94"/>
                  </a:moveTo>
                  <a:cubicBezTo>
                    <a:pt x="1216" y="94"/>
                    <a:pt x="1215" y="94"/>
                    <a:pt x="1215" y="94"/>
                  </a:cubicBezTo>
                  <a:cubicBezTo>
                    <a:pt x="1215" y="94"/>
                    <a:pt x="1215" y="94"/>
                    <a:pt x="1216" y="94"/>
                  </a:cubicBezTo>
                  <a:close/>
                  <a:moveTo>
                    <a:pt x="1669" y="64"/>
                  </a:moveTo>
                  <a:cubicBezTo>
                    <a:pt x="1669" y="64"/>
                    <a:pt x="1669" y="64"/>
                    <a:pt x="1670" y="64"/>
                  </a:cubicBezTo>
                  <a:cubicBezTo>
                    <a:pt x="1670" y="64"/>
                    <a:pt x="1670" y="64"/>
                    <a:pt x="1669" y="64"/>
                  </a:cubicBezTo>
                  <a:close/>
                  <a:moveTo>
                    <a:pt x="1460" y="94"/>
                  </a:moveTo>
                  <a:cubicBezTo>
                    <a:pt x="1460" y="94"/>
                    <a:pt x="1459" y="94"/>
                    <a:pt x="1459" y="95"/>
                  </a:cubicBezTo>
                  <a:cubicBezTo>
                    <a:pt x="1460" y="94"/>
                    <a:pt x="1460" y="94"/>
                    <a:pt x="1460" y="94"/>
                  </a:cubicBezTo>
                  <a:close/>
                  <a:moveTo>
                    <a:pt x="965" y="19"/>
                  </a:moveTo>
                  <a:cubicBezTo>
                    <a:pt x="965" y="19"/>
                    <a:pt x="965" y="19"/>
                    <a:pt x="965" y="19"/>
                  </a:cubicBezTo>
                  <a:cubicBezTo>
                    <a:pt x="965" y="19"/>
                    <a:pt x="965" y="19"/>
                    <a:pt x="965" y="19"/>
                  </a:cubicBezTo>
                  <a:close/>
                  <a:moveTo>
                    <a:pt x="583" y="95"/>
                  </a:moveTo>
                  <a:cubicBezTo>
                    <a:pt x="583" y="95"/>
                    <a:pt x="583" y="95"/>
                    <a:pt x="583" y="95"/>
                  </a:cubicBezTo>
                  <a:cubicBezTo>
                    <a:pt x="583" y="95"/>
                    <a:pt x="583" y="95"/>
                    <a:pt x="583" y="95"/>
                  </a:cubicBezTo>
                  <a:close/>
                  <a:moveTo>
                    <a:pt x="696" y="95"/>
                  </a:moveTo>
                  <a:cubicBezTo>
                    <a:pt x="696" y="95"/>
                    <a:pt x="696" y="95"/>
                    <a:pt x="696" y="95"/>
                  </a:cubicBezTo>
                  <a:cubicBezTo>
                    <a:pt x="696" y="95"/>
                    <a:pt x="696" y="95"/>
                    <a:pt x="696" y="95"/>
                  </a:cubicBezTo>
                  <a:close/>
                  <a:moveTo>
                    <a:pt x="756" y="95"/>
                  </a:moveTo>
                  <a:cubicBezTo>
                    <a:pt x="756" y="95"/>
                    <a:pt x="756" y="95"/>
                    <a:pt x="756" y="95"/>
                  </a:cubicBezTo>
                  <a:cubicBezTo>
                    <a:pt x="756" y="95"/>
                    <a:pt x="756" y="95"/>
                    <a:pt x="756" y="95"/>
                  </a:cubicBezTo>
                  <a:close/>
                  <a:moveTo>
                    <a:pt x="1381" y="19"/>
                  </a:moveTo>
                  <a:cubicBezTo>
                    <a:pt x="1381" y="19"/>
                    <a:pt x="1381" y="19"/>
                    <a:pt x="1381" y="19"/>
                  </a:cubicBezTo>
                  <a:cubicBezTo>
                    <a:pt x="1381" y="19"/>
                    <a:pt x="1381" y="19"/>
                    <a:pt x="1381" y="19"/>
                  </a:cubicBezTo>
                  <a:close/>
                  <a:moveTo>
                    <a:pt x="1038" y="95"/>
                  </a:moveTo>
                  <a:cubicBezTo>
                    <a:pt x="1038" y="95"/>
                    <a:pt x="1038" y="94"/>
                    <a:pt x="1038" y="94"/>
                  </a:cubicBezTo>
                  <a:cubicBezTo>
                    <a:pt x="1038" y="95"/>
                    <a:pt x="1038" y="95"/>
                    <a:pt x="1038" y="95"/>
                  </a:cubicBezTo>
                  <a:close/>
                  <a:moveTo>
                    <a:pt x="1216" y="95"/>
                  </a:moveTo>
                  <a:cubicBezTo>
                    <a:pt x="1216" y="95"/>
                    <a:pt x="1216" y="95"/>
                    <a:pt x="1216" y="94"/>
                  </a:cubicBezTo>
                  <a:cubicBezTo>
                    <a:pt x="1216" y="95"/>
                    <a:pt x="1216" y="95"/>
                    <a:pt x="1216" y="95"/>
                  </a:cubicBezTo>
                  <a:close/>
                  <a:moveTo>
                    <a:pt x="1459" y="94"/>
                  </a:moveTo>
                  <a:cubicBezTo>
                    <a:pt x="1459" y="95"/>
                    <a:pt x="1459" y="95"/>
                    <a:pt x="1459" y="95"/>
                  </a:cubicBezTo>
                  <a:cubicBezTo>
                    <a:pt x="1459" y="95"/>
                    <a:pt x="1459" y="95"/>
                    <a:pt x="1459" y="94"/>
                  </a:cubicBezTo>
                  <a:close/>
                  <a:moveTo>
                    <a:pt x="1541" y="19"/>
                  </a:moveTo>
                  <a:cubicBezTo>
                    <a:pt x="1540" y="19"/>
                    <a:pt x="1540" y="19"/>
                    <a:pt x="1540" y="19"/>
                  </a:cubicBezTo>
                  <a:cubicBezTo>
                    <a:pt x="1540" y="19"/>
                    <a:pt x="1541" y="19"/>
                    <a:pt x="1541" y="19"/>
                  </a:cubicBezTo>
                  <a:close/>
                  <a:moveTo>
                    <a:pt x="583" y="95"/>
                  </a:moveTo>
                  <a:cubicBezTo>
                    <a:pt x="582" y="95"/>
                    <a:pt x="582" y="95"/>
                    <a:pt x="582" y="95"/>
                  </a:cubicBezTo>
                  <a:cubicBezTo>
                    <a:pt x="582" y="95"/>
                    <a:pt x="583" y="95"/>
                    <a:pt x="583" y="95"/>
                  </a:cubicBezTo>
                  <a:close/>
                  <a:moveTo>
                    <a:pt x="1565" y="19"/>
                  </a:moveTo>
                  <a:cubicBezTo>
                    <a:pt x="1565" y="19"/>
                    <a:pt x="1565" y="19"/>
                    <a:pt x="1565" y="19"/>
                  </a:cubicBezTo>
                  <a:cubicBezTo>
                    <a:pt x="1565" y="19"/>
                    <a:pt x="1565" y="19"/>
                    <a:pt x="1565" y="19"/>
                  </a:cubicBezTo>
                  <a:close/>
                  <a:moveTo>
                    <a:pt x="662" y="64"/>
                  </a:moveTo>
                  <a:cubicBezTo>
                    <a:pt x="662" y="64"/>
                    <a:pt x="662" y="64"/>
                    <a:pt x="662" y="64"/>
                  </a:cubicBezTo>
                  <a:cubicBezTo>
                    <a:pt x="662" y="64"/>
                    <a:pt x="662" y="64"/>
                    <a:pt x="662" y="64"/>
                  </a:cubicBezTo>
                  <a:close/>
                  <a:moveTo>
                    <a:pt x="1709" y="19"/>
                  </a:moveTo>
                  <a:cubicBezTo>
                    <a:pt x="1709" y="19"/>
                    <a:pt x="1708" y="19"/>
                    <a:pt x="1708" y="19"/>
                  </a:cubicBezTo>
                  <a:cubicBezTo>
                    <a:pt x="1709" y="19"/>
                    <a:pt x="1709" y="19"/>
                    <a:pt x="1709" y="19"/>
                  </a:cubicBezTo>
                  <a:close/>
                  <a:moveTo>
                    <a:pt x="756" y="95"/>
                  </a:moveTo>
                  <a:cubicBezTo>
                    <a:pt x="756" y="95"/>
                    <a:pt x="756" y="95"/>
                    <a:pt x="756" y="95"/>
                  </a:cubicBezTo>
                  <a:cubicBezTo>
                    <a:pt x="756" y="95"/>
                    <a:pt x="756" y="95"/>
                    <a:pt x="756" y="95"/>
                  </a:cubicBezTo>
                  <a:close/>
                  <a:moveTo>
                    <a:pt x="968" y="95"/>
                  </a:moveTo>
                  <a:cubicBezTo>
                    <a:pt x="968" y="95"/>
                    <a:pt x="968" y="95"/>
                    <a:pt x="968" y="95"/>
                  </a:cubicBezTo>
                  <a:cubicBezTo>
                    <a:pt x="968" y="95"/>
                    <a:pt x="968" y="95"/>
                    <a:pt x="968" y="95"/>
                  </a:cubicBezTo>
                  <a:close/>
                  <a:moveTo>
                    <a:pt x="1038" y="95"/>
                  </a:moveTo>
                  <a:cubicBezTo>
                    <a:pt x="1038" y="95"/>
                    <a:pt x="1038" y="95"/>
                    <a:pt x="1038" y="95"/>
                  </a:cubicBezTo>
                  <a:cubicBezTo>
                    <a:pt x="1038" y="95"/>
                    <a:pt x="1038" y="95"/>
                    <a:pt x="1038" y="95"/>
                  </a:cubicBezTo>
                  <a:close/>
                  <a:moveTo>
                    <a:pt x="1733" y="19"/>
                  </a:moveTo>
                  <a:cubicBezTo>
                    <a:pt x="1733" y="19"/>
                    <a:pt x="1733" y="19"/>
                    <a:pt x="1733" y="19"/>
                  </a:cubicBezTo>
                  <a:cubicBezTo>
                    <a:pt x="1733" y="19"/>
                    <a:pt x="1733" y="19"/>
                    <a:pt x="1733" y="19"/>
                  </a:cubicBezTo>
                  <a:close/>
                  <a:moveTo>
                    <a:pt x="1216" y="95"/>
                  </a:moveTo>
                  <a:cubicBezTo>
                    <a:pt x="1216" y="95"/>
                    <a:pt x="1216" y="95"/>
                    <a:pt x="1216" y="95"/>
                  </a:cubicBezTo>
                  <a:cubicBezTo>
                    <a:pt x="1216" y="95"/>
                    <a:pt x="1216" y="95"/>
                    <a:pt x="1216" y="95"/>
                  </a:cubicBezTo>
                  <a:close/>
                  <a:moveTo>
                    <a:pt x="1459" y="95"/>
                  </a:moveTo>
                  <a:cubicBezTo>
                    <a:pt x="1459" y="95"/>
                    <a:pt x="1459" y="95"/>
                    <a:pt x="1459" y="95"/>
                  </a:cubicBezTo>
                  <a:cubicBezTo>
                    <a:pt x="1459" y="95"/>
                    <a:pt x="1459" y="95"/>
                    <a:pt x="1459" y="95"/>
                  </a:cubicBezTo>
                  <a:close/>
                  <a:moveTo>
                    <a:pt x="582" y="95"/>
                  </a:moveTo>
                  <a:cubicBezTo>
                    <a:pt x="582" y="95"/>
                    <a:pt x="582" y="95"/>
                    <a:pt x="582" y="96"/>
                  </a:cubicBezTo>
                  <a:cubicBezTo>
                    <a:pt x="582" y="96"/>
                    <a:pt x="582" y="95"/>
                    <a:pt x="582" y="95"/>
                  </a:cubicBezTo>
                  <a:close/>
                  <a:moveTo>
                    <a:pt x="1362" y="64"/>
                  </a:moveTo>
                  <a:cubicBezTo>
                    <a:pt x="1363" y="64"/>
                    <a:pt x="1363" y="64"/>
                    <a:pt x="1363" y="64"/>
                  </a:cubicBezTo>
                  <a:cubicBezTo>
                    <a:pt x="1363" y="64"/>
                    <a:pt x="1363" y="64"/>
                    <a:pt x="1362" y="64"/>
                  </a:cubicBezTo>
                  <a:close/>
                  <a:moveTo>
                    <a:pt x="757" y="96"/>
                  </a:moveTo>
                  <a:cubicBezTo>
                    <a:pt x="757" y="95"/>
                    <a:pt x="757" y="95"/>
                    <a:pt x="756" y="95"/>
                  </a:cubicBezTo>
                  <a:cubicBezTo>
                    <a:pt x="756" y="95"/>
                    <a:pt x="757" y="95"/>
                    <a:pt x="757" y="96"/>
                  </a:cubicBezTo>
                  <a:close/>
                  <a:moveTo>
                    <a:pt x="1378" y="64"/>
                  </a:moveTo>
                  <a:cubicBezTo>
                    <a:pt x="1378" y="64"/>
                    <a:pt x="1378" y="64"/>
                    <a:pt x="1378" y="64"/>
                  </a:cubicBezTo>
                  <a:cubicBezTo>
                    <a:pt x="1378" y="64"/>
                    <a:pt x="1378" y="64"/>
                    <a:pt x="1378" y="64"/>
                  </a:cubicBezTo>
                  <a:close/>
                  <a:moveTo>
                    <a:pt x="1039" y="96"/>
                  </a:moveTo>
                  <a:cubicBezTo>
                    <a:pt x="1039" y="95"/>
                    <a:pt x="1039" y="95"/>
                    <a:pt x="1038" y="95"/>
                  </a:cubicBezTo>
                  <a:cubicBezTo>
                    <a:pt x="1038" y="95"/>
                    <a:pt x="1039" y="96"/>
                    <a:pt x="1039" y="96"/>
                  </a:cubicBezTo>
                  <a:close/>
                  <a:moveTo>
                    <a:pt x="1217" y="96"/>
                  </a:moveTo>
                  <a:cubicBezTo>
                    <a:pt x="1217" y="95"/>
                    <a:pt x="1216" y="95"/>
                    <a:pt x="1216" y="95"/>
                  </a:cubicBezTo>
                  <a:cubicBezTo>
                    <a:pt x="1216" y="95"/>
                    <a:pt x="1216" y="96"/>
                    <a:pt x="1217" y="96"/>
                  </a:cubicBezTo>
                  <a:close/>
                  <a:moveTo>
                    <a:pt x="1421" y="96"/>
                  </a:moveTo>
                  <a:cubicBezTo>
                    <a:pt x="1421" y="95"/>
                    <a:pt x="1420" y="95"/>
                    <a:pt x="1420" y="95"/>
                  </a:cubicBezTo>
                  <a:cubicBezTo>
                    <a:pt x="1420" y="95"/>
                    <a:pt x="1420" y="95"/>
                    <a:pt x="1421" y="96"/>
                  </a:cubicBezTo>
                  <a:close/>
                  <a:moveTo>
                    <a:pt x="1459" y="95"/>
                  </a:moveTo>
                  <a:cubicBezTo>
                    <a:pt x="1459" y="95"/>
                    <a:pt x="1458" y="95"/>
                    <a:pt x="1458" y="96"/>
                  </a:cubicBezTo>
                  <a:cubicBezTo>
                    <a:pt x="1459" y="95"/>
                    <a:pt x="1459" y="95"/>
                    <a:pt x="1459" y="95"/>
                  </a:cubicBezTo>
                  <a:close/>
                  <a:moveTo>
                    <a:pt x="1547" y="64"/>
                  </a:moveTo>
                  <a:cubicBezTo>
                    <a:pt x="1547" y="64"/>
                    <a:pt x="1547" y="64"/>
                    <a:pt x="1547" y="64"/>
                  </a:cubicBezTo>
                  <a:cubicBezTo>
                    <a:pt x="1547" y="64"/>
                    <a:pt x="1547" y="64"/>
                    <a:pt x="1547" y="64"/>
                  </a:cubicBezTo>
                  <a:close/>
                  <a:moveTo>
                    <a:pt x="1685" y="95"/>
                  </a:moveTo>
                  <a:cubicBezTo>
                    <a:pt x="1685" y="95"/>
                    <a:pt x="1685" y="96"/>
                    <a:pt x="1685" y="96"/>
                  </a:cubicBezTo>
                  <a:cubicBezTo>
                    <a:pt x="1685" y="96"/>
                    <a:pt x="1685" y="95"/>
                    <a:pt x="1685" y="95"/>
                  </a:cubicBezTo>
                  <a:close/>
                  <a:moveTo>
                    <a:pt x="582" y="96"/>
                  </a:moveTo>
                  <a:cubicBezTo>
                    <a:pt x="582" y="96"/>
                    <a:pt x="582" y="96"/>
                    <a:pt x="582" y="96"/>
                  </a:cubicBezTo>
                  <a:cubicBezTo>
                    <a:pt x="582" y="96"/>
                    <a:pt x="582" y="96"/>
                    <a:pt x="582" y="96"/>
                  </a:cubicBezTo>
                  <a:close/>
                  <a:moveTo>
                    <a:pt x="1562" y="64"/>
                  </a:moveTo>
                  <a:cubicBezTo>
                    <a:pt x="1562" y="64"/>
                    <a:pt x="1562" y="64"/>
                    <a:pt x="1562" y="64"/>
                  </a:cubicBezTo>
                  <a:cubicBezTo>
                    <a:pt x="1562" y="64"/>
                    <a:pt x="1562" y="64"/>
                    <a:pt x="1562" y="64"/>
                  </a:cubicBezTo>
                  <a:close/>
                  <a:moveTo>
                    <a:pt x="1656" y="64"/>
                  </a:moveTo>
                  <a:cubicBezTo>
                    <a:pt x="1656" y="64"/>
                    <a:pt x="1656" y="64"/>
                    <a:pt x="1655" y="64"/>
                  </a:cubicBezTo>
                  <a:cubicBezTo>
                    <a:pt x="1656" y="64"/>
                    <a:pt x="1656" y="64"/>
                    <a:pt x="1656" y="64"/>
                  </a:cubicBezTo>
                  <a:close/>
                  <a:moveTo>
                    <a:pt x="757" y="96"/>
                  </a:moveTo>
                  <a:cubicBezTo>
                    <a:pt x="757" y="96"/>
                    <a:pt x="757" y="96"/>
                    <a:pt x="757" y="96"/>
                  </a:cubicBezTo>
                  <a:cubicBezTo>
                    <a:pt x="757" y="96"/>
                    <a:pt x="757" y="96"/>
                    <a:pt x="757" y="96"/>
                  </a:cubicBezTo>
                  <a:close/>
                  <a:moveTo>
                    <a:pt x="1039" y="96"/>
                  </a:moveTo>
                  <a:cubicBezTo>
                    <a:pt x="1039" y="96"/>
                    <a:pt x="1039" y="96"/>
                    <a:pt x="1039" y="96"/>
                  </a:cubicBezTo>
                  <a:cubicBezTo>
                    <a:pt x="1039" y="96"/>
                    <a:pt x="1039" y="96"/>
                    <a:pt x="1039" y="96"/>
                  </a:cubicBezTo>
                  <a:close/>
                  <a:moveTo>
                    <a:pt x="1177" y="96"/>
                  </a:moveTo>
                  <a:cubicBezTo>
                    <a:pt x="1177" y="96"/>
                    <a:pt x="1177" y="96"/>
                    <a:pt x="1177" y="96"/>
                  </a:cubicBezTo>
                  <a:cubicBezTo>
                    <a:pt x="1177" y="96"/>
                    <a:pt x="1177" y="96"/>
                    <a:pt x="1177" y="96"/>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82" y="96"/>
                  </a:moveTo>
                  <a:cubicBezTo>
                    <a:pt x="581" y="96"/>
                    <a:pt x="581" y="96"/>
                    <a:pt x="581" y="96"/>
                  </a:cubicBezTo>
                  <a:cubicBezTo>
                    <a:pt x="581" y="96"/>
                    <a:pt x="582" y="96"/>
                    <a:pt x="582" y="96"/>
                  </a:cubicBezTo>
                  <a:close/>
                  <a:moveTo>
                    <a:pt x="540" y="19"/>
                  </a:moveTo>
                  <a:cubicBezTo>
                    <a:pt x="540" y="19"/>
                    <a:pt x="540" y="19"/>
                    <a:pt x="540" y="19"/>
                  </a:cubicBezTo>
                  <a:cubicBezTo>
                    <a:pt x="540" y="19"/>
                    <a:pt x="540" y="19"/>
                    <a:pt x="540" y="19"/>
                  </a:cubicBezTo>
                  <a:close/>
                  <a:moveTo>
                    <a:pt x="695" y="96"/>
                  </a:moveTo>
                  <a:cubicBezTo>
                    <a:pt x="695" y="96"/>
                    <a:pt x="695" y="96"/>
                    <a:pt x="695" y="96"/>
                  </a:cubicBezTo>
                  <a:cubicBezTo>
                    <a:pt x="695" y="96"/>
                    <a:pt x="695" y="96"/>
                    <a:pt x="695" y="96"/>
                  </a:cubicBezTo>
                  <a:close/>
                  <a:moveTo>
                    <a:pt x="757" y="96"/>
                  </a:moveTo>
                  <a:cubicBezTo>
                    <a:pt x="757" y="96"/>
                    <a:pt x="757" y="96"/>
                    <a:pt x="757" y="96"/>
                  </a:cubicBezTo>
                  <a:cubicBezTo>
                    <a:pt x="757" y="96"/>
                    <a:pt x="757" y="96"/>
                    <a:pt x="757" y="96"/>
                  </a:cubicBezTo>
                  <a:close/>
                  <a:moveTo>
                    <a:pt x="1715" y="64"/>
                  </a:moveTo>
                  <a:cubicBezTo>
                    <a:pt x="1715" y="64"/>
                    <a:pt x="1715" y="64"/>
                    <a:pt x="1715" y="64"/>
                  </a:cubicBezTo>
                  <a:cubicBezTo>
                    <a:pt x="1715" y="64"/>
                    <a:pt x="1715" y="64"/>
                    <a:pt x="1715" y="64"/>
                  </a:cubicBezTo>
                  <a:close/>
                  <a:moveTo>
                    <a:pt x="1039" y="96"/>
                  </a:moveTo>
                  <a:cubicBezTo>
                    <a:pt x="1039" y="96"/>
                    <a:pt x="1039" y="96"/>
                    <a:pt x="1039" y="96"/>
                  </a:cubicBezTo>
                  <a:cubicBezTo>
                    <a:pt x="1039" y="96"/>
                    <a:pt x="1039" y="96"/>
                    <a:pt x="1039" y="96"/>
                  </a:cubicBezTo>
                  <a:close/>
                  <a:moveTo>
                    <a:pt x="1730" y="64"/>
                  </a:moveTo>
                  <a:cubicBezTo>
                    <a:pt x="1730" y="64"/>
                    <a:pt x="1730" y="64"/>
                    <a:pt x="1730" y="64"/>
                  </a:cubicBezTo>
                  <a:cubicBezTo>
                    <a:pt x="1730" y="64"/>
                    <a:pt x="1730" y="64"/>
                    <a:pt x="1730" y="64"/>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54" y="19"/>
                  </a:moveTo>
                  <a:cubicBezTo>
                    <a:pt x="554" y="19"/>
                    <a:pt x="554" y="19"/>
                    <a:pt x="554" y="19"/>
                  </a:cubicBezTo>
                  <a:cubicBezTo>
                    <a:pt x="554" y="19"/>
                    <a:pt x="554" y="19"/>
                    <a:pt x="554" y="19"/>
                  </a:cubicBezTo>
                  <a:close/>
                  <a:moveTo>
                    <a:pt x="663" y="65"/>
                  </a:moveTo>
                  <a:cubicBezTo>
                    <a:pt x="663" y="64"/>
                    <a:pt x="663" y="64"/>
                    <a:pt x="662" y="64"/>
                  </a:cubicBezTo>
                  <a:cubicBezTo>
                    <a:pt x="663" y="64"/>
                    <a:pt x="663" y="64"/>
                    <a:pt x="663" y="65"/>
                  </a:cubicBezTo>
                  <a:close/>
                  <a:moveTo>
                    <a:pt x="965" y="19"/>
                  </a:moveTo>
                  <a:cubicBezTo>
                    <a:pt x="965" y="19"/>
                    <a:pt x="965" y="19"/>
                    <a:pt x="965" y="19"/>
                  </a:cubicBezTo>
                  <a:cubicBezTo>
                    <a:pt x="965" y="19"/>
                    <a:pt x="965" y="19"/>
                    <a:pt x="965" y="19"/>
                  </a:cubicBezTo>
                  <a:close/>
                  <a:moveTo>
                    <a:pt x="695" y="96"/>
                  </a:moveTo>
                  <a:cubicBezTo>
                    <a:pt x="694" y="96"/>
                    <a:pt x="694" y="96"/>
                    <a:pt x="694" y="97"/>
                  </a:cubicBezTo>
                  <a:cubicBezTo>
                    <a:pt x="695" y="97"/>
                    <a:pt x="695" y="96"/>
                    <a:pt x="695" y="96"/>
                  </a:cubicBezTo>
                  <a:close/>
                  <a:moveTo>
                    <a:pt x="1356" y="19"/>
                  </a:moveTo>
                  <a:cubicBezTo>
                    <a:pt x="1356" y="19"/>
                    <a:pt x="1355" y="19"/>
                    <a:pt x="1355" y="19"/>
                  </a:cubicBezTo>
                  <a:cubicBezTo>
                    <a:pt x="1356" y="19"/>
                    <a:pt x="1356" y="19"/>
                    <a:pt x="1356" y="19"/>
                  </a:cubicBezTo>
                  <a:close/>
                  <a:moveTo>
                    <a:pt x="758" y="97"/>
                  </a:moveTo>
                  <a:cubicBezTo>
                    <a:pt x="758" y="96"/>
                    <a:pt x="758" y="96"/>
                    <a:pt x="757" y="96"/>
                  </a:cubicBezTo>
                  <a:cubicBezTo>
                    <a:pt x="758" y="96"/>
                    <a:pt x="758" y="96"/>
                    <a:pt x="758" y="97"/>
                  </a:cubicBezTo>
                  <a:close/>
                  <a:moveTo>
                    <a:pt x="1381" y="19"/>
                  </a:moveTo>
                  <a:cubicBezTo>
                    <a:pt x="1381" y="19"/>
                    <a:pt x="1381" y="19"/>
                    <a:pt x="1381" y="19"/>
                  </a:cubicBezTo>
                  <a:cubicBezTo>
                    <a:pt x="1381" y="19"/>
                    <a:pt x="1381" y="19"/>
                    <a:pt x="1381" y="19"/>
                  </a:cubicBezTo>
                  <a:close/>
                  <a:moveTo>
                    <a:pt x="1218" y="97"/>
                  </a:moveTo>
                  <a:cubicBezTo>
                    <a:pt x="1218" y="96"/>
                    <a:pt x="1218" y="96"/>
                    <a:pt x="1217" y="96"/>
                  </a:cubicBezTo>
                  <a:cubicBezTo>
                    <a:pt x="1217" y="96"/>
                    <a:pt x="1217" y="97"/>
                    <a:pt x="1218" y="97"/>
                  </a:cubicBezTo>
                  <a:close/>
                  <a:moveTo>
                    <a:pt x="1422" y="97"/>
                  </a:moveTo>
                  <a:cubicBezTo>
                    <a:pt x="1422" y="96"/>
                    <a:pt x="1421" y="96"/>
                    <a:pt x="1421" y="96"/>
                  </a:cubicBezTo>
                  <a:cubicBezTo>
                    <a:pt x="1421" y="96"/>
                    <a:pt x="1421" y="97"/>
                    <a:pt x="1422" y="97"/>
                  </a:cubicBezTo>
                  <a:close/>
                  <a:moveTo>
                    <a:pt x="1458" y="96"/>
                  </a:moveTo>
                  <a:cubicBezTo>
                    <a:pt x="1458" y="96"/>
                    <a:pt x="1457" y="96"/>
                    <a:pt x="1457" y="97"/>
                  </a:cubicBezTo>
                  <a:cubicBezTo>
                    <a:pt x="1458" y="97"/>
                    <a:pt x="1458" y="96"/>
                    <a:pt x="1458" y="96"/>
                  </a:cubicBezTo>
                  <a:close/>
                  <a:moveTo>
                    <a:pt x="581" y="97"/>
                  </a:moveTo>
                  <a:cubicBezTo>
                    <a:pt x="580" y="97"/>
                    <a:pt x="580" y="97"/>
                    <a:pt x="580" y="97"/>
                  </a:cubicBezTo>
                  <a:cubicBezTo>
                    <a:pt x="580" y="97"/>
                    <a:pt x="580" y="97"/>
                    <a:pt x="581" y="97"/>
                  </a:cubicBezTo>
                  <a:close/>
                  <a:moveTo>
                    <a:pt x="1395" y="19"/>
                  </a:moveTo>
                  <a:cubicBezTo>
                    <a:pt x="1395" y="19"/>
                    <a:pt x="1395" y="19"/>
                    <a:pt x="1395" y="20"/>
                  </a:cubicBezTo>
                  <a:cubicBezTo>
                    <a:pt x="1395" y="19"/>
                    <a:pt x="1395" y="19"/>
                    <a:pt x="1395" y="19"/>
                  </a:cubicBezTo>
                  <a:close/>
                  <a:moveTo>
                    <a:pt x="1546" y="65"/>
                  </a:moveTo>
                  <a:cubicBezTo>
                    <a:pt x="1546" y="65"/>
                    <a:pt x="1547" y="64"/>
                    <a:pt x="1547" y="64"/>
                  </a:cubicBezTo>
                  <a:cubicBezTo>
                    <a:pt x="1546" y="64"/>
                    <a:pt x="1546" y="64"/>
                    <a:pt x="1546" y="65"/>
                  </a:cubicBezTo>
                  <a:close/>
                  <a:moveTo>
                    <a:pt x="758" y="97"/>
                  </a:moveTo>
                  <a:cubicBezTo>
                    <a:pt x="758" y="97"/>
                    <a:pt x="758" y="97"/>
                    <a:pt x="758" y="97"/>
                  </a:cubicBezTo>
                  <a:cubicBezTo>
                    <a:pt x="758" y="97"/>
                    <a:pt x="758" y="97"/>
                    <a:pt x="758" y="97"/>
                  </a:cubicBezTo>
                  <a:close/>
                  <a:moveTo>
                    <a:pt x="1562" y="64"/>
                  </a:moveTo>
                  <a:cubicBezTo>
                    <a:pt x="1562" y="64"/>
                    <a:pt x="1561" y="64"/>
                    <a:pt x="1561" y="65"/>
                  </a:cubicBezTo>
                  <a:cubicBezTo>
                    <a:pt x="1562" y="65"/>
                    <a:pt x="1562" y="64"/>
                    <a:pt x="1562" y="64"/>
                  </a:cubicBezTo>
                  <a:close/>
                  <a:moveTo>
                    <a:pt x="1083" y="97"/>
                  </a:moveTo>
                  <a:cubicBezTo>
                    <a:pt x="1083" y="97"/>
                    <a:pt x="1083" y="97"/>
                    <a:pt x="1083" y="97"/>
                  </a:cubicBezTo>
                  <a:cubicBezTo>
                    <a:pt x="1083" y="97"/>
                    <a:pt x="1083" y="97"/>
                    <a:pt x="1083" y="97"/>
                  </a:cubicBezTo>
                  <a:close/>
                  <a:moveTo>
                    <a:pt x="1178" y="97"/>
                  </a:moveTo>
                  <a:cubicBezTo>
                    <a:pt x="1178" y="97"/>
                    <a:pt x="1178" y="97"/>
                    <a:pt x="1178" y="97"/>
                  </a:cubicBezTo>
                  <a:cubicBezTo>
                    <a:pt x="1178" y="97"/>
                    <a:pt x="1178" y="97"/>
                    <a:pt x="1178" y="97"/>
                  </a:cubicBezTo>
                  <a:close/>
                  <a:moveTo>
                    <a:pt x="1656" y="65"/>
                  </a:moveTo>
                  <a:cubicBezTo>
                    <a:pt x="1656" y="64"/>
                    <a:pt x="1656" y="64"/>
                    <a:pt x="1656" y="64"/>
                  </a:cubicBezTo>
                  <a:cubicBezTo>
                    <a:pt x="1656" y="64"/>
                    <a:pt x="1656" y="65"/>
                    <a:pt x="1656" y="65"/>
                  </a:cubicBezTo>
                  <a:close/>
                  <a:moveTo>
                    <a:pt x="1422" y="97"/>
                  </a:moveTo>
                  <a:cubicBezTo>
                    <a:pt x="1422" y="97"/>
                    <a:pt x="1422" y="97"/>
                    <a:pt x="1422" y="97"/>
                  </a:cubicBezTo>
                  <a:cubicBezTo>
                    <a:pt x="1422" y="97"/>
                    <a:pt x="1422" y="97"/>
                    <a:pt x="1422" y="97"/>
                  </a:cubicBezTo>
                  <a:close/>
                  <a:moveTo>
                    <a:pt x="1457" y="97"/>
                  </a:moveTo>
                  <a:cubicBezTo>
                    <a:pt x="1457" y="97"/>
                    <a:pt x="1457" y="97"/>
                    <a:pt x="1457" y="97"/>
                  </a:cubicBezTo>
                  <a:cubicBezTo>
                    <a:pt x="1457" y="97"/>
                    <a:pt x="1457" y="97"/>
                    <a:pt x="1457" y="97"/>
                  </a:cubicBezTo>
                  <a:close/>
                  <a:moveTo>
                    <a:pt x="1714" y="65"/>
                  </a:moveTo>
                  <a:cubicBezTo>
                    <a:pt x="1715" y="65"/>
                    <a:pt x="1715" y="64"/>
                    <a:pt x="1715" y="64"/>
                  </a:cubicBezTo>
                  <a:cubicBezTo>
                    <a:pt x="1715" y="64"/>
                    <a:pt x="1714" y="64"/>
                    <a:pt x="1714" y="65"/>
                  </a:cubicBezTo>
                  <a:close/>
                  <a:moveTo>
                    <a:pt x="580" y="97"/>
                  </a:moveTo>
                  <a:cubicBezTo>
                    <a:pt x="580" y="97"/>
                    <a:pt x="580" y="97"/>
                    <a:pt x="580" y="97"/>
                  </a:cubicBezTo>
                  <a:cubicBezTo>
                    <a:pt x="580" y="97"/>
                    <a:pt x="580" y="97"/>
                    <a:pt x="580" y="97"/>
                  </a:cubicBezTo>
                  <a:close/>
                  <a:moveTo>
                    <a:pt x="1730" y="64"/>
                  </a:moveTo>
                  <a:cubicBezTo>
                    <a:pt x="1730" y="64"/>
                    <a:pt x="1730" y="64"/>
                    <a:pt x="1730" y="65"/>
                  </a:cubicBezTo>
                  <a:cubicBezTo>
                    <a:pt x="1730" y="65"/>
                    <a:pt x="1730" y="64"/>
                    <a:pt x="1730" y="64"/>
                  </a:cubicBezTo>
                  <a:close/>
                  <a:moveTo>
                    <a:pt x="554" y="19"/>
                  </a:moveTo>
                  <a:cubicBezTo>
                    <a:pt x="554" y="19"/>
                    <a:pt x="554" y="19"/>
                    <a:pt x="554" y="20"/>
                  </a:cubicBezTo>
                  <a:cubicBezTo>
                    <a:pt x="554" y="20"/>
                    <a:pt x="554" y="20"/>
                    <a:pt x="554" y="19"/>
                  </a:cubicBezTo>
                  <a:close/>
                  <a:moveTo>
                    <a:pt x="972" y="97"/>
                  </a:moveTo>
                  <a:cubicBezTo>
                    <a:pt x="972" y="97"/>
                    <a:pt x="971" y="97"/>
                    <a:pt x="971" y="97"/>
                  </a:cubicBezTo>
                  <a:cubicBezTo>
                    <a:pt x="971" y="97"/>
                    <a:pt x="971" y="97"/>
                    <a:pt x="972" y="97"/>
                  </a:cubicBezTo>
                  <a:close/>
                  <a:moveTo>
                    <a:pt x="1041" y="97"/>
                  </a:moveTo>
                  <a:cubicBezTo>
                    <a:pt x="1041" y="97"/>
                    <a:pt x="1041" y="97"/>
                    <a:pt x="1040" y="97"/>
                  </a:cubicBezTo>
                  <a:cubicBezTo>
                    <a:pt x="1041" y="97"/>
                    <a:pt x="1041" y="97"/>
                    <a:pt x="1041" y="97"/>
                  </a:cubicBezTo>
                  <a:close/>
                  <a:moveTo>
                    <a:pt x="1083" y="97"/>
                  </a:moveTo>
                  <a:cubicBezTo>
                    <a:pt x="1083" y="97"/>
                    <a:pt x="1083" y="97"/>
                    <a:pt x="1082" y="97"/>
                  </a:cubicBezTo>
                  <a:cubicBezTo>
                    <a:pt x="1083" y="97"/>
                    <a:pt x="1083" y="97"/>
                    <a:pt x="1083" y="97"/>
                  </a:cubicBezTo>
                  <a:close/>
                  <a:moveTo>
                    <a:pt x="964" y="20"/>
                  </a:moveTo>
                  <a:cubicBezTo>
                    <a:pt x="964" y="20"/>
                    <a:pt x="965" y="20"/>
                    <a:pt x="965" y="19"/>
                  </a:cubicBezTo>
                  <a:cubicBezTo>
                    <a:pt x="964" y="19"/>
                    <a:pt x="964" y="20"/>
                    <a:pt x="964" y="20"/>
                  </a:cubicBezTo>
                  <a:close/>
                  <a:moveTo>
                    <a:pt x="663" y="65"/>
                  </a:moveTo>
                  <a:cubicBezTo>
                    <a:pt x="663" y="65"/>
                    <a:pt x="663" y="65"/>
                    <a:pt x="663" y="65"/>
                  </a:cubicBezTo>
                  <a:cubicBezTo>
                    <a:pt x="663" y="65"/>
                    <a:pt x="663" y="65"/>
                    <a:pt x="663" y="65"/>
                  </a:cubicBezTo>
                  <a:close/>
                  <a:moveTo>
                    <a:pt x="1382" y="20"/>
                  </a:moveTo>
                  <a:cubicBezTo>
                    <a:pt x="1382" y="19"/>
                    <a:pt x="1381" y="19"/>
                    <a:pt x="1381" y="19"/>
                  </a:cubicBezTo>
                  <a:cubicBezTo>
                    <a:pt x="1381" y="20"/>
                    <a:pt x="1381" y="20"/>
                    <a:pt x="1382" y="20"/>
                  </a:cubicBezTo>
                  <a:close/>
                  <a:moveTo>
                    <a:pt x="1457" y="97"/>
                  </a:moveTo>
                  <a:cubicBezTo>
                    <a:pt x="1457" y="97"/>
                    <a:pt x="1457" y="97"/>
                    <a:pt x="1457" y="97"/>
                  </a:cubicBezTo>
                  <a:cubicBezTo>
                    <a:pt x="1457" y="97"/>
                    <a:pt x="1457" y="97"/>
                    <a:pt x="1457" y="97"/>
                  </a:cubicBezTo>
                  <a:close/>
                  <a:moveTo>
                    <a:pt x="1361" y="65"/>
                  </a:moveTo>
                  <a:cubicBezTo>
                    <a:pt x="1362" y="65"/>
                    <a:pt x="1362" y="65"/>
                    <a:pt x="1362" y="65"/>
                  </a:cubicBezTo>
                  <a:cubicBezTo>
                    <a:pt x="1362" y="65"/>
                    <a:pt x="1361" y="65"/>
                    <a:pt x="1361" y="65"/>
                  </a:cubicBezTo>
                  <a:close/>
                  <a:moveTo>
                    <a:pt x="1377" y="65"/>
                  </a:moveTo>
                  <a:cubicBezTo>
                    <a:pt x="1377" y="65"/>
                    <a:pt x="1377" y="65"/>
                    <a:pt x="1377" y="65"/>
                  </a:cubicBezTo>
                  <a:cubicBezTo>
                    <a:pt x="1377" y="65"/>
                    <a:pt x="1377" y="65"/>
                    <a:pt x="1377" y="65"/>
                  </a:cubicBezTo>
                  <a:close/>
                  <a:moveTo>
                    <a:pt x="583" y="20"/>
                  </a:moveTo>
                  <a:cubicBezTo>
                    <a:pt x="583" y="20"/>
                    <a:pt x="583" y="20"/>
                    <a:pt x="582" y="20"/>
                  </a:cubicBezTo>
                  <a:cubicBezTo>
                    <a:pt x="582" y="20"/>
                    <a:pt x="583" y="20"/>
                    <a:pt x="583" y="20"/>
                  </a:cubicBezTo>
                  <a:close/>
                  <a:moveTo>
                    <a:pt x="718" y="98"/>
                  </a:moveTo>
                  <a:cubicBezTo>
                    <a:pt x="718" y="97"/>
                    <a:pt x="718" y="97"/>
                    <a:pt x="718" y="97"/>
                  </a:cubicBezTo>
                  <a:cubicBezTo>
                    <a:pt x="718" y="97"/>
                    <a:pt x="718" y="98"/>
                    <a:pt x="718" y="98"/>
                  </a:cubicBezTo>
                  <a:close/>
                  <a:moveTo>
                    <a:pt x="800" y="97"/>
                  </a:moveTo>
                  <a:cubicBezTo>
                    <a:pt x="800" y="97"/>
                    <a:pt x="800" y="97"/>
                    <a:pt x="800" y="98"/>
                  </a:cubicBezTo>
                  <a:cubicBezTo>
                    <a:pt x="800" y="98"/>
                    <a:pt x="800" y="98"/>
                    <a:pt x="800" y="97"/>
                  </a:cubicBezTo>
                  <a:close/>
                  <a:moveTo>
                    <a:pt x="964" y="20"/>
                  </a:moveTo>
                  <a:cubicBezTo>
                    <a:pt x="964" y="20"/>
                    <a:pt x="964" y="20"/>
                    <a:pt x="964" y="20"/>
                  </a:cubicBezTo>
                  <a:cubicBezTo>
                    <a:pt x="964" y="20"/>
                    <a:pt x="964" y="20"/>
                    <a:pt x="964" y="20"/>
                  </a:cubicBezTo>
                  <a:close/>
                  <a:moveTo>
                    <a:pt x="1041" y="98"/>
                  </a:moveTo>
                  <a:cubicBezTo>
                    <a:pt x="1041" y="97"/>
                    <a:pt x="1041" y="97"/>
                    <a:pt x="1041" y="97"/>
                  </a:cubicBezTo>
                  <a:cubicBezTo>
                    <a:pt x="1041" y="97"/>
                    <a:pt x="1041" y="98"/>
                    <a:pt x="1041" y="98"/>
                  </a:cubicBezTo>
                  <a:close/>
                  <a:moveTo>
                    <a:pt x="1382" y="20"/>
                  </a:moveTo>
                  <a:cubicBezTo>
                    <a:pt x="1382" y="20"/>
                    <a:pt x="1382" y="20"/>
                    <a:pt x="1382" y="20"/>
                  </a:cubicBezTo>
                  <a:cubicBezTo>
                    <a:pt x="1382" y="20"/>
                    <a:pt x="1382" y="20"/>
                    <a:pt x="1382" y="20"/>
                  </a:cubicBezTo>
                  <a:close/>
                  <a:moveTo>
                    <a:pt x="1219" y="98"/>
                  </a:moveTo>
                  <a:cubicBezTo>
                    <a:pt x="1219" y="97"/>
                    <a:pt x="1219" y="97"/>
                    <a:pt x="1219" y="97"/>
                  </a:cubicBezTo>
                  <a:cubicBezTo>
                    <a:pt x="1219" y="97"/>
                    <a:pt x="1219" y="98"/>
                    <a:pt x="1219" y="98"/>
                  </a:cubicBezTo>
                  <a:close/>
                  <a:moveTo>
                    <a:pt x="1260" y="97"/>
                  </a:moveTo>
                  <a:cubicBezTo>
                    <a:pt x="1260" y="97"/>
                    <a:pt x="1260" y="97"/>
                    <a:pt x="1260" y="98"/>
                  </a:cubicBezTo>
                  <a:cubicBezTo>
                    <a:pt x="1260" y="98"/>
                    <a:pt x="1260" y="97"/>
                    <a:pt x="1260" y="97"/>
                  </a:cubicBezTo>
                  <a:close/>
                  <a:moveTo>
                    <a:pt x="1670" y="65"/>
                  </a:moveTo>
                  <a:cubicBezTo>
                    <a:pt x="1670" y="65"/>
                    <a:pt x="1670" y="65"/>
                    <a:pt x="1670" y="65"/>
                  </a:cubicBezTo>
                  <a:cubicBezTo>
                    <a:pt x="1670" y="65"/>
                    <a:pt x="1670" y="65"/>
                    <a:pt x="1670" y="65"/>
                  </a:cubicBezTo>
                  <a:close/>
                  <a:moveTo>
                    <a:pt x="1539" y="20"/>
                  </a:moveTo>
                  <a:cubicBezTo>
                    <a:pt x="1539" y="20"/>
                    <a:pt x="1539" y="20"/>
                    <a:pt x="1538" y="20"/>
                  </a:cubicBezTo>
                  <a:cubicBezTo>
                    <a:pt x="1539" y="20"/>
                    <a:pt x="1539" y="20"/>
                    <a:pt x="1539" y="20"/>
                  </a:cubicBezTo>
                  <a:close/>
                  <a:moveTo>
                    <a:pt x="579" y="98"/>
                  </a:moveTo>
                  <a:cubicBezTo>
                    <a:pt x="579" y="98"/>
                    <a:pt x="579" y="98"/>
                    <a:pt x="579" y="98"/>
                  </a:cubicBezTo>
                  <a:cubicBezTo>
                    <a:pt x="579" y="98"/>
                    <a:pt x="579" y="98"/>
                    <a:pt x="579" y="98"/>
                  </a:cubicBezTo>
                  <a:close/>
                  <a:moveTo>
                    <a:pt x="1681" y="20"/>
                  </a:moveTo>
                  <a:cubicBezTo>
                    <a:pt x="1681" y="20"/>
                    <a:pt x="1681" y="20"/>
                    <a:pt x="1682" y="20"/>
                  </a:cubicBezTo>
                  <a:cubicBezTo>
                    <a:pt x="1681" y="20"/>
                    <a:pt x="1681" y="20"/>
                    <a:pt x="1681" y="20"/>
                  </a:cubicBezTo>
                  <a:close/>
                  <a:moveTo>
                    <a:pt x="693" y="98"/>
                  </a:moveTo>
                  <a:cubicBezTo>
                    <a:pt x="693" y="98"/>
                    <a:pt x="693" y="98"/>
                    <a:pt x="693" y="98"/>
                  </a:cubicBezTo>
                  <a:cubicBezTo>
                    <a:pt x="693" y="98"/>
                    <a:pt x="693" y="98"/>
                    <a:pt x="693" y="98"/>
                  </a:cubicBezTo>
                  <a:close/>
                  <a:moveTo>
                    <a:pt x="719" y="98"/>
                  </a:moveTo>
                  <a:cubicBezTo>
                    <a:pt x="719" y="98"/>
                    <a:pt x="719" y="98"/>
                    <a:pt x="718" y="98"/>
                  </a:cubicBezTo>
                  <a:cubicBezTo>
                    <a:pt x="719" y="98"/>
                    <a:pt x="719" y="98"/>
                    <a:pt x="719" y="98"/>
                  </a:cubicBezTo>
                  <a:close/>
                  <a:moveTo>
                    <a:pt x="760" y="98"/>
                  </a:moveTo>
                  <a:cubicBezTo>
                    <a:pt x="760" y="98"/>
                    <a:pt x="759" y="98"/>
                    <a:pt x="759" y="98"/>
                  </a:cubicBezTo>
                  <a:cubicBezTo>
                    <a:pt x="759" y="98"/>
                    <a:pt x="759" y="98"/>
                    <a:pt x="760" y="98"/>
                  </a:cubicBezTo>
                  <a:close/>
                  <a:moveTo>
                    <a:pt x="585" y="65"/>
                  </a:moveTo>
                  <a:cubicBezTo>
                    <a:pt x="585" y="65"/>
                    <a:pt x="586" y="65"/>
                    <a:pt x="586" y="65"/>
                  </a:cubicBezTo>
                  <a:cubicBezTo>
                    <a:pt x="586" y="65"/>
                    <a:pt x="586" y="65"/>
                    <a:pt x="585" y="65"/>
                  </a:cubicBezTo>
                  <a:close/>
                  <a:moveTo>
                    <a:pt x="1707" y="20"/>
                  </a:moveTo>
                  <a:cubicBezTo>
                    <a:pt x="1707" y="20"/>
                    <a:pt x="1707" y="20"/>
                    <a:pt x="1707" y="20"/>
                  </a:cubicBezTo>
                  <a:cubicBezTo>
                    <a:pt x="1707" y="20"/>
                    <a:pt x="1707" y="20"/>
                    <a:pt x="1707" y="20"/>
                  </a:cubicBezTo>
                  <a:close/>
                  <a:moveTo>
                    <a:pt x="1021" y="98"/>
                  </a:moveTo>
                  <a:cubicBezTo>
                    <a:pt x="1021" y="98"/>
                    <a:pt x="1021" y="98"/>
                    <a:pt x="1020" y="98"/>
                  </a:cubicBezTo>
                  <a:cubicBezTo>
                    <a:pt x="1021" y="98"/>
                    <a:pt x="1021" y="98"/>
                    <a:pt x="1021" y="98"/>
                  </a:cubicBezTo>
                  <a:close/>
                  <a:moveTo>
                    <a:pt x="663" y="65"/>
                  </a:moveTo>
                  <a:cubicBezTo>
                    <a:pt x="663" y="65"/>
                    <a:pt x="663" y="65"/>
                    <a:pt x="663" y="65"/>
                  </a:cubicBezTo>
                  <a:cubicBezTo>
                    <a:pt x="663" y="65"/>
                    <a:pt x="663" y="65"/>
                    <a:pt x="663" y="65"/>
                  </a:cubicBezTo>
                  <a:close/>
                  <a:moveTo>
                    <a:pt x="964" y="21"/>
                  </a:moveTo>
                  <a:cubicBezTo>
                    <a:pt x="964" y="20"/>
                    <a:pt x="964" y="20"/>
                    <a:pt x="964" y="20"/>
                  </a:cubicBezTo>
                  <a:cubicBezTo>
                    <a:pt x="964" y="20"/>
                    <a:pt x="964" y="20"/>
                    <a:pt x="964" y="21"/>
                  </a:cubicBezTo>
                  <a:close/>
                  <a:moveTo>
                    <a:pt x="1179" y="98"/>
                  </a:moveTo>
                  <a:cubicBezTo>
                    <a:pt x="1179" y="98"/>
                    <a:pt x="1179" y="98"/>
                    <a:pt x="1178" y="98"/>
                  </a:cubicBezTo>
                  <a:cubicBezTo>
                    <a:pt x="1178" y="98"/>
                    <a:pt x="1178" y="98"/>
                    <a:pt x="1179" y="98"/>
                  </a:cubicBezTo>
                  <a:close/>
                  <a:moveTo>
                    <a:pt x="1219" y="98"/>
                  </a:moveTo>
                  <a:cubicBezTo>
                    <a:pt x="1219" y="98"/>
                    <a:pt x="1219" y="98"/>
                    <a:pt x="1219" y="98"/>
                  </a:cubicBezTo>
                  <a:cubicBezTo>
                    <a:pt x="1219" y="98"/>
                    <a:pt x="1219" y="98"/>
                    <a:pt x="1219" y="98"/>
                  </a:cubicBezTo>
                  <a:close/>
                  <a:moveTo>
                    <a:pt x="1382" y="20"/>
                  </a:moveTo>
                  <a:cubicBezTo>
                    <a:pt x="1382" y="20"/>
                    <a:pt x="1382" y="20"/>
                    <a:pt x="1382" y="20"/>
                  </a:cubicBezTo>
                  <a:cubicBezTo>
                    <a:pt x="1382" y="20"/>
                    <a:pt x="1382" y="20"/>
                    <a:pt x="1382" y="20"/>
                  </a:cubicBezTo>
                  <a:close/>
                  <a:moveTo>
                    <a:pt x="1423" y="98"/>
                  </a:moveTo>
                  <a:cubicBezTo>
                    <a:pt x="1423" y="98"/>
                    <a:pt x="1423" y="98"/>
                    <a:pt x="1423" y="98"/>
                  </a:cubicBezTo>
                  <a:cubicBezTo>
                    <a:pt x="1423" y="98"/>
                    <a:pt x="1423" y="98"/>
                    <a:pt x="1423" y="98"/>
                  </a:cubicBezTo>
                  <a:close/>
                  <a:moveTo>
                    <a:pt x="1361" y="65"/>
                  </a:moveTo>
                  <a:cubicBezTo>
                    <a:pt x="1361" y="65"/>
                    <a:pt x="1361" y="65"/>
                    <a:pt x="1361" y="65"/>
                  </a:cubicBezTo>
                  <a:cubicBezTo>
                    <a:pt x="1361" y="65"/>
                    <a:pt x="1361" y="65"/>
                    <a:pt x="1361" y="65"/>
                  </a:cubicBezTo>
                  <a:close/>
                  <a:moveTo>
                    <a:pt x="1377" y="65"/>
                  </a:moveTo>
                  <a:cubicBezTo>
                    <a:pt x="1376" y="65"/>
                    <a:pt x="1376" y="65"/>
                    <a:pt x="1376" y="65"/>
                  </a:cubicBezTo>
                  <a:cubicBezTo>
                    <a:pt x="1376" y="65"/>
                    <a:pt x="1377" y="65"/>
                    <a:pt x="1377" y="65"/>
                  </a:cubicBezTo>
                  <a:close/>
                  <a:moveTo>
                    <a:pt x="693" y="98"/>
                  </a:moveTo>
                  <a:cubicBezTo>
                    <a:pt x="692" y="98"/>
                    <a:pt x="692" y="98"/>
                    <a:pt x="692" y="98"/>
                  </a:cubicBezTo>
                  <a:cubicBezTo>
                    <a:pt x="692" y="98"/>
                    <a:pt x="693" y="98"/>
                    <a:pt x="693" y="98"/>
                  </a:cubicBezTo>
                  <a:close/>
                  <a:moveTo>
                    <a:pt x="1545" y="65"/>
                  </a:moveTo>
                  <a:cubicBezTo>
                    <a:pt x="1545" y="65"/>
                    <a:pt x="1546" y="65"/>
                    <a:pt x="1546" y="65"/>
                  </a:cubicBezTo>
                  <a:cubicBezTo>
                    <a:pt x="1545" y="65"/>
                    <a:pt x="1545" y="65"/>
                    <a:pt x="1545" y="65"/>
                  </a:cubicBezTo>
                  <a:close/>
                  <a:moveTo>
                    <a:pt x="1561" y="65"/>
                  </a:moveTo>
                  <a:cubicBezTo>
                    <a:pt x="1561" y="65"/>
                    <a:pt x="1560" y="65"/>
                    <a:pt x="1560" y="65"/>
                  </a:cubicBezTo>
                  <a:cubicBezTo>
                    <a:pt x="1561" y="65"/>
                    <a:pt x="1561" y="65"/>
                    <a:pt x="1561" y="65"/>
                  </a:cubicBezTo>
                  <a:close/>
                  <a:moveTo>
                    <a:pt x="1416" y="21"/>
                  </a:moveTo>
                  <a:cubicBezTo>
                    <a:pt x="1417" y="20"/>
                    <a:pt x="1417" y="20"/>
                    <a:pt x="1417" y="20"/>
                  </a:cubicBezTo>
                  <a:cubicBezTo>
                    <a:pt x="1417" y="20"/>
                    <a:pt x="1416" y="20"/>
                    <a:pt x="1416" y="21"/>
                  </a:cubicBezTo>
                  <a:close/>
                  <a:moveTo>
                    <a:pt x="1713" y="65"/>
                  </a:moveTo>
                  <a:cubicBezTo>
                    <a:pt x="1714" y="65"/>
                    <a:pt x="1714" y="65"/>
                    <a:pt x="1714" y="65"/>
                  </a:cubicBezTo>
                  <a:cubicBezTo>
                    <a:pt x="1714" y="65"/>
                    <a:pt x="1713" y="65"/>
                    <a:pt x="1713" y="65"/>
                  </a:cubicBezTo>
                  <a:close/>
                  <a:moveTo>
                    <a:pt x="1020" y="98"/>
                  </a:moveTo>
                  <a:cubicBezTo>
                    <a:pt x="1020" y="98"/>
                    <a:pt x="1020" y="98"/>
                    <a:pt x="1020" y="98"/>
                  </a:cubicBezTo>
                  <a:cubicBezTo>
                    <a:pt x="1020" y="98"/>
                    <a:pt x="1020" y="98"/>
                    <a:pt x="1020" y="98"/>
                  </a:cubicBezTo>
                  <a:close/>
                  <a:moveTo>
                    <a:pt x="1042" y="98"/>
                  </a:moveTo>
                  <a:cubicBezTo>
                    <a:pt x="1042" y="98"/>
                    <a:pt x="1042" y="98"/>
                    <a:pt x="1042" y="98"/>
                  </a:cubicBezTo>
                  <a:cubicBezTo>
                    <a:pt x="1042" y="98"/>
                    <a:pt x="1042" y="98"/>
                    <a:pt x="1042" y="98"/>
                  </a:cubicBezTo>
                  <a:close/>
                  <a:moveTo>
                    <a:pt x="1081" y="98"/>
                  </a:moveTo>
                  <a:cubicBezTo>
                    <a:pt x="1081" y="98"/>
                    <a:pt x="1081" y="98"/>
                    <a:pt x="1081" y="98"/>
                  </a:cubicBezTo>
                  <a:cubicBezTo>
                    <a:pt x="1081" y="98"/>
                    <a:pt x="1081" y="98"/>
                    <a:pt x="1081" y="98"/>
                  </a:cubicBezTo>
                  <a:close/>
                  <a:moveTo>
                    <a:pt x="1179" y="98"/>
                  </a:moveTo>
                  <a:cubicBezTo>
                    <a:pt x="1179" y="98"/>
                    <a:pt x="1179" y="98"/>
                    <a:pt x="1179" y="98"/>
                  </a:cubicBezTo>
                  <a:cubicBezTo>
                    <a:pt x="1179" y="98"/>
                    <a:pt x="1179" y="98"/>
                    <a:pt x="1179" y="98"/>
                  </a:cubicBezTo>
                  <a:close/>
                  <a:moveTo>
                    <a:pt x="1729" y="65"/>
                  </a:moveTo>
                  <a:cubicBezTo>
                    <a:pt x="1729" y="65"/>
                    <a:pt x="1729" y="65"/>
                    <a:pt x="1729" y="65"/>
                  </a:cubicBezTo>
                  <a:cubicBezTo>
                    <a:pt x="1729" y="65"/>
                    <a:pt x="1729" y="65"/>
                    <a:pt x="1729" y="65"/>
                  </a:cubicBezTo>
                  <a:close/>
                  <a:moveTo>
                    <a:pt x="1259" y="98"/>
                  </a:moveTo>
                  <a:cubicBezTo>
                    <a:pt x="1259" y="98"/>
                    <a:pt x="1259" y="98"/>
                    <a:pt x="1259" y="98"/>
                  </a:cubicBezTo>
                  <a:cubicBezTo>
                    <a:pt x="1259" y="98"/>
                    <a:pt x="1259" y="98"/>
                    <a:pt x="1259" y="98"/>
                  </a:cubicBezTo>
                  <a:close/>
                  <a:moveTo>
                    <a:pt x="1424" y="98"/>
                  </a:moveTo>
                  <a:cubicBezTo>
                    <a:pt x="1424" y="98"/>
                    <a:pt x="1424" y="98"/>
                    <a:pt x="1423" y="98"/>
                  </a:cubicBezTo>
                  <a:cubicBezTo>
                    <a:pt x="1423" y="98"/>
                    <a:pt x="1424" y="98"/>
                    <a:pt x="1424" y="98"/>
                  </a:cubicBezTo>
                  <a:close/>
                  <a:moveTo>
                    <a:pt x="1456" y="98"/>
                  </a:moveTo>
                  <a:cubicBezTo>
                    <a:pt x="1455" y="98"/>
                    <a:pt x="1455" y="98"/>
                    <a:pt x="1455" y="98"/>
                  </a:cubicBezTo>
                  <a:cubicBezTo>
                    <a:pt x="1455" y="98"/>
                    <a:pt x="1456" y="98"/>
                    <a:pt x="1456" y="98"/>
                  </a:cubicBezTo>
                  <a:close/>
                  <a:moveTo>
                    <a:pt x="553" y="20"/>
                  </a:moveTo>
                  <a:cubicBezTo>
                    <a:pt x="553" y="20"/>
                    <a:pt x="552" y="21"/>
                    <a:pt x="552" y="21"/>
                  </a:cubicBezTo>
                  <a:cubicBezTo>
                    <a:pt x="553" y="21"/>
                    <a:pt x="553" y="21"/>
                    <a:pt x="553" y="20"/>
                  </a:cubicBezTo>
                  <a:close/>
                  <a:moveTo>
                    <a:pt x="578" y="98"/>
                  </a:moveTo>
                  <a:cubicBezTo>
                    <a:pt x="578" y="98"/>
                    <a:pt x="578" y="98"/>
                    <a:pt x="578" y="99"/>
                  </a:cubicBezTo>
                  <a:cubicBezTo>
                    <a:pt x="578" y="99"/>
                    <a:pt x="578" y="99"/>
                    <a:pt x="578" y="98"/>
                  </a:cubicBezTo>
                  <a:close/>
                  <a:moveTo>
                    <a:pt x="1354" y="20"/>
                  </a:moveTo>
                  <a:cubicBezTo>
                    <a:pt x="1353" y="20"/>
                    <a:pt x="1353" y="20"/>
                    <a:pt x="1353" y="21"/>
                  </a:cubicBezTo>
                  <a:cubicBezTo>
                    <a:pt x="1353" y="21"/>
                    <a:pt x="1354" y="21"/>
                    <a:pt x="1354" y="20"/>
                  </a:cubicBezTo>
                  <a:close/>
                  <a:moveTo>
                    <a:pt x="1383" y="21"/>
                  </a:moveTo>
                  <a:cubicBezTo>
                    <a:pt x="1383" y="21"/>
                    <a:pt x="1382" y="20"/>
                    <a:pt x="1382" y="20"/>
                  </a:cubicBezTo>
                  <a:cubicBezTo>
                    <a:pt x="1382" y="21"/>
                    <a:pt x="1382" y="21"/>
                    <a:pt x="1383" y="21"/>
                  </a:cubicBezTo>
                  <a:close/>
                  <a:moveTo>
                    <a:pt x="798" y="98"/>
                  </a:moveTo>
                  <a:cubicBezTo>
                    <a:pt x="798" y="98"/>
                    <a:pt x="798" y="98"/>
                    <a:pt x="798" y="99"/>
                  </a:cubicBezTo>
                  <a:cubicBezTo>
                    <a:pt x="798" y="99"/>
                    <a:pt x="798" y="99"/>
                    <a:pt x="798" y="98"/>
                  </a:cubicBezTo>
                  <a:close/>
                  <a:moveTo>
                    <a:pt x="664" y="66"/>
                  </a:moveTo>
                  <a:cubicBezTo>
                    <a:pt x="664" y="65"/>
                    <a:pt x="664" y="65"/>
                    <a:pt x="663" y="65"/>
                  </a:cubicBezTo>
                  <a:cubicBezTo>
                    <a:pt x="664" y="65"/>
                    <a:pt x="664" y="66"/>
                    <a:pt x="664" y="66"/>
                  </a:cubicBezTo>
                  <a:close/>
                  <a:moveTo>
                    <a:pt x="1020" y="98"/>
                  </a:moveTo>
                  <a:cubicBezTo>
                    <a:pt x="1019" y="98"/>
                    <a:pt x="1019" y="98"/>
                    <a:pt x="1019" y="99"/>
                  </a:cubicBezTo>
                  <a:cubicBezTo>
                    <a:pt x="1019" y="99"/>
                    <a:pt x="1019" y="99"/>
                    <a:pt x="1020" y="98"/>
                  </a:cubicBezTo>
                  <a:close/>
                  <a:moveTo>
                    <a:pt x="1538" y="20"/>
                  </a:moveTo>
                  <a:cubicBezTo>
                    <a:pt x="1538" y="20"/>
                    <a:pt x="1537" y="21"/>
                    <a:pt x="1537" y="21"/>
                  </a:cubicBezTo>
                  <a:cubicBezTo>
                    <a:pt x="1538" y="21"/>
                    <a:pt x="1538" y="21"/>
                    <a:pt x="1538" y="20"/>
                  </a:cubicBezTo>
                  <a:close/>
                  <a:moveTo>
                    <a:pt x="1706" y="20"/>
                  </a:moveTo>
                  <a:cubicBezTo>
                    <a:pt x="1706" y="20"/>
                    <a:pt x="1706" y="21"/>
                    <a:pt x="1706" y="21"/>
                  </a:cubicBezTo>
                  <a:cubicBezTo>
                    <a:pt x="1706" y="21"/>
                    <a:pt x="1706" y="21"/>
                    <a:pt x="1706" y="20"/>
                  </a:cubicBezTo>
                  <a:close/>
                  <a:moveTo>
                    <a:pt x="1179" y="99"/>
                  </a:moveTo>
                  <a:cubicBezTo>
                    <a:pt x="1179" y="99"/>
                    <a:pt x="1179" y="98"/>
                    <a:pt x="1179" y="98"/>
                  </a:cubicBezTo>
                  <a:cubicBezTo>
                    <a:pt x="1179" y="99"/>
                    <a:pt x="1179" y="99"/>
                    <a:pt x="1179" y="99"/>
                  </a:cubicBezTo>
                  <a:close/>
                  <a:moveTo>
                    <a:pt x="1220" y="99"/>
                  </a:moveTo>
                  <a:cubicBezTo>
                    <a:pt x="1220" y="98"/>
                    <a:pt x="1220" y="98"/>
                    <a:pt x="1220" y="98"/>
                  </a:cubicBezTo>
                  <a:cubicBezTo>
                    <a:pt x="1220" y="99"/>
                    <a:pt x="1220" y="99"/>
                    <a:pt x="1220" y="99"/>
                  </a:cubicBezTo>
                  <a:close/>
                  <a:moveTo>
                    <a:pt x="552" y="21"/>
                  </a:moveTo>
                  <a:cubicBezTo>
                    <a:pt x="552" y="21"/>
                    <a:pt x="552" y="21"/>
                    <a:pt x="552" y="21"/>
                  </a:cubicBezTo>
                  <a:cubicBezTo>
                    <a:pt x="552" y="21"/>
                    <a:pt x="552" y="21"/>
                    <a:pt x="552" y="21"/>
                  </a:cubicBezTo>
                  <a:close/>
                  <a:moveTo>
                    <a:pt x="1545" y="66"/>
                  </a:moveTo>
                  <a:cubicBezTo>
                    <a:pt x="1545" y="66"/>
                    <a:pt x="1545" y="66"/>
                    <a:pt x="1545" y="65"/>
                  </a:cubicBezTo>
                  <a:cubicBezTo>
                    <a:pt x="1545" y="65"/>
                    <a:pt x="1545" y="65"/>
                    <a:pt x="1545" y="66"/>
                  </a:cubicBezTo>
                  <a:close/>
                  <a:moveTo>
                    <a:pt x="1560" y="65"/>
                  </a:moveTo>
                  <a:cubicBezTo>
                    <a:pt x="1560" y="65"/>
                    <a:pt x="1560" y="65"/>
                    <a:pt x="1560" y="66"/>
                  </a:cubicBezTo>
                  <a:cubicBezTo>
                    <a:pt x="1560" y="66"/>
                    <a:pt x="1560" y="65"/>
                    <a:pt x="1560" y="65"/>
                  </a:cubicBezTo>
                  <a:close/>
                  <a:moveTo>
                    <a:pt x="1713" y="66"/>
                  </a:moveTo>
                  <a:cubicBezTo>
                    <a:pt x="1713" y="66"/>
                    <a:pt x="1713" y="66"/>
                    <a:pt x="1713" y="65"/>
                  </a:cubicBezTo>
                  <a:cubicBezTo>
                    <a:pt x="1713" y="65"/>
                    <a:pt x="1713" y="65"/>
                    <a:pt x="1713" y="66"/>
                  </a:cubicBezTo>
                  <a:close/>
                  <a:moveTo>
                    <a:pt x="584" y="21"/>
                  </a:moveTo>
                  <a:cubicBezTo>
                    <a:pt x="584" y="21"/>
                    <a:pt x="584" y="21"/>
                    <a:pt x="584" y="21"/>
                  </a:cubicBezTo>
                  <a:cubicBezTo>
                    <a:pt x="584" y="21"/>
                    <a:pt x="584" y="21"/>
                    <a:pt x="584" y="21"/>
                  </a:cubicBezTo>
                  <a:close/>
                  <a:moveTo>
                    <a:pt x="980" y="21"/>
                  </a:moveTo>
                  <a:cubicBezTo>
                    <a:pt x="980" y="21"/>
                    <a:pt x="979" y="21"/>
                    <a:pt x="979" y="21"/>
                  </a:cubicBezTo>
                  <a:cubicBezTo>
                    <a:pt x="980" y="21"/>
                    <a:pt x="980" y="21"/>
                    <a:pt x="980" y="21"/>
                  </a:cubicBezTo>
                  <a:close/>
                  <a:moveTo>
                    <a:pt x="692" y="99"/>
                  </a:moveTo>
                  <a:cubicBezTo>
                    <a:pt x="691" y="99"/>
                    <a:pt x="691" y="99"/>
                    <a:pt x="691" y="99"/>
                  </a:cubicBezTo>
                  <a:cubicBezTo>
                    <a:pt x="691" y="99"/>
                    <a:pt x="691" y="99"/>
                    <a:pt x="692" y="99"/>
                  </a:cubicBezTo>
                  <a:close/>
                  <a:moveTo>
                    <a:pt x="1383" y="21"/>
                  </a:moveTo>
                  <a:cubicBezTo>
                    <a:pt x="1383" y="21"/>
                    <a:pt x="1383" y="21"/>
                    <a:pt x="1383" y="21"/>
                  </a:cubicBezTo>
                  <a:cubicBezTo>
                    <a:pt x="1383" y="21"/>
                    <a:pt x="1383" y="21"/>
                    <a:pt x="1383" y="21"/>
                  </a:cubicBezTo>
                  <a:close/>
                  <a:moveTo>
                    <a:pt x="664" y="66"/>
                  </a:moveTo>
                  <a:cubicBezTo>
                    <a:pt x="664" y="66"/>
                    <a:pt x="664" y="66"/>
                    <a:pt x="664" y="66"/>
                  </a:cubicBezTo>
                  <a:cubicBezTo>
                    <a:pt x="664" y="66"/>
                    <a:pt x="664" y="66"/>
                    <a:pt x="664" y="66"/>
                  </a:cubicBezTo>
                  <a:close/>
                  <a:moveTo>
                    <a:pt x="1416" y="21"/>
                  </a:moveTo>
                  <a:cubicBezTo>
                    <a:pt x="1416" y="21"/>
                    <a:pt x="1416" y="21"/>
                    <a:pt x="1416" y="21"/>
                  </a:cubicBezTo>
                  <a:cubicBezTo>
                    <a:pt x="1416" y="21"/>
                    <a:pt x="1416" y="21"/>
                    <a:pt x="1416" y="21"/>
                  </a:cubicBezTo>
                  <a:close/>
                  <a:moveTo>
                    <a:pt x="1567" y="21"/>
                  </a:moveTo>
                  <a:cubicBezTo>
                    <a:pt x="1567" y="21"/>
                    <a:pt x="1567" y="21"/>
                    <a:pt x="1567" y="21"/>
                  </a:cubicBezTo>
                  <a:cubicBezTo>
                    <a:pt x="1567" y="21"/>
                    <a:pt x="1567" y="21"/>
                    <a:pt x="1567" y="21"/>
                  </a:cubicBezTo>
                  <a:close/>
                  <a:moveTo>
                    <a:pt x="1043" y="99"/>
                  </a:moveTo>
                  <a:cubicBezTo>
                    <a:pt x="1043" y="99"/>
                    <a:pt x="1043" y="99"/>
                    <a:pt x="1043" y="99"/>
                  </a:cubicBezTo>
                  <a:cubicBezTo>
                    <a:pt x="1043" y="99"/>
                    <a:pt x="1043" y="99"/>
                    <a:pt x="1043" y="99"/>
                  </a:cubicBezTo>
                  <a:close/>
                  <a:moveTo>
                    <a:pt x="1376" y="66"/>
                  </a:moveTo>
                  <a:cubicBezTo>
                    <a:pt x="1375" y="66"/>
                    <a:pt x="1375" y="66"/>
                    <a:pt x="1375" y="66"/>
                  </a:cubicBezTo>
                  <a:cubicBezTo>
                    <a:pt x="1375" y="66"/>
                    <a:pt x="1376" y="66"/>
                    <a:pt x="1376" y="66"/>
                  </a:cubicBezTo>
                  <a:close/>
                  <a:moveTo>
                    <a:pt x="1180" y="99"/>
                  </a:moveTo>
                  <a:cubicBezTo>
                    <a:pt x="1180" y="99"/>
                    <a:pt x="1180" y="99"/>
                    <a:pt x="1179" y="99"/>
                  </a:cubicBezTo>
                  <a:cubicBezTo>
                    <a:pt x="1179" y="99"/>
                    <a:pt x="1180" y="99"/>
                    <a:pt x="1180" y="99"/>
                  </a:cubicBezTo>
                  <a:close/>
                  <a:moveTo>
                    <a:pt x="1544" y="66"/>
                  </a:moveTo>
                  <a:cubicBezTo>
                    <a:pt x="1545" y="66"/>
                    <a:pt x="1545" y="66"/>
                    <a:pt x="1545" y="66"/>
                  </a:cubicBezTo>
                  <a:cubicBezTo>
                    <a:pt x="1545" y="66"/>
                    <a:pt x="1545" y="66"/>
                    <a:pt x="1544" y="66"/>
                  </a:cubicBezTo>
                  <a:close/>
                  <a:moveTo>
                    <a:pt x="1735" y="21"/>
                  </a:moveTo>
                  <a:cubicBezTo>
                    <a:pt x="1735" y="21"/>
                    <a:pt x="1735" y="21"/>
                    <a:pt x="1735" y="21"/>
                  </a:cubicBezTo>
                  <a:cubicBezTo>
                    <a:pt x="1735" y="21"/>
                    <a:pt x="1735" y="21"/>
                    <a:pt x="1735" y="21"/>
                  </a:cubicBezTo>
                  <a:close/>
                  <a:moveTo>
                    <a:pt x="1455" y="99"/>
                  </a:moveTo>
                  <a:cubicBezTo>
                    <a:pt x="1454" y="99"/>
                    <a:pt x="1454" y="99"/>
                    <a:pt x="1454" y="99"/>
                  </a:cubicBezTo>
                  <a:cubicBezTo>
                    <a:pt x="1454" y="99"/>
                    <a:pt x="1455" y="99"/>
                    <a:pt x="1455" y="99"/>
                  </a:cubicBezTo>
                  <a:close/>
                  <a:moveTo>
                    <a:pt x="552" y="21"/>
                  </a:moveTo>
                  <a:cubicBezTo>
                    <a:pt x="552" y="21"/>
                    <a:pt x="552" y="21"/>
                    <a:pt x="552" y="21"/>
                  </a:cubicBezTo>
                  <a:cubicBezTo>
                    <a:pt x="552" y="21"/>
                    <a:pt x="552" y="21"/>
                    <a:pt x="552" y="21"/>
                  </a:cubicBezTo>
                  <a:close/>
                  <a:moveTo>
                    <a:pt x="585" y="21"/>
                  </a:moveTo>
                  <a:cubicBezTo>
                    <a:pt x="585" y="21"/>
                    <a:pt x="585" y="21"/>
                    <a:pt x="584" y="21"/>
                  </a:cubicBezTo>
                  <a:cubicBezTo>
                    <a:pt x="585" y="21"/>
                    <a:pt x="585" y="21"/>
                    <a:pt x="585" y="21"/>
                  </a:cubicBezTo>
                  <a:close/>
                  <a:moveTo>
                    <a:pt x="659" y="99"/>
                  </a:moveTo>
                  <a:cubicBezTo>
                    <a:pt x="659" y="99"/>
                    <a:pt x="658" y="99"/>
                    <a:pt x="658" y="99"/>
                  </a:cubicBezTo>
                  <a:cubicBezTo>
                    <a:pt x="658" y="99"/>
                    <a:pt x="658" y="99"/>
                    <a:pt x="659" y="99"/>
                  </a:cubicBezTo>
                  <a:close/>
                  <a:moveTo>
                    <a:pt x="1353" y="21"/>
                  </a:moveTo>
                  <a:cubicBezTo>
                    <a:pt x="1352" y="21"/>
                    <a:pt x="1352" y="21"/>
                    <a:pt x="1352" y="21"/>
                  </a:cubicBezTo>
                  <a:cubicBezTo>
                    <a:pt x="1352" y="21"/>
                    <a:pt x="1353" y="21"/>
                    <a:pt x="1353" y="21"/>
                  </a:cubicBezTo>
                  <a:close/>
                  <a:moveTo>
                    <a:pt x="762" y="99"/>
                  </a:moveTo>
                  <a:cubicBezTo>
                    <a:pt x="762" y="99"/>
                    <a:pt x="761" y="99"/>
                    <a:pt x="761" y="99"/>
                  </a:cubicBezTo>
                  <a:cubicBezTo>
                    <a:pt x="761" y="99"/>
                    <a:pt x="762" y="99"/>
                    <a:pt x="762" y="99"/>
                  </a:cubicBezTo>
                  <a:close/>
                  <a:moveTo>
                    <a:pt x="1498" y="21"/>
                  </a:moveTo>
                  <a:cubicBezTo>
                    <a:pt x="1498" y="21"/>
                    <a:pt x="1498" y="21"/>
                    <a:pt x="1498" y="21"/>
                  </a:cubicBezTo>
                  <a:cubicBezTo>
                    <a:pt x="1498" y="21"/>
                    <a:pt x="1498" y="21"/>
                    <a:pt x="1498" y="21"/>
                  </a:cubicBezTo>
                  <a:close/>
                  <a:moveTo>
                    <a:pt x="665" y="66"/>
                  </a:moveTo>
                  <a:cubicBezTo>
                    <a:pt x="665" y="66"/>
                    <a:pt x="664" y="66"/>
                    <a:pt x="664" y="66"/>
                  </a:cubicBezTo>
                  <a:cubicBezTo>
                    <a:pt x="664" y="66"/>
                    <a:pt x="664" y="66"/>
                    <a:pt x="665" y="66"/>
                  </a:cubicBezTo>
                  <a:close/>
                  <a:moveTo>
                    <a:pt x="1567" y="21"/>
                  </a:moveTo>
                  <a:cubicBezTo>
                    <a:pt x="1567" y="21"/>
                    <a:pt x="1567" y="21"/>
                    <a:pt x="1567" y="21"/>
                  </a:cubicBezTo>
                  <a:cubicBezTo>
                    <a:pt x="1567" y="21"/>
                    <a:pt x="1567" y="21"/>
                    <a:pt x="1567" y="21"/>
                  </a:cubicBezTo>
                  <a:close/>
                  <a:moveTo>
                    <a:pt x="1736" y="21"/>
                  </a:moveTo>
                  <a:cubicBezTo>
                    <a:pt x="1736" y="21"/>
                    <a:pt x="1735" y="21"/>
                    <a:pt x="1735" y="21"/>
                  </a:cubicBezTo>
                  <a:cubicBezTo>
                    <a:pt x="1735" y="21"/>
                    <a:pt x="1735" y="21"/>
                    <a:pt x="1736" y="21"/>
                  </a:cubicBezTo>
                  <a:close/>
                  <a:moveTo>
                    <a:pt x="1360" y="66"/>
                  </a:moveTo>
                  <a:cubicBezTo>
                    <a:pt x="1360" y="66"/>
                    <a:pt x="1360" y="66"/>
                    <a:pt x="1360" y="66"/>
                  </a:cubicBezTo>
                  <a:cubicBezTo>
                    <a:pt x="1360" y="66"/>
                    <a:pt x="1360" y="66"/>
                    <a:pt x="1360" y="66"/>
                  </a:cubicBezTo>
                  <a:close/>
                  <a:moveTo>
                    <a:pt x="1180" y="99"/>
                  </a:moveTo>
                  <a:cubicBezTo>
                    <a:pt x="1180" y="99"/>
                    <a:pt x="1180" y="99"/>
                    <a:pt x="1180" y="99"/>
                  </a:cubicBezTo>
                  <a:cubicBezTo>
                    <a:pt x="1180" y="99"/>
                    <a:pt x="1180" y="99"/>
                    <a:pt x="1180" y="99"/>
                  </a:cubicBezTo>
                  <a:close/>
                  <a:moveTo>
                    <a:pt x="962" y="22"/>
                  </a:moveTo>
                  <a:cubicBezTo>
                    <a:pt x="963" y="22"/>
                    <a:pt x="963" y="22"/>
                    <a:pt x="963" y="21"/>
                  </a:cubicBezTo>
                  <a:cubicBezTo>
                    <a:pt x="963" y="22"/>
                    <a:pt x="963" y="22"/>
                    <a:pt x="962" y="22"/>
                  </a:cubicBezTo>
                  <a:close/>
                  <a:moveTo>
                    <a:pt x="1021" y="22"/>
                  </a:moveTo>
                  <a:cubicBezTo>
                    <a:pt x="1021" y="22"/>
                    <a:pt x="1021" y="21"/>
                    <a:pt x="1021" y="21"/>
                  </a:cubicBezTo>
                  <a:cubicBezTo>
                    <a:pt x="1021" y="21"/>
                    <a:pt x="1021" y="21"/>
                    <a:pt x="1021" y="21"/>
                  </a:cubicBezTo>
                  <a:cubicBezTo>
                    <a:pt x="1021" y="21"/>
                    <a:pt x="1021" y="22"/>
                    <a:pt x="1021" y="22"/>
                  </a:cubicBezTo>
                  <a:close/>
                  <a:moveTo>
                    <a:pt x="1425" y="99"/>
                  </a:moveTo>
                  <a:cubicBezTo>
                    <a:pt x="1425" y="99"/>
                    <a:pt x="1425" y="99"/>
                    <a:pt x="1425" y="99"/>
                  </a:cubicBezTo>
                  <a:cubicBezTo>
                    <a:pt x="1425" y="99"/>
                    <a:pt x="1425" y="99"/>
                    <a:pt x="1425" y="99"/>
                  </a:cubicBezTo>
                  <a:close/>
                  <a:moveTo>
                    <a:pt x="1352" y="21"/>
                  </a:moveTo>
                  <a:cubicBezTo>
                    <a:pt x="1352" y="21"/>
                    <a:pt x="1352" y="21"/>
                    <a:pt x="1352" y="22"/>
                  </a:cubicBezTo>
                  <a:cubicBezTo>
                    <a:pt x="1352" y="22"/>
                    <a:pt x="1352" y="22"/>
                    <a:pt x="1352" y="21"/>
                  </a:cubicBezTo>
                  <a:close/>
                  <a:moveTo>
                    <a:pt x="1559" y="66"/>
                  </a:moveTo>
                  <a:cubicBezTo>
                    <a:pt x="1559" y="66"/>
                    <a:pt x="1559" y="66"/>
                    <a:pt x="1559" y="66"/>
                  </a:cubicBezTo>
                  <a:cubicBezTo>
                    <a:pt x="1559" y="66"/>
                    <a:pt x="1559" y="66"/>
                    <a:pt x="1559" y="66"/>
                  </a:cubicBezTo>
                  <a:close/>
                  <a:moveTo>
                    <a:pt x="1728" y="66"/>
                  </a:moveTo>
                  <a:cubicBezTo>
                    <a:pt x="1727" y="66"/>
                    <a:pt x="1727" y="66"/>
                    <a:pt x="1727" y="66"/>
                  </a:cubicBezTo>
                  <a:cubicBezTo>
                    <a:pt x="1727" y="66"/>
                    <a:pt x="1727" y="66"/>
                    <a:pt x="1728" y="66"/>
                  </a:cubicBezTo>
                  <a:close/>
                  <a:moveTo>
                    <a:pt x="1536" y="21"/>
                  </a:moveTo>
                  <a:cubicBezTo>
                    <a:pt x="1536" y="21"/>
                    <a:pt x="1536" y="22"/>
                    <a:pt x="1536" y="22"/>
                  </a:cubicBezTo>
                  <a:cubicBezTo>
                    <a:pt x="1536" y="22"/>
                    <a:pt x="1536" y="22"/>
                    <a:pt x="1536" y="21"/>
                  </a:cubicBezTo>
                  <a:close/>
                  <a:moveTo>
                    <a:pt x="1705" y="21"/>
                  </a:moveTo>
                  <a:cubicBezTo>
                    <a:pt x="1704" y="21"/>
                    <a:pt x="1704" y="22"/>
                    <a:pt x="1704" y="22"/>
                  </a:cubicBezTo>
                  <a:cubicBezTo>
                    <a:pt x="1704" y="22"/>
                    <a:pt x="1704" y="22"/>
                    <a:pt x="1705" y="21"/>
                  </a:cubicBezTo>
                  <a:close/>
                  <a:moveTo>
                    <a:pt x="962" y="22"/>
                  </a:moveTo>
                  <a:cubicBezTo>
                    <a:pt x="962" y="22"/>
                    <a:pt x="962" y="22"/>
                    <a:pt x="962" y="22"/>
                  </a:cubicBezTo>
                  <a:cubicBezTo>
                    <a:pt x="962" y="22"/>
                    <a:pt x="962" y="22"/>
                    <a:pt x="962" y="22"/>
                  </a:cubicBezTo>
                  <a:close/>
                  <a:moveTo>
                    <a:pt x="691" y="99"/>
                  </a:moveTo>
                  <a:cubicBezTo>
                    <a:pt x="690" y="99"/>
                    <a:pt x="690" y="100"/>
                    <a:pt x="690" y="100"/>
                  </a:cubicBezTo>
                  <a:cubicBezTo>
                    <a:pt x="690" y="100"/>
                    <a:pt x="690" y="100"/>
                    <a:pt x="691" y="99"/>
                  </a:cubicBezTo>
                  <a:close/>
                  <a:moveTo>
                    <a:pt x="721" y="100"/>
                  </a:moveTo>
                  <a:cubicBezTo>
                    <a:pt x="721" y="100"/>
                    <a:pt x="720" y="99"/>
                    <a:pt x="720" y="99"/>
                  </a:cubicBezTo>
                  <a:cubicBezTo>
                    <a:pt x="720" y="100"/>
                    <a:pt x="720" y="100"/>
                    <a:pt x="721" y="100"/>
                  </a:cubicBezTo>
                  <a:close/>
                  <a:moveTo>
                    <a:pt x="1359" y="67"/>
                  </a:moveTo>
                  <a:cubicBezTo>
                    <a:pt x="1359" y="67"/>
                    <a:pt x="1360" y="67"/>
                    <a:pt x="1360" y="66"/>
                  </a:cubicBezTo>
                  <a:cubicBezTo>
                    <a:pt x="1360" y="66"/>
                    <a:pt x="1359" y="67"/>
                    <a:pt x="1359" y="67"/>
                  </a:cubicBezTo>
                  <a:close/>
                  <a:moveTo>
                    <a:pt x="1375" y="66"/>
                  </a:moveTo>
                  <a:cubicBezTo>
                    <a:pt x="1374" y="66"/>
                    <a:pt x="1374" y="66"/>
                    <a:pt x="1374" y="67"/>
                  </a:cubicBezTo>
                  <a:cubicBezTo>
                    <a:pt x="1374" y="67"/>
                    <a:pt x="1374" y="66"/>
                    <a:pt x="1375" y="66"/>
                  </a:cubicBezTo>
                  <a:close/>
                  <a:moveTo>
                    <a:pt x="1384" y="22"/>
                  </a:moveTo>
                  <a:cubicBezTo>
                    <a:pt x="1384" y="22"/>
                    <a:pt x="1384" y="22"/>
                    <a:pt x="1383" y="22"/>
                  </a:cubicBezTo>
                  <a:cubicBezTo>
                    <a:pt x="1383" y="22"/>
                    <a:pt x="1383" y="22"/>
                    <a:pt x="1384" y="22"/>
                  </a:cubicBezTo>
                  <a:close/>
                  <a:moveTo>
                    <a:pt x="1543" y="67"/>
                  </a:moveTo>
                  <a:cubicBezTo>
                    <a:pt x="1544" y="67"/>
                    <a:pt x="1544" y="67"/>
                    <a:pt x="1544" y="66"/>
                  </a:cubicBezTo>
                  <a:cubicBezTo>
                    <a:pt x="1544" y="66"/>
                    <a:pt x="1544" y="67"/>
                    <a:pt x="1543" y="67"/>
                  </a:cubicBezTo>
                  <a:close/>
                  <a:moveTo>
                    <a:pt x="1536" y="22"/>
                  </a:moveTo>
                  <a:cubicBezTo>
                    <a:pt x="1536" y="22"/>
                    <a:pt x="1536" y="22"/>
                    <a:pt x="1536" y="22"/>
                  </a:cubicBezTo>
                  <a:cubicBezTo>
                    <a:pt x="1536" y="22"/>
                    <a:pt x="1536" y="22"/>
                    <a:pt x="1536" y="22"/>
                  </a:cubicBezTo>
                  <a:close/>
                  <a:moveTo>
                    <a:pt x="1671" y="66"/>
                  </a:moveTo>
                  <a:cubicBezTo>
                    <a:pt x="1671" y="67"/>
                    <a:pt x="1671" y="67"/>
                    <a:pt x="1671" y="67"/>
                  </a:cubicBezTo>
                  <a:cubicBezTo>
                    <a:pt x="1671" y="67"/>
                    <a:pt x="1671" y="66"/>
                    <a:pt x="1671" y="66"/>
                  </a:cubicBezTo>
                  <a:close/>
                  <a:moveTo>
                    <a:pt x="1180" y="100"/>
                  </a:moveTo>
                  <a:cubicBezTo>
                    <a:pt x="1180" y="99"/>
                    <a:pt x="1180" y="99"/>
                    <a:pt x="1180" y="99"/>
                  </a:cubicBezTo>
                  <a:cubicBezTo>
                    <a:pt x="1180" y="100"/>
                    <a:pt x="1180" y="100"/>
                    <a:pt x="1180" y="100"/>
                  </a:cubicBezTo>
                  <a:close/>
                  <a:moveTo>
                    <a:pt x="1222" y="100"/>
                  </a:moveTo>
                  <a:cubicBezTo>
                    <a:pt x="1222" y="100"/>
                    <a:pt x="1222" y="99"/>
                    <a:pt x="1222" y="99"/>
                  </a:cubicBezTo>
                  <a:cubicBezTo>
                    <a:pt x="1222" y="100"/>
                    <a:pt x="1222" y="100"/>
                    <a:pt x="1222" y="100"/>
                  </a:cubicBezTo>
                  <a:close/>
                  <a:moveTo>
                    <a:pt x="1712" y="67"/>
                  </a:moveTo>
                  <a:cubicBezTo>
                    <a:pt x="1712" y="67"/>
                    <a:pt x="1712" y="67"/>
                    <a:pt x="1712" y="66"/>
                  </a:cubicBezTo>
                  <a:cubicBezTo>
                    <a:pt x="1712" y="66"/>
                    <a:pt x="1712" y="67"/>
                    <a:pt x="1712" y="67"/>
                  </a:cubicBezTo>
                  <a:close/>
                  <a:moveTo>
                    <a:pt x="1704" y="22"/>
                  </a:moveTo>
                  <a:cubicBezTo>
                    <a:pt x="1704" y="22"/>
                    <a:pt x="1704" y="22"/>
                    <a:pt x="1704" y="22"/>
                  </a:cubicBezTo>
                  <a:cubicBezTo>
                    <a:pt x="1704" y="22"/>
                    <a:pt x="1704" y="22"/>
                    <a:pt x="1704" y="22"/>
                  </a:cubicBezTo>
                  <a:close/>
                  <a:moveTo>
                    <a:pt x="1454" y="99"/>
                  </a:moveTo>
                  <a:cubicBezTo>
                    <a:pt x="1453" y="99"/>
                    <a:pt x="1453" y="100"/>
                    <a:pt x="1453" y="100"/>
                  </a:cubicBezTo>
                  <a:cubicBezTo>
                    <a:pt x="1453" y="100"/>
                    <a:pt x="1454" y="100"/>
                    <a:pt x="1454" y="99"/>
                  </a:cubicBezTo>
                  <a:close/>
                  <a:moveTo>
                    <a:pt x="587" y="67"/>
                  </a:moveTo>
                  <a:cubicBezTo>
                    <a:pt x="587" y="67"/>
                    <a:pt x="587" y="67"/>
                    <a:pt x="587" y="67"/>
                  </a:cubicBezTo>
                  <a:cubicBezTo>
                    <a:pt x="587" y="67"/>
                    <a:pt x="587" y="67"/>
                    <a:pt x="587" y="67"/>
                  </a:cubicBezTo>
                  <a:close/>
                  <a:moveTo>
                    <a:pt x="962" y="23"/>
                  </a:moveTo>
                  <a:cubicBezTo>
                    <a:pt x="962" y="23"/>
                    <a:pt x="962" y="22"/>
                    <a:pt x="962" y="22"/>
                  </a:cubicBezTo>
                  <a:cubicBezTo>
                    <a:pt x="962" y="22"/>
                    <a:pt x="962" y="22"/>
                    <a:pt x="962" y="23"/>
                  </a:cubicBezTo>
                  <a:close/>
                  <a:moveTo>
                    <a:pt x="978" y="22"/>
                  </a:moveTo>
                  <a:cubicBezTo>
                    <a:pt x="978" y="22"/>
                    <a:pt x="977" y="22"/>
                    <a:pt x="977" y="22"/>
                  </a:cubicBezTo>
                  <a:cubicBezTo>
                    <a:pt x="978" y="22"/>
                    <a:pt x="978" y="22"/>
                    <a:pt x="978" y="22"/>
                  </a:cubicBezTo>
                  <a:close/>
                  <a:moveTo>
                    <a:pt x="690" y="100"/>
                  </a:moveTo>
                  <a:cubicBezTo>
                    <a:pt x="690" y="100"/>
                    <a:pt x="690" y="100"/>
                    <a:pt x="689" y="100"/>
                  </a:cubicBezTo>
                  <a:cubicBezTo>
                    <a:pt x="690" y="100"/>
                    <a:pt x="690" y="100"/>
                    <a:pt x="690" y="100"/>
                  </a:cubicBezTo>
                  <a:close/>
                  <a:moveTo>
                    <a:pt x="721" y="100"/>
                  </a:moveTo>
                  <a:cubicBezTo>
                    <a:pt x="721" y="100"/>
                    <a:pt x="721" y="100"/>
                    <a:pt x="721" y="100"/>
                  </a:cubicBezTo>
                  <a:cubicBezTo>
                    <a:pt x="721" y="100"/>
                    <a:pt x="721" y="100"/>
                    <a:pt x="721" y="100"/>
                  </a:cubicBezTo>
                  <a:close/>
                  <a:moveTo>
                    <a:pt x="666" y="67"/>
                  </a:moveTo>
                  <a:cubicBezTo>
                    <a:pt x="666" y="67"/>
                    <a:pt x="665" y="67"/>
                    <a:pt x="665" y="67"/>
                  </a:cubicBezTo>
                  <a:cubicBezTo>
                    <a:pt x="665" y="67"/>
                    <a:pt x="665" y="67"/>
                    <a:pt x="666" y="67"/>
                  </a:cubicBezTo>
                  <a:close/>
                  <a:moveTo>
                    <a:pt x="689" y="67"/>
                  </a:moveTo>
                  <a:cubicBezTo>
                    <a:pt x="689" y="67"/>
                    <a:pt x="689" y="67"/>
                    <a:pt x="689" y="67"/>
                  </a:cubicBezTo>
                  <a:cubicBezTo>
                    <a:pt x="689" y="67"/>
                    <a:pt x="689" y="67"/>
                    <a:pt x="689" y="67"/>
                  </a:cubicBezTo>
                  <a:close/>
                  <a:moveTo>
                    <a:pt x="1351" y="22"/>
                  </a:moveTo>
                  <a:cubicBezTo>
                    <a:pt x="1351" y="22"/>
                    <a:pt x="1351" y="22"/>
                    <a:pt x="1351" y="22"/>
                  </a:cubicBezTo>
                  <a:cubicBezTo>
                    <a:pt x="1351" y="22"/>
                    <a:pt x="1351" y="22"/>
                    <a:pt x="1351" y="22"/>
                  </a:cubicBezTo>
                  <a:close/>
                  <a:moveTo>
                    <a:pt x="1374" y="67"/>
                  </a:moveTo>
                  <a:cubicBezTo>
                    <a:pt x="1374" y="67"/>
                    <a:pt x="1374" y="67"/>
                    <a:pt x="1374" y="67"/>
                  </a:cubicBezTo>
                  <a:cubicBezTo>
                    <a:pt x="1374" y="67"/>
                    <a:pt x="1374" y="67"/>
                    <a:pt x="1374" y="67"/>
                  </a:cubicBezTo>
                  <a:close/>
                  <a:moveTo>
                    <a:pt x="1045" y="100"/>
                  </a:moveTo>
                  <a:cubicBezTo>
                    <a:pt x="1045" y="100"/>
                    <a:pt x="1045" y="100"/>
                    <a:pt x="1045" y="100"/>
                  </a:cubicBezTo>
                  <a:cubicBezTo>
                    <a:pt x="1045" y="100"/>
                    <a:pt x="1045" y="100"/>
                    <a:pt x="1045" y="100"/>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223" y="100"/>
                  </a:moveTo>
                  <a:cubicBezTo>
                    <a:pt x="1223" y="100"/>
                    <a:pt x="1223" y="100"/>
                    <a:pt x="1222" y="100"/>
                  </a:cubicBezTo>
                  <a:cubicBezTo>
                    <a:pt x="1223" y="100"/>
                    <a:pt x="1223" y="100"/>
                    <a:pt x="1223" y="100"/>
                  </a:cubicBezTo>
                  <a:close/>
                  <a:moveTo>
                    <a:pt x="1659" y="67"/>
                  </a:moveTo>
                  <a:cubicBezTo>
                    <a:pt x="1659" y="67"/>
                    <a:pt x="1659" y="67"/>
                    <a:pt x="1658" y="67"/>
                  </a:cubicBezTo>
                  <a:cubicBezTo>
                    <a:pt x="1658" y="67"/>
                    <a:pt x="1658" y="67"/>
                    <a:pt x="1659" y="67"/>
                  </a:cubicBezTo>
                  <a:close/>
                  <a:moveTo>
                    <a:pt x="1497" y="22"/>
                  </a:moveTo>
                  <a:cubicBezTo>
                    <a:pt x="1497" y="22"/>
                    <a:pt x="1497" y="22"/>
                    <a:pt x="1497" y="22"/>
                  </a:cubicBezTo>
                  <a:cubicBezTo>
                    <a:pt x="1497" y="22"/>
                    <a:pt x="1497" y="22"/>
                    <a:pt x="1497" y="22"/>
                  </a:cubicBezTo>
                  <a:close/>
                  <a:moveTo>
                    <a:pt x="1711" y="67"/>
                  </a:moveTo>
                  <a:cubicBezTo>
                    <a:pt x="1711" y="67"/>
                    <a:pt x="1712" y="67"/>
                    <a:pt x="1712" y="67"/>
                  </a:cubicBezTo>
                  <a:cubicBezTo>
                    <a:pt x="1711" y="67"/>
                    <a:pt x="1711" y="67"/>
                    <a:pt x="1711" y="67"/>
                  </a:cubicBezTo>
                  <a:close/>
                  <a:moveTo>
                    <a:pt x="1727" y="67"/>
                  </a:moveTo>
                  <a:cubicBezTo>
                    <a:pt x="1726" y="67"/>
                    <a:pt x="1726" y="67"/>
                    <a:pt x="1726" y="67"/>
                  </a:cubicBezTo>
                  <a:cubicBezTo>
                    <a:pt x="1726" y="67"/>
                    <a:pt x="1726" y="67"/>
                    <a:pt x="1727" y="67"/>
                  </a:cubicBezTo>
                  <a:close/>
                  <a:moveTo>
                    <a:pt x="1568" y="23"/>
                  </a:moveTo>
                  <a:cubicBezTo>
                    <a:pt x="1568" y="22"/>
                    <a:pt x="1568" y="22"/>
                    <a:pt x="1568" y="22"/>
                  </a:cubicBezTo>
                  <a:cubicBezTo>
                    <a:pt x="1568" y="22"/>
                    <a:pt x="1568" y="22"/>
                    <a:pt x="1568" y="23"/>
                  </a:cubicBezTo>
                  <a:close/>
                  <a:moveTo>
                    <a:pt x="666" y="67"/>
                  </a:moveTo>
                  <a:cubicBezTo>
                    <a:pt x="666" y="67"/>
                    <a:pt x="666" y="67"/>
                    <a:pt x="666" y="67"/>
                  </a:cubicBezTo>
                  <a:cubicBezTo>
                    <a:pt x="666" y="67"/>
                    <a:pt x="666" y="67"/>
                    <a:pt x="666" y="67"/>
                  </a:cubicBezTo>
                  <a:close/>
                  <a:moveTo>
                    <a:pt x="1736" y="23"/>
                  </a:moveTo>
                  <a:cubicBezTo>
                    <a:pt x="1736" y="22"/>
                    <a:pt x="1736" y="22"/>
                    <a:pt x="1736" y="22"/>
                  </a:cubicBezTo>
                  <a:cubicBezTo>
                    <a:pt x="1736" y="22"/>
                    <a:pt x="1736" y="22"/>
                    <a:pt x="1736" y="23"/>
                  </a:cubicBezTo>
                  <a:close/>
                  <a:moveTo>
                    <a:pt x="551" y="22"/>
                  </a:moveTo>
                  <a:cubicBezTo>
                    <a:pt x="551" y="22"/>
                    <a:pt x="551" y="23"/>
                    <a:pt x="551" y="23"/>
                  </a:cubicBezTo>
                  <a:cubicBezTo>
                    <a:pt x="551" y="23"/>
                    <a:pt x="551" y="23"/>
                    <a:pt x="551" y="22"/>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659" y="67"/>
                  </a:moveTo>
                  <a:cubicBezTo>
                    <a:pt x="1659" y="67"/>
                    <a:pt x="1659" y="67"/>
                    <a:pt x="1659" y="67"/>
                  </a:cubicBezTo>
                  <a:cubicBezTo>
                    <a:pt x="1659" y="67"/>
                    <a:pt x="1659" y="67"/>
                    <a:pt x="1659" y="67"/>
                  </a:cubicBezTo>
                  <a:close/>
                  <a:moveTo>
                    <a:pt x="1711" y="67"/>
                  </a:moveTo>
                  <a:cubicBezTo>
                    <a:pt x="1711" y="67"/>
                    <a:pt x="1711" y="67"/>
                    <a:pt x="1711" y="67"/>
                  </a:cubicBezTo>
                  <a:cubicBezTo>
                    <a:pt x="1711" y="67"/>
                    <a:pt x="1711" y="67"/>
                    <a:pt x="1711" y="67"/>
                  </a:cubicBezTo>
                  <a:close/>
                  <a:moveTo>
                    <a:pt x="1046" y="100"/>
                  </a:moveTo>
                  <a:cubicBezTo>
                    <a:pt x="1046" y="100"/>
                    <a:pt x="1046" y="100"/>
                    <a:pt x="1045" y="100"/>
                  </a:cubicBezTo>
                  <a:cubicBezTo>
                    <a:pt x="1045" y="100"/>
                    <a:pt x="1046" y="100"/>
                    <a:pt x="1046" y="100"/>
                  </a:cubicBezTo>
                  <a:close/>
                  <a:moveTo>
                    <a:pt x="1726" y="67"/>
                  </a:moveTo>
                  <a:cubicBezTo>
                    <a:pt x="1726" y="67"/>
                    <a:pt x="1726" y="67"/>
                    <a:pt x="1726" y="67"/>
                  </a:cubicBezTo>
                  <a:cubicBezTo>
                    <a:pt x="1726" y="67"/>
                    <a:pt x="1726" y="67"/>
                    <a:pt x="1726" y="67"/>
                  </a:cubicBezTo>
                  <a:close/>
                  <a:moveTo>
                    <a:pt x="1181" y="100"/>
                  </a:moveTo>
                  <a:cubicBezTo>
                    <a:pt x="1181" y="100"/>
                    <a:pt x="1181" y="100"/>
                    <a:pt x="1181" y="100"/>
                  </a:cubicBezTo>
                  <a:cubicBezTo>
                    <a:pt x="1181" y="100"/>
                    <a:pt x="1181" y="100"/>
                    <a:pt x="1181" y="100"/>
                  </a:cubicBezTo>
                  <a:close/>
                  <a:moveTo>
                    <a:pt x="587" y="67"/>
                  </a:moveTo>
                  <a:cubicBezTo>
                    <a:pt x="587" y="68"/>
                    <a:pt x="587" y="68"/>
                    <a:pt x="587" y="68"/>
                  </a:cubicBezTo>
                  <a:cubicBezTo>
                    <a:pt x="587" y="68"/>
                    <a:pt x="587" y="68"/>
                    <a:pt x="587" y="67"/>
                  </a:cubicBezTo>
                  <a:close/>
                  <a:moveTo>
                    <a:pt x="1351" y="22"/>
                  </a:moveTo>
                  <a:cubicBezTo>
                    <a:pt x="1351" y="22"/>
                    <a:pt x="1351" y="23"/>
                    <a:pt x="1351" y="23"/>
                  </a:cubicBezTo>
                  <a:cubicBezTo>
                    <a:pt x="1351" y="23"/>
                    <a:pt x="1351" y="23"/>
                    <a:pt x="1351" y="22"/>
                  </a:cubicBezTo>
                  <a:close/>
                  <a:moveTo>
                    <a:pt x="1535" y="23"/>
                  </a:moveTo>
                  <a:cubicBezTo>
                    <a:pt x="1535" y="23"/>
                    <a:pt x="1535" y="23"/>
                    <a:pt x="1535" y="23"/>
                  </a:cubicBezTo>
                  <a:cubicBezTo>
                    <a:pt x="1535" y="23"/>
                    <a:pt x="1535" y="23"/>
                    <a:pt x="1535" y="23"/>
                  </a:cubicBezTo>
                  <a:close/>
                  <a:moveTo>
                    <a:pt x="1703" y="23"/>
                  </a:moveTo>
                  <a:cubicBezTo>
                    <a:pt x="1703" y="23"/>
                    <a:pt x="1703" y="23"/>
                    <a:pt x="1703" y="23"/>
                  </a:cubicBezTo>
                  <a:cubicBezTo>
                    <a:pt x="1703" y="23"/>
                    <a:pt x="1703" y="23"/>
                    <a:pt x="1703" y="23"/>
                  </a:cubicBezTo>
                  <a:close/>
                  <a:moveTo>
                    <a:pt x="977" y="23"/>
                  </a:moveTo>
                  <a:cubicBezTo>
                    <a:pt x="977" y="23"/>
                    <a:pt x="976" y="23"/>
                    <a:pt x="976" y="23"/>
                  </a:cubicBezTo>
                  <a:cubicBezTo>
                    <a:pt x="976" y="23"/>
                    <a:pt x="977" y="23"/>
                    <a:pt x="977" y="23"/>
                  </a:cubicBezTo>
                  <a:close/>
                  <a:moveTo>
                    <a:pt x="1358" y="68"/>
                  </a:moveTo>
                  <a:cubicBezTo>
                    <a:pt x="1358" y="68"/>
                    <a:pt x="1358" y="68"/>
                    <a:pt x="1358" y="67"/>
                  </a:cubicBezTo>
                  <a:cubicBezTo>
                    <a:pt x="1358" y="67"/>
                    <a:pt x="1358" y="68"/>
                    <a:pt x="1358" y="68"/>
                  </a:cubicBezTo>
                  <a:close/>
                  <a:moveTo>
                    <a:pt x="1373" y="67"/>
                  </a:moveTo>
                  <a:cubicBezTo>
                    <a:pt x="1373" y="67"/>
                    <a:pt x="1373" y="68"/>
                    <a:pt x="1373" y="68"/>
                  </a:cubicBezTo>
                  <a:cubicBezTo>
                    <a:pt x="1373" y="68"/>
                    <a:pt x="1373" y="68"/>
                    <a:pt x="1373" y="67"/>
                  </a:cubicBezTo>
                  <a:close/>
                  <a:moveTo>
                    <a:pt x="1351" y="23"/>
                  </a:moveTo>
                  <a:cubicBezTo>
                    <a:pt x="1350" y="23"/>
                    <a:pt x="1350" y="23"/>
                    <a:pt x="1350" y="23"/>
                  </a:cubicBezTo>
                  <a:cubicBezTo>
                    <a:pt x="1350" y="23"/>
                    <a:pt x="1350" y="23"/>
                    <a:pt x="1351" y="23"/>
                  </a:cubicBezTo>
                  <a:close/>
                  <a:moveTo>
                    <a:pt x="1496" y="23"/>
                  </a:moveTo>
                  <a:cubicBezTo>
                    <a:pt x="1496" y="23"/>
                    <a:pt x="1496" y="23"/>
                    <a:pt x="1496" y="23"/>
                  </a:cubicBezTo>
                  <a:cubicBezTo>
                    <a:pt x="1496" y="23"/>
                    <a:pt x="1496" y="23"/>
                    <a:pt x="1496" y="23"/>
                  </a:cubicBezTo>
                  <a:close/>
                  <a:moveTo>
                    <a:pt x="1535" y="23"/>
                  </a:moveTo>
                  <a:cubicBezTo>
                    <a:pt x="1534" y="23"/>
                    <a:pt x="1534" y="23"/>
                    <a:pt x="1534" y="23"/>
                  </a:cubicBezTo>
                  <a:cubicBezTo>
                    <a:pt x="1534" y="23"/>
                    <a:pt x="1535" y="23"/>
                    <a:pt x="1535" y="23"/>
                  </a:cubicBezTo>
                  <a:close/>
                  <a:moveTo>
                    <a:pt x="722" y="101"/>
                  </a:moveTo>
                  <a:cubicBezTo>
                    <a:pt x="722" y="101"/>
                    <a:pt x="722" y="100"/>
                    <a:pt x="722" y="100"/>
                  </a:cubicBezTo>
                  <a:cubicBezTo>
                    <a:pt x="722" y="101"/>
                    <a:pt x="722" y="101"/>
                    <a:pt x="722" y="101"/>
                  </a:cubicBezTo>
                  <a:close/>
                  <a:moveTo>
                    <a:pt x="1703" y="23"/>
                  </a:moveTo>
                  <a:cubicBezTo>
                    <a:pt x="1703" y="23"/>
                    <a:pt x="1702" y="23"/>
                    <a:pt x="1702" y="23"/>
                  </a:cubicBezTo>
                  <a:cubicBezTo>
                    <a:pt x="1703" y="23"/>
                    <a:pt x="1703" y="23"/>
                    <a:pt x="1703" y="23"/>
                  </a:cubicBezTo>
                  <a:close/>
                  <a:moveTo>
                    <a:pt x="976" y="23"/>
                  </a:moveTo>
                  <a:cubicBezTo>
                    <a:pt x="976" y="23"/>
                    <a:pt x="976" y="23"/>
                    <a:pt x="976" y="23"/>
                  </a:cubicBezTo>
                  <a:cubicBezTo>
                    <a:pt x="976" y="23"/>
                    <a:pt x="976" y="23"/>
                    <a:pt x="976" y="23"/>
                  </a:cubicBezTo>
                  <a:close/>
                  <a:moveTo>
                    <a:pt x="1350" y="23"/>
                  </a:moveTo>
                  <a:cubicBezTo>
                    <a:pt x="1350" y="23"/>
                    <a:pt x="1350" y="23"/>
                    <a:pt x="1350" y="23"/>
                  </a:cubicBezTo>
                  <a:cubicBezTo>
                    <a:pt x="1350" y="23"/>
                    <a:pt x="1350" y="23"/>
                    <a:pt x="1350" y="23"/>
                  </a:cubicBezTo>
                  <a:close/>
                  <a:moveTo>
                    <a:pt x="1534" y="23"/>
                  </a:moveTo>
                  <a:cubicBezTo>
                    <a:pt x="1534" y="23"/>
                    <a:pt x="1534" y="23"/>
                    <a:pt x="1534" y="24"/>
                  </a:cubicBezTo>
                  <a:cubicBezTo>
                    <a:pt x="1534" y="23"/>
                    <a:pt x="1534" y="23"/>
                    <a:pt x="1534" y="23"/>
                  </a:cubicBezTo>
                  <a:close/>
                  <a:moveTo>
                    <a:pt x="1702" y="23"/>
                  </a:moveTo>
                  <a:cubicBezTo>
                    <a:pt x="1702" y="23"/>
                    <a:pt x="1702" y="23"/>
                    <a:pt x="1702" y="24"/>
                  </a:cubicBezTo>
                  <a:cubicBezTo>
                    <a:pt x="1702" y="23"/>
                    <a:pt x="1702" y="23"/>
                    <a:pt x="1702" y="23"/>
                  </a:cubicBezTo>
                  <a:close/>
                  <a:moveTo>
                    <a:pt x="961" y="24"/>
                  </a:moveTo>
                  <a:cubicBezTo>
                    <a:pt x="961" y="24"/>
                    <a:pt x="961" y="24"/>
                    <a:pt x="961" y="24"/>
                  </a:cubicBezTo>
                  <a:cubicBezTo>
                    <a:pt x="961" y="24"/>
                    <a:pt x="961" y="24"/>
                    <a:pt x="961" y="24"/>
                  </a:cubicBezTo>
                  <a:close/>
                  <a:moveTo>
                    <a:pt x="667" y="68"/>
                  </a:moveTo>
                  <a:cubicBezTo>
                    <a:pt x="667" y="68"/>
                    <a:pt x="667" y="68"/>
                    <a:pt x="667" y="68"/>
                  </a:cubicBezTo>
                  <a:cubicBezTo>
                    <a:pt x="667" y="68"/>
                    <a:pt x="667" y="68"/>
                    <a:pt x="667" y="68"/>
                  </a:cubicBezTo>
                  <a:close/>
                  <a:moveTo>
                    <a:pt x="690" y="68"/>
                  </a:moveTo>
                  <a:cubicBezTo>
                    <a:pt x="691" y="68"/>
                    <a:pt x="691" y="68"/>
                    <a:pt x="691" y="68"/>
                  </a:cubicBezTo>
                  <a:cubicBezTo>
                    <a:pt x="691" y="68"/>
                    <a:pt x="691" y="68"/>
                    <a:pt x="690" y="68"/>
                  </a:cubicBezTo>
                  <a:close/>
                  <a:moveTo>
                    <a:pt x="1495" y="24"/>
                  </a:moveTo>
                  <a:cubicBezTo>
                    <a:pt x="1495" y="24"/>
                    <a:pt x="1495" y="24"/>
                    <a:pt x="1495" y="24"/>
                  </a:cubicBezTo>
                  <a:cubicBezTo>
                    <a:pt x="1495" y="24"/>
                    <a:pt x="1495" y="24"/>
                    <a:pt x="1495" y="24"/>
                  </a:cubicBezTo>
                  <a:close/>
                  <a:moveTo>
                    <a:pt x="1358" y="68"/>
                  </a:moveTo>
                  <a:cubicBezTo>
                    <a:pt x="1358" y="68"/>
                    <a:pt x="1358" y="68"/>
                    <a:pt x="1358" y="68"/>
                  </a:cubicBezTo>
                  <a:cubicBezTo>
                    <a:pt x="1358" y="68"/>
                    <a:pt x="1358" y="68"/>
                    <a:pt x="1358" y="68"/>
                  </a:cubicBezTo>
                  <a:close/>
                  <a:moveTo>
                    <a:pt x="1534" y="23"/>
                  </a:moveTo>
                  <a:cubicBezTo>
                    <a:pt x="1534" y="24"/>
                    <a:pt x="1534" y="24"/>
                    <a:pt x="1534" y="24"/>
                  </a:cubicBezTo>
                  <a:cubicBezTo>
                    <a:pt x="1534" y="24"/>
                    <a:pt x="1534" y="24"/>
                    <a:pt x="1534" y="23"/>
                  </a:cubicBezTo>
                  <a:close/>
                  <a:moveTo>
                    <a:pt x="1557" y="68"/>
                  </a:moveTo>
                  <a:cubicBezTo>
                    <a:pt x="1557" y="68"/>
                    <a:pt x="1557" y="68"/>
                    <a:pt x="1557" y="68"/>
                  </a:cubicBezTo>
                  <a:cubicBezTo>
                    <a:pt x="1557" y="68"/>
                    <a:pt x="1557" y="68"/>
                    <a:pt x="1557" y="68"/>
                  </a:cubicBezTo>
                  <a:close/>
                  <a:moveTo>
                    <a:pt x="1710" y="68"/>
                  </a:moveTo>
                  <a:cubicBezTo>
                    <a:pt x="1710" y="68"/>
                    <a:pt x="1710" y="68"/>
                    <a:pt x="1710" y="68"/>
                  </a:cubicBezTo>
                  <a:cubicBezTo>
                    <a:pt x="1710" y="68"/>
                    <a:pt x="1710" y="68"/>
                    <a:pt x="1710" y="68"/>
                  </a:cubicBezTo>
                  <a:close/>
                  <a:moveTo>
                    <a:pt x="1725" y="68"/>
                  </a:moveTo>
                  <a:cubicBezTo>
                    <a:pt x="1725" y="68"/>
                    <a:pt x="1725" y="68"/>
                    <a:pt x="1725" y="68"/>
                  </a:cubicBezTo>
                  <a:cubicBezTo>
                    <a:pt x="1725" y="68"/>
                    <a:pt x="1725" y="68"/>
                    <a:pt x="1725" y="68"/>
                  </a:cubicBezTo>
                  <a:close/>
                  <a:moveTo>
                    <a:pt x="1702" y="23"/>
                  </a:moveTo>
                  <a:cubicBezTo>
                    <a:pt x="1702" y="24"/>
                    <a:pt x="1702" y="24"/>
                    <a:pt x="1702" y="24"/>
                  </a:cubicBezTo>
                  <a:cubicBezTo>
                    <a:pt x="1702" y="24"/>
                    <a:pt x="1702" y="24"/>
                    <a:pt x="1702" y="23"/>
                  </a:cubicBezTo>
                  <a:close/>
                  <a:moveTo>
                    <a:pt x="960" y="24"/>
                  </a:moveTo>
                  <a:cubicBezTo>
                    <a:pt x="961" y="24"/>
                    <a:pt x="961" y="24"/>
                    <a:pt x="961" y="24"/>
                  </a:cubicBezTo>
                  <a:cubicBezTo>
                    <a:pt x="961" y="24"/>
                    <a:pt x="960" y="24"/>
                    <a:pt x="960" y="24"/>
                  </a:cubicBezTo>
                  <a:close/>
                  <a:moveTo>
                    <a:pt x="1534" y="24"/>
                  </a:moveTo>
                  <a:cubicBezTo>
                    <a:pt x="1533" y="24"/>
                    <a:pt x="1533" y="24"/>
                    <a:pt x="1533" y="24"/>
                  </a:cubicBezTo>
                  <a:cubicBezTo>
                    <a:pt x="1533" y="24"/>
                    <a:pt x="1534" y="24"/>
                    <a:pt x="1534" y="24"/>
                  </a:cubicBezTo>
                  <a:close/>
                  <a:moveTo>
                    <a:pt x="1702" y="24"/>
                  </a:moveTo>
                  <a:cubicBezTo>
                    <a:pt x="1702" y="24"/>
                    <a:pt x="1701" y="24"/>
                    <a:pt x="1701" y="24"/>
                  </a:cubicBezTo>
                  <a:cubicBezTo>
                    <a:pt x="1702" y="24"/>
                    <a:pt x="1702" y="24"/>
                    <a:pt x="1702" y="24"/>
                  </a:cubicBezTo>
                  <a:close/>
                  <a:moveTo>
                    <a:pt x="1357" y="68"/>
                  </a:moveTo>
                  <a:cubicBezTo>
                    <a:pt x="1357" y="68"/>
                    <a:pt x="1358" y="68"/>
                    <a:pt x="1358" y="68"/>
                  </a:cubicBezTo>
                  <a:cubicBezTo>
                    <a:pt x="1357" y="68"/>
                    <a:pt x="1357" y="68"/>
                    <a:pt x="1357" y="68"/>
                  </a:cubicBezTo>
                  <a:close/>
                  <a:moveTo>
                    <a:pt x="1541" y="68"/>
                  </a:moveTo>
                  <a:cubicBezTo>
                    <a:pt x="1542" y="68"/>
                    <a:pt x="1542" y="68"/>
                    <a:pt x="1542" y="68"/>
                  </a:cubicBezTo>
                  <a:cubicBezTo>
                    <a:pt x="1542" y="68"/>
                    <a:pt x="1541" y="68"/>
                    <a:pt x="1541" y="68"/>
                  </a:cubicBezTo>
                  <a:close/>
                  <a:moveTo>
                    <a:pt x="975" y="24"/>
                  </a:moveTo>
                  <a:cubicBezTo>
                    <a:pt x="975" y="24"/>
                    <a:pt x="975" y="24"/>
                    <a:pt x="975" y="25"/>
                  </a:cubicBezTo>
                  <a:cubicBezTo>
                    <a:pt x="975" y="24"/>
                    <a:pt x="975" y="24"/>
                    <a:pt x="975" y="24"/>
                  </a:cubicBezTo>
                  <a:close/>
                  <a:moveTo>
                    <a:pt x="1494" y="24"/>
                  </a:moveTo>
                  <a:cubicBezTo>
                    <a:pt x="1494" y="24"/>
                    <a:pt x="1494" y="24"/>
                    <a:pt x="1494" y="25"/>
                  </a:cubicBezTo>
                  <a:cubicBezTo>
                    <a:pt x="1494" y="25"/>
                    <a:pt x="1494" y="24"/>
                    <a:pt x="1494" y="24"/>
                  </a:cubicBezTo>
                  <a:close/>
                  <a:moveTo>
                    <a:pt x="1202" y="101"/>
                  </a:moveTo>
                  <a:cubicBezTo>
                    <a:pt x="1202" y="101"/>
                    <a:pt x="1202" y="101"/>
                    <a:pt x="1202" y="101"/>
                  </a:cubicBezTo>
                  <a:cubicBezTo>
                    <a:pt x="1202" y="101"/>
                    <a:pt x="1202" y="101"/>
                    <a:pt x="1202" y="101"/>
                  </a:cubicBezTo>
                  <a:close/>
                  <a:moveTo>
                    <a:pt x="1709" y="68"/>
                  </a:moveTo>
                  <a:cubicBezTo>
                    <a:pt x="1710" y="68"/>
                    <a:pt x="1710" y="68"/>
                    <a:pt x="1710" y="68"/>
                  </a:cubicBezTo>
                  <a:cubicBezTo>
                    <a:pt x="1710" y="68"/>
                    <a:pt x="1710" y="68"/>
                    <a:pt x="1709" y="68"/>
                  </a:cubicBezTo>
                  <a:close/>
                  <a:moveTo>
                    <a:pt x="1533" y="24"/>
                  </a:moveTo>
                  <a:cubicBezTo>
                    <a:pt x="1533" y="24"/>
                    <a:pt x="1533" y="24"/>
                    <a:pt x="1533" y="25"/>
                  </a:cubicBezTo>
                  <a:cubicBezTo>
                    <a:pt x="1533" y="24"/>
                    <a:pt x="1533" y="24"/>
                    <a:pt x="1533" y="24"/>
                  </a:cubicBezTo>
                  <a:close/>
                  <a:moveTo>
                    <a:pt x="1701" y="24"/>
                  </a:moveTo>
                  <a:cubicBezTo>
                    <a:pt x="1701" y="24"/>
                    <a:pt x="1701" y="24"/>
                    <a:pt x="1701" y="25"/>
                  </a:cubicBezTo>
                  <a:cubicBezTo>
                    <a:pt x="1701" y="24"/>
                    <a:pt x="1701" y="24"/>
                    <a:pt x="1701" y="24"/>
                  </a:cubicBezTo>
                  <a:close/>
                  <a:moveTo>
                    <a:pt x="692" y="69"/>
                  </a:moveTo>
                  <a:cubicBezTo>
                    <a:pt x="692" y="69"/>
                    <a:pt x="692" y="69"/>
                    <a:pt x="692" y="69"/>
                  </a:cubicBezTo>
                  <a:cubicBezTo>
                    <a:pt x="692" y="69"/>
                    <a:pt x="692" y="69"/>
                    <a:pt x="692" y="69"/>
                  </a:cubicBezTo>
                  <a:close/>
                  <a:moveTo>
                    <a:pt x="975" y="25"/>
                  </a:moveTo>
                  <a:cubicBezTo>
                    <a:pt x="974" y="25"/>
                    <a:pt x="974" y="25"/>
                    <a:pt x="974" y="25"/>
                  </a:cubicBezTo>
                  <a:cubicBezTo>
                    <a:pt x="974" y="25"/>
                    <a:pt x="975" y="25"/>
                    <a:pt x="975" y="25"/>
                  </a:cubicBezTo>
                  <a:close/>
                  <a:moveTo>
                    <a:pt x="1675" y="53"/>
                  </a:moveTo>
                  <a:cubicBezTo>
                    <a:pt x="1675" y="53"/>
                    <a:pt x="1675" y="53"/>
                    <a:pt x="1675" y="53"/>
                  </a:cubicBezTo>
                  <a:cubicBezTo>
                    <a:pt x="1675" y="53"/>
                    <a:pt x="1675" y="53"/>
                    <a:pt x="1675" y="53"/>
                  </a:cubicBezTo>
                  <a:close/>
                  <a:moveTo>
                    <a:pt x="1372" y="68"/>
                  </a:moveTo>
                  <a:cubicBezTo>
                    <a:pt x="1372" y="68"/>
                    <a:pt x="1371" y="69"/>
                    <a:pt x="1371" y="69"/>
                  </a:cubicBezTo>
                  <a:cubicBezTo>
                    <a:pt x="1372" y="69"/>
                    <a:pt x="1372" y="69"/>
                    <a:pt x="1372" y="68"/>
                  </a:cubicBezTo>
                  <a:close/>
                  <a:moveTo>
                    <a:pt x="1541" y="69"/>
                  </a:moveTo>
                  <a:cubicBezTo>
                    <a:pt x="1541" y="69"/>
                    <a:pt x="1541" y="69"/>
                    <a:pt x="1541" y="68"/>
                  </a:cubicBezTo>
                  <a:cubicBezTo>
                    <a:pt x="1541" y="69"/>
                    <a:pt x="1541" y="69"/>
                    <a:pt x="1541" y="69"/>
                  </a:cubicBezTo>
                  <a:close/>
                  <a:moveTo>
                    <a:pt x="1660" y="69"/>
                  </a:moveTo>
                  <a:cubicBezTo>
                    <a:pt x="1660" y="69"/>
                    <a:pt x="1660" y="68"/>
                    <a:pt x="1660" y="68"/>
                  </a:cubicBezTo>
                  <a:cubicBezTo>
                    <a:pt x="1660" y="69"/>
                    <a:pt x="1660" y="69"/>
                    <a:pt x="1660" y="69"/>
                  </a:cubicBezTo>
                  <a:close/>
                  <a:moveTo>
                    <a:pt x="1709" y="69"/>
                  </a:moveTo>
                  <a:cubicBezTo>
                    <a:pt x="1709" y="69"/>
                    <a:pt x="1709" y="69"/>
                    <a:pt x="1710" y="68"/>
                  </a:cubicBezTo>
                  <a:cubicBezTo>
                    <a:pt x="1709" y="69"/>
                    <a:pt x="1709" y="69"/>
                    <a:pt x="1709" y="69"/>
                  </a:cubicBezTo>
                  <a:close/>
                  <a:moveTo>
                    <a:pt x="1724" y="68"/>
                  </a:moveTo>
                  <a:cubicBezTo>
                    <a:pt x="1724" y="68"/>
                    <a:pt x="1724" y="69"/>
                    <a:pt x="1724" y="69"/>
                  </a:cubicBezTo>
                  <a:cubicBezTo>
                    <a:pt x="1724" y="69"/>
                    <a:pt x="1724" y="69"/>
                    <a:pt x="1724" y="68"/>
                  </a:cubicBezTo>
                  <a:close/>
                  <a:moveTo>
                    <a:pt x="1533" y="24"/>
                  </a:moveTo>
                  <a:cubicBezTo>
                    <a:pt x="1533" y="25"/>
                    <a:pt x="1533" y="25"/>
                    <a:pt x="1533" y="25"/>
                  </a:cubicBezTo>
                  <a:cubicBezTo>
                    <a:pt x="1533" y="25"/>
                    <a:pt x="1533" y="25"/>
                    <a:pt x="1533" y="24"/>
                  </a:cubicBezTo>
                  <a:close/>
                  <a:moveTo>
                    <a:pt x="1701" y="24"/>
                  </a:moveTo>
                  <a:cubicBezTo>
                    <a:pt x="1701" y="25"/>
                    <a:pt x="1701" y="25"/>
                    <a:pt x="1701" y="25"/>
                  </a:cubicBezTo>
                  <a:cubicBezTo>
                    <a:pt x="1701" y="25"/>
                    <a:pt x="1701" y="25"/>
                    <a:pt x="1701" y="24"/>
                  </a:cubicBezTo>
                  <a:close/>
                  <a:moveTo>
                    <a:pt x="960" y="25"/>
                  </a:moveTo>
                  <a:cubicBezTo>
                    <a:pt x="960" y="25"/>
                    <a:pt x="960" y="25"/>
                    <a:pt x="960" y="25"/>
                  </a:cubicBezTo>
                  <a:cubicBezTo>
                    <a:pt x="960" y="25"/>
                    <a:pt x="960" y="25"/>
                    <a:pt x="960" y="25"/>
                  </a:cubicBezTo>
                  <a:close/>
                  <a:moveTo>
                    <a:pt x="974" y="25"/>
                  </a:moveTo>
                  <a:cubicBezTo>
                    <a:pt x="974" y="25"/>
                    <a:pt x="974" y="25"/>
                    <a:pt x="974" y="25"/>
                  </a:cubicBezTo>
                  <a:cubicBezTo>
                    <a:pt x="974" y="25"/>
                    <a:pt x="974" y="25"/>
                    <a:pt x="974" y="25"/>
                  </a:cubicBezTo>
                  <a:close/>
                  <a:moveTo>
                    <a:pt x="669" y="69"/>
                  </a:moveTo>
                  <a:cubicBezTo>
                    <a:pt x="669" y="69"/>
                    <a:pt x="669" y="69"/>
                    <a:pt x="668" y="69"/>
                  </a:cubicBezTo>
                  <a:cubicBezTo>
                    <a:pt x="668" y="69"/>
                    <a:pt x="669" y="69"/>
                    <a:pt x="669" y="69"/>
                  </a:cubicBezTo>
                  <a:close/>
                  <a:moveTo>
                    <a:pt x="1533" y="25"/>
                  </a:moveTo>
                  <a:cubicBezTo>
                    <a:pt x="1532" y="25"/>
                    <a:pt x="1532" y="25"/>
                    <a:pt x="1532" y="25"/>
                  </a:cubicBezTo>
                  <a:cubicBezTo>
                    <a:pt x="1532" y="25"/>
                    <a:pt x="1533" y="25"/>
                    <a:pt x="1533" y="25"/>
                  </a:cubicBezTo>
                  <a:close/>
                  <a:moveTo>
                    <a:pt x="1701" y="25"/>
                  </a:moveTo>
                  <a:cubicBezTo>
                    <a:pt x="1700" y="25"/>
                    <a:pt x="1700" y="25"/>
                    <a:pt x="1700" y="25"/>
                  </a:cubicBezTo>
                  <a:cubicBezTo>
                    <a:pt x="1701" y="25"/>
                    <a:pt x="1701" y="25"/>
                    <a:pt x="1701" y="25"/>
                  </a:cubicBezTo>
                  <a:close/>
                  <a:moveTo>
                    <a:pt x="974" y="25"/>
                  </a:moveTo>
                  <a:cubicBezTo>
                    <a:pt x="974" y="25"/>
                    <a:pt x="974" y="25"/>
                    <a:pt x="974" y="26"/>
                  </a:cubicBezTo>
                  <a:cubicBezTo>
                    <a:pt x="974" y="25"/>
                    <a:pt x="974" y="25"/>
                    <a:pt x="974" y="25"/>
                  </a:cubicBezTo>
                  <a:close/>
                  <a:moveTo>
                    <a:pt x="1532" y="25"/>
                  </a:moveTo>
                  <a:cubicBezTo>
                    <a:pt x="1532" y="25"/>
                    <a:pt x="1532" y="25"/>
                    <a:pt x="1532" y="26"/>
                  </a:cubicBezTo>
                  <a:cubicBezTo>
                    <a:pt x="1532" y="26"/>
                    <a:pt x="1532" y="25"/>
                    <a:pt x="1532" y="25"/>
                  </a:cubicBezTo>
                  <a:close/>
                  <a:moveTo>
                    <a:pt x="1541" y="69"/>
                  </a:moveTo>
                  <a:cubicBezTo>
                    <a:pt x="1541" y="69"/>
                    <a:pt x="1541" y="69"/>
                    <a:pt x="1541" y="69"/>
                  </a:cubicBezTo>
                  <a:cubicBezTo>
                    <a:pt x="1541" y="69"/>
                    <a:pt x="1541" y="69"/>
                    <a:pt x="1541" y="69"/>
                  </a:cubicBezTo>
                  <a:close/>
                  <a:moveTo>
                    <a:pt x="1556" y="69"/>
                  </a:moveTo>
                  <a:cubicBezTo>
                    <a:pt x="1555" y="69"/>
                    <a:pt x="1555" y="69"/>
                    <a:pt x="1555" y="69"/>
                  </a:cubicBezTo>
                  <a:cubicBezTo>
                    <a:pt x="1555" y="69"/>
                    <a:pt x="1556" y="69"/>
                    <a:pt x="1556" y="69"/>
                  </a:cubicBezTo>
                  <a:close/>
                  <a:moveTo>
                    <a:pt x="1700" y="25"/>
                  </a:moveTo>
                  <a:cubicBezTo>
                    <a:pt x="1700" y="25"/>
                    <a:pt x="1700" y="25"/>
                    <a:pt x="1700" y="26"/>
                  </a:cubicBezTo>
                  <a:cubicBezTo>
                    <a:pt x="1700" y="26"/>
                    <a:pt x="1700" y="25"/>
                    <a:pt x="1700" y="25"/>
                  </a:cubicBezTo>
                  <a:close/>
                  <a:moveTo>
                    <a:pt x="974" y="26"/>
                  </a:moveTo>
                  <a:cubicBezTo>
                    <a:pt x="973" y="26"/>
                    <a:pt x="973" y="26"/>
                    <a:pt x="973" y="26"/>
                  </a:cubicBezTo>
                  <a:cubicBezTo>
                    <a:pt x="973" y="26"/>
                    <a:pt x="973" y="26"/>
                    <a:pt x="974" y="26"/>
                  </a:cubicBezTo>
                  <a:close/>
                  <a:moveTo>
                    <a:pt x="1709" y="69"/>
                  </a:moveTo>
                  <a:cubicBezTo>
                    <a:pt x="1709" y="69"/>
                    <a:pt x="1709" y="69"/>
                    <a:pt x="1709" y="69"/>
                  </a:cubicBezTo>
                  <a:cubicBezTo>
                    <a:pt x="1709" y="69"/>
                    <a:pt x="1709" y="69"/>
                    <a:pt x="1709" y="69"/>
                  </a:cubicBezTo>
                  <a:close/>
                  <a:moveTo>
                    <a:pt x="1724" y="69"/>
                  </a:moveTo>
                  <a:cubicBezTo>
                    <a:pt x="1724" y="69"/>
                    <a:pt x="1723" y="69"/>
                    <a:pt x="1723" y="69"/>
                  </a:cubicBezTo>
                  <a:cubicBezTo>
                    <a:pt x="1723" y="69"/>
                    <a:pt x="1724" y="69"/>
                    <a:pt x="1724" y="69"/>
                  </a:cubicBezTo>
                  <a:close/>
                  <a:moveTo>
                    <a:pt x="1492" y="26"/>
                  </a:moveTo>
                  <a:cubicBezTo>
                    <a:pt x="1491" y="26"/>
                    <a:pt x="1491" y="26"/>
                    <a:pt x="1491" y="26"/>
                  </a:cubicBezTo>
                  <a:cubicBezTo>
                    <a:pt x="1491" y="26"/>
                    <a:pt x="1491" y="26"/>
                    <a:pt x="1492" y="26"/>
                  </a:cubicBezTo>
                  <a:close/>
                  <a:moveTo>
                    <a:pt x="1532" y="26"/>
                  </a:moveTo>
                  <a:cubicBezTo>
                    <a:pt x="1532" y="26"/>
                    <a:pt x="1532" y="26"/>
                    <a:pt x="1531" y="26"/>
                  </a:cubicBezTo>
                  <a:cubicBezTo>
                    <a:pt x="1532" y="26"/>
                    <a:pt x="1532" y="26"/>
                    <a:pt x="1532" y="26"/>
                  </a:cubicBezTo>
                  <a:close/>
                  <a:moveTo>
                    <a:pt x="1356" y="70"/>
                  </a:moveTo>
                  <a:cubicBezTo>
                    <a:pt x="1356" y="70"/>
                    <a:pt x="1356" y="69"/>
                    <a:pt x="1356" y="69"/>
                  </a:cubicBezTo>
                  <a:cubicBezTo>
                    <a:pt x="1356" y="69"/>
                    <a:pt x="1356" y="69"/>
                    <a:pt x="1356" y="70"/>
                  </a:cubicBezTo>
                  <a:close/>
                  <a:moveTo>
                    <a:pt x="1371" y="69"/>
                  </a:moveTo>
                  <a:cubicBezTo>
                    <a:pt x="1371" y="69"/>
                    <a:pt x="1370" y="69"/>
                    <a:pt x="1370" y="69"/>
                  </a:cubicBezTo>
                  <a:cubicBezTo>
                    <a:pt x="1371" y="69"/>
                    <a:pt x="1371" y="69"/>
                    <a:pt x="1371" y="69"/>
                  </a:cubicBezTo>
                  <a:close/>
                  <a:moveTo>
                    <a:pt x="1700" y="26"/>
                  </a:moveTo>
                  <a:cubicBezTo>
                    <a:pt x="1700" y="26"/>
                    <a:pt x="1700" y="26"/>
                    <a:pt x="1700" y="26"/>
                  </a:cubicBezTo>
                  <a:cubicBezTo>
                    <a:pt x="1700" y="26"/>
                    <a:pt x="1700" y="26"/>
                    <a:pt x="1700" y="26"/>
                  </a:cubicBezTo>
                  <a:close/>
                  <a:moveTo>
                    <a:pt x="959" y="26"/>
                  </a:moveTo>
                  <a:cubicBezTo>
                    <a:pt x="959" y="26"/>
                    <a:pt x="959" y="26"/>
                    <a:pt x="959" y="26"/>
                  </a:cubicBezTo>
                  <a:cubicBezTo>
                    <a:pt x="959" y="26"/>
                    <a:pt x="959" y="26"/>
                    <a:pt x="959" y="26"/>
                  </a:cubicBezTo>
                  <a:close/>
                  <a:moveTo>
                    <a:pt x="973" y="26"/>
                  </a:moveTo>
                  <a:cubicBezTo>
                    <a:pt x="973" y="26"/>
                    <a:pt x="973" y="26"/>
                    <a:pt x="973" y="26"/>
                  </a:cubicBezTo>
                  <a:cubicBezTo>
                    <a:pt x="973" y="26"/>
                    <a:pt x="973" y="26"/>
                    <a:pt x="973" y="26"/>
                  </a:cubicBezTo>
                  <a:close/>
                  <a:moveTo>
                    <a:pt x="1491" y="26"/>
                  </a:moveTo>
                  <a:cubicBezTo>
                    <a:pt x="1491" y="26"/>
                    <a:pt x="1490" y="26"/>
                    <a:pt x="1490" y="26"/>
                  </a:cubicBezTo>
                  <a:cubicBezTo>
                    <a:pt x="1491" y="26"/>
                    <a:pt x="1491" y="26"/>
                    <a:pt x="1491" y="26"/>
                  </a:cubicBezTo>
                  <a:close/>
                  <a:moveTo>
                    <a:pt x="1532" y="26"/>
                  </a:moveTo>
                  <a:cubicBezTo>
                    <a:pt x="1531" y="26"/>
                    <a:pt x="1531" y="26"/>
                    <a:pt x="1531" y="26"/>
                  </a:cubicBezTo>
                  <a:cubicBezTo>
                    <a:pt x="1531" y="26"/>
                    <a:pt x="1531" y="26"/>
                    <a:pt x="1532" y="26"/>
                  </a:cubicBezTo>
                  <a:close/>
                  <a:moveTo>
                    <a:pt x="1700" y="26"/>
                  </a:moveTo>
                  <a:cubicBezTo>
                    <a:pt x="1699" y="26"/>
                    <a:pt x="1699" y="26"/>
                    <a:pt x="1699" y="26"/>
                  </a:cubicBezTo>
                  <a:cubicBezTo>
                    <a:pt x="1699" y="26"/>
                    <a:pt x="1700" y="26"/>
                    <a:pt x="1700" y="26"/>
                  </a:cubicBezTo>
                  <a:close/>
                  <a:moveTo>
                    <a:pt x="973" y="26"/>
                  </a:moveTo>
                  <a:cubicBezTo>
                    <a:pt x="973" y="26"/>
                    <a:pt x="973" y="26"/>
                    <a:pt x="973" y="27"/>
                  </a:cubicBezTo>
                  <a:cubicBezTo>
                    <a:pt x="973" y="27"/>
                    <a:pt x="973" y="26"/>
                    <a:pt x="973" y="26"/>
                  </a:cubicBezTo>
                  <a:close/>
                  <a:moveTo>
                    <a:pt x="1390" y="53"/>
                  </a:moveTo>
                  <a:cubicBezTo>
                    <a:pt x="1390" y="53"/>
                    <a:pt x="1390" y="53"/>
                    <a:pt x="1390" y="53"/>
                  </a:cubicBezTo>
                  <a:cubicBezTo>
                    <a:pt x="1390" y="53"/>
                    <a:pt x="1390" y="53"/>
                    <a:pt x="1390" y="53"/>
                  </a:cubicBezTo>
                  <a:close/>
                  <a:moveTo>
                    <a:pt x="693" y="70"/>
                  </a:moveTo>
                  <a:cubicBezTo>
                    <a:pt x="693" y="70"/>
                    <a:pt x="693" y="70"/>
                    <a:pt x="693" y="70"/>
                  </a:cubicBezTo>
                  <a:cubicBezTo>
                    <a:pt x="693" y="70"/>
                    <a:pt x="693" y="70"/>
                    <a:pt x="693" y="70"/>
                  </a:cubicBezTo>
                  <a:close/>
                  <a:moveTo>
                    <a:pt x="973" y="27"/>
                  </a:moveTo>
                  <a:cubicBezTo>
                    <a:pt x="972" y="27"/>
                    <a:pt x="972" y="27"/>
                    <a:pt x="972" y="27"/>
                  </a:cubicBezTo>
                  <a:cubicBezTo>
                    <a:pt x="972" y="27"/>
                    <a:pt x="972" y="27"/>
                    <a:pt x="973" y="27"/>
                  </a:cubicBezTo>
                  <a:close/>
                  <a:moveTo>
                    <a:pt x="958" y="27"/>
                  </a:moveTo>
                  <a:cubicBezTo>
                    <a:pt x="959" y="27"/>
                    <a:pt x="959" y="27"/>
                    <a:pt x="959" y="27"/>
                  </a:cubicBezTo>
                  <a:cubicBezTo>
                    <a:pt x="958" y="27"/>
                    <a:pt x="958" y="27"/>
                    <a:pt x="958" y="27"/>
                  </a:cubicBezTo>
                  <a:close/>
                  <a:moveTo>
                    <a:pt x="1355" y="70"/>
                  </a:moveTo>
                  <a:cubicBezTo>
                    <a:pt x="1356" y="70"/>
                    <a:pt x="1356" y="70"/>
                    <a:pt x="1356" y="70"/>
                  </a:cubicBezTo>
                  <a:cubicBezTo>
                    <a:pt x="1356" y="70"/>
                    <a:pt x="1356" y="70"/>
                    <a:pt x="1355" y="70"/>
                  </a:cubicBezTo>
                  <a:close/>
                  <a:moveTo>
                    <a:pt x="1370" y="69"/>
                  </a:moveTo>
                  <a:cubicBezTo>
                    <a:pt x="1370" y="69"/>
                    <a:pt x="1370" y="70"/>
                    <a:pt x="1370" y="70"/>
                  </a:cubicBezTo>
                  <a:cubicBezTo>
                    <a:pt x="1370" y="70"/>
                    <a:pt x="1370" y="70"/>
                    <a:pt x="1370" y="69"/>
                  </a:cubicBezTo>
                  <a:close/>
                  <a:moveTo>
                    <a:pt x="971" y="28"/>
                  </a:moveTo>
                  <a:cubicBezTo>
                    <a:pt x="971" y="28"/>
                    <a:pt x="971" y="28"/>
                    <a:pt x="971" y="28"/>
                  </a:cubicBezTo>
                  <a:cubicBezTo>
                    <a:pt x="971" y="28"/>
                    <a:pt x="971" y="28"/>
                    <a:pt x="971" y="28"/>
                  </a:cubicBezTo>
                  <a:close/>
                  <a:moveTo>
                    <a:pt x="1376" y="54"/>
                  </a:moveTo>
                  <a:cubicBezTo>
                    <a:pt x="1376" y="54"/>
                    <a:pt x="1376" y="53"/>
                    <a:pt x="1376" y="53"/>
                  </a:cubicBezTo>
                  <a:cubicBezTo>
                    <a:pt x="1376" y="53"/>
                    <a:pt x="1376" y="53"/>
                    <a:pt x="1376" y="54"/>
                  </a:cubicBezTo>
                  <a:close/>
                  <a:moveTo>
                    <a:pt x="1555" y="70"/>
                  </a:moveTo>
                  <a:cubicBezTo>
                    <a:pt x="1554" y="70"/>
                    <a:pt x="1554" y="70"/>
                    <a:pt x="1554" y="70"/>
                  </a:cubicBezTo>
                  <a:cubicBezTo>
                    <a:pt x="1554" y="70"/>
                    <a:pt x="1554" y="70"/>
                    <a:pt x="1555" y="70"/>
                  </a:cubicBezTo>
                  <a:close/>
                  <a:moveTo>
                    <a:pt x="1487" y="28"/>
                  </a:moveTo>
                  <a:cubicBezTo>
                    <a:pt x="1486" y="28"/>
                    <a:pt x="1486" y="28"/>
                    <a:pt x="1486" y="28"/>
                  </a:cubicBezTo>
                  <a:cubicBezTo>
                    <a:pt x="1486" y="28"/>
                    <a:pt x="1487" y="28"/>
                    <a:pt x="1487" y="28"/>
                  </a:cubicBezTo>
                  <a:close/>
                  <a:moveTo>
                    <a:pt x="971" y="28"/>
                  </a:moveTo>
                  <a:cubicBezTo>
                    <a:pt x="971" y="28"/>
                    <a:pt x="971" y="29"/>
                    <a:pt x="971" y="29"/>
                  </a:cubicBezTo>
                  <a:cubicBezTo>
                    <a:pt x="971" y="29"/>
                    <a:pt x="971" y="29"/>
                    <a:pt x="971" y="28"/>
                  </a:cubicBezTo>
                  <a:close/>
                  <a:moveTo>
                    <a:pt x="1723" y="70"/>
                  </a:moveTo>
                  <a:cubicBezTo>
                    <a:pt x="1722" y="70"/>
                    <a:pt x="1722" y="70"/>
                    <a:pt x="1722" y="70"/>
                  </a:cubicBezTo>
                  <a:cubicBezTo>
                    <a:pt x="1722" y="70"/>
                    <a:pt x="1723" y="70"/>
                    <a:pt x="1723" y="70"/>
                  </a:cubicBezTo>
                  <a:close/>
                  <a:moveTo>
                    <a:pt x="957" y="30"/>
                  </a:moveTo>
                  <a:cubicBezTo>
                    <a:pt x="957" y="30"/>
                    <a:pt x="957" y="30"/>
                    <a:pt x="957" y="29"/>
                  </a:cubicBezTo>
                  <a:cubicBezTo>
                    <a:pt x="957" y="30"/>
                    <a:pt x="957" y="30"/>
                    <a:pt x="957" y="30"/>
                  </a:cubicBezTo>
                  <a:close/>
                  <a:moveTo>
                    <a:pt x="970" y="30"/>
                  </a:moveTo>
                  <a:cubicBezTo>
                    <a:pt x="970" y="30"/>
                    <a:pt x="970" y="30"/>
                    <a:pt x="970" y="30"/>
                  </a:cubicBezTo>
                  <a:cubicBezTo>
                    <a:pt x="970" y="30"/>
                    <a:pt x="970" y="30"/>
                    <a:pt x="970" y="30"/>
                  </a:cubicBezTo>
                  <a:close/>
                  <a:moveTo>
                    <a:pt x="957" y="31"/>
                  </a:moveTo>
                  <a:cubicBezTo>
                    <a:pt x="957" y="31"/>
                    <a:pt x="957" y="30"/>
                    <a:pt x="957" y="30"/>
                  </a:cubicBezTo>
                  <a:cubicBezTo>
                    <a:pt x="957" y="30"/>
                    <a:pt x="957" y="30"/>
                    <a:pt x="957" y="31"/>
                  </a:cubicBezTo>
                  <a:close/>
                  <a:moveTo>
                    <a:pt x="969" y="31"/>
                  </a:moveTo>
                  <a:cubicBezTo>
                    <a:pt x="969" y="31"/>
                    <a:pt x="969" y="31"/>
                    <a:pt x="969" y="31"/>
                  </a:cubicBezTo>
                  <a:cubicBezTo>
                    <a:pt x="969" y="31"/>
                    <a:pt x="969" y="31"/>
                    <a:pt x="969" y="31"/>
                  </a:cubicBezTo>
                  <a:close/>
                  <a:moveTo>
                    <a:pt x="693" y="70"/>
                  </a:moveTo>
                  <a:cubicBezTo>
                    <a:pt x="693" y="70"/>
                    <a:pt x="694" y="70"/>
                    <a:pt x="694" y="70"/>
                  </a:cubicBezTo>
                  <a:cubicBezTo>
                    <a:pt x="694" y="70"/>
                    <a:pt x="693" y="70"/>
                    <a:pt x="693" y="70"/>
                  </a:cubicBezTo>
                  <a:close/>
                  <a:moveTo>
                    <a:pt x="969" y="32"/>
                  </a:moveTo>
                  <a:cubicBezTo>
                    <a:pt x="968" y="32"/>
                    <a:pt x="968" y="32"/>
                    <a:pt x="968" y="32"/>
                  </a:cubicBezTo>
                  <a:cubicBezTo>
                    <a:pt x="968" y="32"/>
                    <a:pt x="969" y="32"/>
                    <a:pt x="969" y="32"/>
                  </a:cubicBezTo>
                  <a:close/>
                  <a:moveTo>
                    <a:pt x="1355" y="70"/>
                  </a:moveTo>
                  <a:cubicBezTo>
                    <a:pt x="1355" y="70"/>
                    <a:pt x="1355" y="70"/>
                    <a:pt x="1355" y="70"/>
                  </a:cubicBezTo>
                  <a:cubicBezTo>
                    <a:pt x="1355" y="70"/>
                    <a:pt x="1355" y="70"/>
                    <a:pt x="1355" y="70"/>
                  </a:cubicBezTo>
                  <a:close/>
                  <a:moveTo>
                    <a:pt x="956" y="33"/>
                  </a:moveTo>
                  <a:cubicBezTo>
                    <a:pt x="956" y="33"/>
                    <a:pt x="956" y="32"/>
                    <a:pt x="956" y="32"/>
                  </a:cubicBezTo>
                  <a:cubicBezTo>
                    <a:pt x="956" y="32"/>
                    <a:pt x="956" y="33"/>
                    <a:pt x="956" y="33"/>
                  </a:cubicBezTo>
                  <a:close/>
                  <a:moveTo>
                    <a:pt x="1539" y="70"/>
                  </a:moveTo>
                  <a:cubicBezTo>
                    <a:pt x="1539" y="70"/>
                    <a:pt x="1540" y="70"/>
                    <a:pt x="1540" y="70"/>
                  </a:cubicBezTo>
                  <a:cubicBezTo>
                    <a:pt x="1539" y="70"/>
                    <a:pt x="1539" y="70"/>
                    <a:pt x="1539" y="70"/>
                  </a:cubicBezTo>
                  <a:close/>
                  <a:moveTo>
                    <a:pt x="1554" y="70"/>
                  </a:moveTo>
                  <a:cubicBezTo>
                    <a:pt x="1554" y="70"/>
                    <a:pt x="1554" y="70"/>
                    <a:pt x="1554" y="70"/>
                  </a:cubicBezTo>
                  <a:cubicBezTo>
                    <a:pt x="1554" y="70"/>
                    <a:pt x="1554" y="70"/>
                    <a:pt x="1554" y="70"/>
                  </a:cubicBezTo>
                  <a:close/>
                  <a:moveTo>
                    <a:pt x="1707" y="70"/>
                  </a:moveTo>
                  <a:cubicBezTo>
                    <a:pt x="1708" y="70"/>
                    <a:pt x="1708" y="70"/>
                    <a:pt x="1708" y="70"/>
                  </a:cubicBezTo>
                  <a:cubicBezTo>
                    <a:pt x="1708" y="70"/>
                    <a:pt x="1707" y="70"/>
                    <a:pt x="1707" y="70"/>
                  </a:cubicBezTo>
                  <a:close/>
                  <a:moveTo>
                    <a:pt x="1722" y="70"/>
                  </a:moveTo>
                  <a:cubicBezTo>
                    <a:pt x="1722" y="70"/>
                    <a:pt x="1722" y="70"/>
                    <a:pt x="1722" y="70"/>
                  </a:cubicBezTo>
                  <a:cubicBezTo>
                    <a:pt x="1722" y="70"/>
                    <a:pt x="1722" y="70"/>
                    <a:pt x="1722" y="70"/>
                  </a:cubicBezTo>
                  <a:close/>
                  <a:moveTo>
                    <a:pt x="1143" y="35"/>
                  </a:moveTo>
                  <a:cubicBezTo>
                    <a:pt x="1143" y="35"/>
                    <a:pt x="1143" y="35"/>
                    <a:pt x="1143" y="35"/>
                  </a:cubicBezTo>
                  <a:cubicBezTo>
                    <a:pt x="1143" y="35"/>
                    <a:pt x="1143" y="35"/>
                    <a:pt x="1143" y="35"/>
                  </a:cubicBezTo>
                  <a:close/>
                  <a:moveTo>
                    <a:pt x="669" y="35"/>
                  </a:moveTo>
                  <a:cubicBezTo>
                    <a:pt x="670" y="35"/>
                    <a:pt x="670" y="35"/>
                    <a:pt x="670" y="35"/>
                  </a:cubicBezTo>
                  <a:cubicBezTo>
                    <a:pt x="670" y="35"/>
                    <a:pt x="669" y="35"/>
                    <a:pt x="669" y="35"/>
                  </a:cubicBezTo>
                  <a:close/>
                  <a:moveTo>
                    <a:pt x="1355" y="71"/>
                  </a:moveTo>
                  <a:cubicBezTo>
                    <a:pt x="1355" y="71"/>
                    <a:pt x="1355" y="70"/>
                    <a:pt x="1355" y="70"/>
                  </a:cubicBezTo>
                  <a:cubicBezTo>
                    <a:pt x="1355" y="70"/>
                    <a:pt x="1355" y="70"/>
                    <a:pt x="1355" y="71"/>
                  </a:cubicBezTo>
                  <a:close/>
                  <a:moveTo>
                    <a:pt x="1369" y="70"/>
                  </a:moveTo>
                  <a:cubicBezTo>
                    <a:pt x="1369" y="70"/>
                    <a:pt x="1369" y="70"/>
                    <a:pt x="1369" y="71"/>
                  </a:cubicBezTo>
                  <a:cubicBezTo>
                    <a:pt x="1369" y="70"/>
                    <a:pt x="1369" y="70"/>
                    <a:pt x="1369" y="70"/>
                  </a:cubicBezTo>
                  <a:close/>
                  <a:moveTo>
                    <a:pt x="1539" y="71"/>
                  </a:moveTo>
                  <a:cubicBezTo>
                    <a:pt x="1539" y="71"/>
                    <a:pt x="1539" y="70"/>
                    <a:pt x="1539" y="70"/>
                  </a:cubicBezTo>
                  <a:cubicBezTo>
                    <a:pt x="1539" y="70"/>
                    <a:pt x="1539" y="70"/>
                    <a:pt x="1539" y="71"/>
                  </a:cubicBezTo>
                  <a:close/>
                  <a:moveTo>
                    <a:pt x="859" y="35"/>
                  </a:moveTo>
                  <a:cubicBezTo>
                    <a:pt x="859" y="35"/>
                    <a:pt x="859" y="35"/>
                    <a:pt x="859" y="35"/>
                  </a:cubicBezTo>
                  <a:cubicBezTo>
                    <a:pt x="859" y="35"/>
                    <a:pt x="859" y="35"/>
                    <a:pt x="859" y="35"/>
                  </a:cubicBezTo>
                  <a:close/>
                  <a:moveTo>
                    <a:pt x="1661" y="71"/>
                  </a:moveTo>
                  <a:cubicBezTo>
                    <a:pt x="1661" y="70"/>
                    <a:pt x="1661" y="70"/>
                    <a:pt x="1661" y="70"/>
                  </a:cubicBezTo>
                  <a:cubicBezTo>
                    <a:pt x="1661" y="70"/>
                    <a:pt x="1661" y="70"/>
                    <a:pt x="1661" y="71"/>
                  </a:cubicBezTo>
                  <a:close/>
                  <a:moveTo>
                    <a:pt x="879" y="35"/>
                  </a:moveTo>
                  <a:cubicBezTo>
                    <a:pt x="879" y="35"/>
                    <a:pt x="879" y="35"/>
                    <a:pt x="879" y="35"/>
                  </a:cubicBezTo>
                  <a:cubicBezTo>
                    <a:pt x="879" y="35"/>
                    <a:pt x="879" y="35"/>
                    <a:pt x="879" y="35"/>
                  </a:cubicBezTo>
                  <a:close/>
                  <a:moveTo>
                    <a:pt x="1707" y="71"/>
                  </a:moveTo>
                  <a:cubicBezTo>
                    <a:pt x="1707" y="71"/>
                    <a:pt x="1707" y="70"/>
                    <a:pt x="1707" y="70"/>
                  </a:cubicBezTo>
                  <a:cubicBezTo>
                    <a:pt x="1707" y="70"/>
                    <a:pt x="1707" y="70"/>
                    <a:pt x="1707" y="71"/>
                  </a:cubicBezTo>
                  <a:close/>
                  <a:moveTo>
                    <a:pt x="902" y="35"/>
                  </a:moveTo>
                  <a:cubicBezTo>
                    <a:pt x="902" y="35"/>
                    <a:pt x="902" y="35"/>
                    <a:pt x="902" y="35"/>
                  </a:cubicBezTo>
                  <a:cubicBezTo>
                    <a:pt x="902" y="35"/>
                    <a:pt x="902" y="35"/>
                    <a:pt x="902" y="35"/>
                  </a:cubicBezTo>
                  <a:close/>
                  <a:moveTo>
                    <a:pt x="1144" y="35"/>
                  </a:moveTo>
                  <a:cubicBezTo>
                    <a:pt x="1144" y="35"/>
                    <a:pt x="1144" y="35"/>
                    <a:pt x="1144" y="35"/>
                  </a:cubicBezTo>
                  <a:cubicBezTo>
                    <a:pt x="1144" y="35"/>
                    <a:pt x="1144" y="35"/>
                    <a:pt x="1144" y="35"/>
                  </a:cubicBezTo>
                  <a:close/>
                  <a:moveTo>
                    <a:pt x="1297" y="35"/>
                  </a:moveTo>
                  <a:cubicBezTo>
                    <a:pt x="1298" y="35"/>
                    <a:pt x="1298" y="35"/>
                    <a:pt x="1298" y="35"/>
                  </a:cubicBezTo>
                  <a:cubicBezTo>
                    <a:pt x="1298" y="35"/>
                    <a:pt x="1297" y="35"/>
                    <a:pt x="1297" y="35"/>
                  </a:cubicBezTo>
                  <a:close/>
                  <a:moveTo>
                    <a:pt x="669" y="36"/>
                  </a:moveTo>
                  <a:cubicBezTo>
                    <a:pt x="669" y="36"/>
                    <a:pt x="669" y="36"/>
                    <a:pt x="669" y="35"/>
                  </a:cubicBezTo>
                  <a:cubicBezTo>
                    <a:pt x="669" y="35"/>
                    <a:pt x="669" y="36"/>
                    <a:pt x="669" y="36"/>
                  </a:cubicBezTo>
                  <a:close/>
                  <a:moveTo>
                    <a:pt x="837" y="36"/>
                  </a:moveTo>
                  <a:cubicBezTo>
                    <a:pt x="837" y="36"/>
                    <a:pt x="837" y="36"/>
                    <a:pt x="837" y="35"/>
                  </a:cubicBezTo>
                  <a:cubicBezTo>
                    <a:pt x="837" y="36"/>
                    <a:pt x="837" y="36"/>
                    <a:pt x="837" y="36"/>
                  </a:cubicBezTo>
                  <a:close/>
                  <a:moveTo>
                    <a:pt x="878" y="36"/>
                  </a:moveTo>
                  <a:cubicBezTo>
                    <a:pt x="878" y="36"/>
                    <a:pt x="878" y="36"/>
                    <a:pt x="878" y="35"/>
                  </a:cubicBezTo>
                  <a:cubicBezTo>
                    <a:pt x="878" y="35"/>
                    <a:pt x="878" y="36"/>
                    <a:pt x="878" y="36"/>
                  </a:cubicBezTo>
                  <a:close/>
                  <a:moveTo>
                    <a:pt x="1354" y="71"/>
                  </a:moveTo>
                  <a:cubicBezTo>
                    <a:pt x="1355" y="71"/>
                    <a:pt x="1355" y="71"/>
                    <a:pt x="1355" y="71"/>
                  </a:cubicBezTo>
                  <a:cubicBezTo>
                    <a:pt x="1355" y="71"/>
                    <a:pt x="1355" y="71"/>
                    <a:pt x="1354" y="71"/>
                  </a:cubicBezTo>
                  <a:close/>
                  <a:moveTo>
                    <a:pt x="1369" y="70"/>
                  </a:moveTo>
                  <a:cubicBezTo>
                    <a:pt x="1369" y="71"/>
                    <a:pt x="1369" y="71"/>
                    <a:pt x="1369" y="71"/>
                  </a:cubicBezTo>
                  <a:cubicBezTo>
                    <a:pt x="1369" y="71"/>
                    <a:pt x="1369" y="71"/>
                    <a:pt x="1369" y="70"/>
                  </a:cubicBezTo>
                  <a:close/>
                  <a:moveTo>
                    <a:pt x="1539" y="71"/>
                  </a:moveTo>
                  <a:cubicBezTo>
                    <a:pt x="1539" y="71"/>
                    <a:pt x="1539" y="71"/>
                    <a:pt x="1539" y="71"/>
                  </a:cubicBezTo>
                  <a:cubicBezTo>
                    <a:pt x="1539" y="71"/>
                    <a:pt x="1539" y="71"/>
                    <a:pt x="1539" y="71"/>
                  </a:cubicBezTo>
                  <a:close/>
                  <a:moveTo>
                    <a:pt x="1553" y="71"/>
                  </a:moveTo>
                  <a:cubicBezTo>
                    <a:pt x="1553" y="71"/>
                    <a:pt x="1553" y="71"/>
                    <a:pt x="1553" y="71"/>
                  </a:cubicBezTo>
                  <a:cubicBezTo>
                    <a:pt x="1553" y="71"/>
                    <a:pt x="1553" y="71"/>
                    <a:pt x="1553" y="71"/>
                  </a:cubicBezTo>
                  <a:close/>
                  <a:moveTo>
                    <a:pt x="1707" y="71"/>
                  </a:moveTo>
                  <a:cubicBezTo>
                    <a:pt x="1707" y="71"/>
                    <a:pt x="1707" y="71"/>
                    <a:pt x="1707" y="71"/>
                  </a:cubicBezTo>
                  <a:cubicBezTo>
                    <a:pt x="1707" y="71"/>
                    <a:pt x="1707" y="71"/>
                    <a:pt x="1707" y="71"/>
                  </a:cubicBezTo>
                  <a:close/>
                  <a:moveTo>
                    <a:pt x="1721" y="71"/>
                  </a:moveTo>
                  <a:cubicBezTo>
                    <a:pt x="1721" y="71"/>
                    <a:pt x="1721" y="71"/>
                    <a:pt x="1721" y="71"/>
                  </a:cubicBezTo>
                  <a:cubicBezTo>
                    <a:pt x="1721" y="71"/>
                    <a:pt x="1721" y="71"/>
                    <a:pt x="1721" y="71"/>
                  </a:cubicBezTo>
                  <a:close/>
                  <a:moveTo>
                    <a:pt x="902" y="35"/>
                  </a:moveTo>
                  <a:cubicBezTo>
                    <a:pt x="903" y="36"/>
                    <a:pt x="903" y="36"/>
                    <a:pt x="903" y="36"/>
                  </a:cubicBezTo>
                  <a:cubicBezTo>
                    <a:pt x="903" y="36"/>
                    <a:pt x="903" y="35"/>
                    <a:pt x="902" y="35"/>
                  </a:cubicBezTo>
                  <a:close/>
                  <a:moveTo>
                    <a:pt x="764" y="36"/>
                  </a:moveTo>
                  <a:cubicBezTo>
                    <a:pt x="764" y="36"/>
                    <a:pt x="764" y="36"/>
                    <a:pt x="764" y="36"/>
                  </a:cubicBezTo>
                  <a:cubicBezTo>
                    <a:pt x="764" y="36"/>
                    <a:pt x="764" y="36"/>
                    <a:pt x="764" y="36"/>
                  </a:cubicBezTo>
                  <a:close/>
                  <a:moveTo>
                    <a:pt x="1074" y="36"/>
                  </a:moveTo>
                  <a:cubicBezTo>
                    <a:pt x="1074" y="36"/>
                    <a:pt x="1074" y="36"/>
                    <a:pt x="1075" y="36"/>
                  </a:cubicBezTo>
                  <a:cubicBezTo>
                    <a:pt x="1074" y="36"/>
                    <a:pt x="1074" y="36"/>
                    <a:pt x="1074" y="36"/>
                  </a:cubicBezTo>
                  <a:close/>
                  <a:moveTo>
                    <a:pt x="1145" y="36"/>
                  </a:moveTo>
                  <a:cubicBezTo>
                    <a:pt x="1145" y="36"/>
                    <a:pt x="1145" y="36"/>
                    <a:pt x="1145" y="36"/>
                  </a:cubicBezTo>
                  <a:cubicBezTo>
                    <a:pt x="1145" y="36"/>
                    <a:pt x="1145" y="36"/>
                    <a:pt x="1145" y="36"/>
                  </a:cubicBezTo>
                  <a:close/>
                  <a:moveTo>
                    <a:pt x="1252" y="36"/>
                  </a:moveTo>
                  <a:cubicBezTo>
                    <a:pt x="1252" y="36"/>
                    <a:pt x="1252" y="36"/>
                    <a:pt x="1252" y="36"/>
                  </a:cubicBezTo>
                  <a:cubicBezTo>
                    <a:pt x="1252" y="36"/>
                    <a:pt x="1252" y="36"/>
                    <a:pt x="1252" y="36"/>
                  </a:cubicBezTo>
                  <a:close/>
                  <a:moveTo>
                    <a:pt x="763" y="36"/>
                  </a:moveTo>
                  <a:cubicBezTo>
                    <a:pt x="764" y="36"/>
                    <a:pt x="764" y="36"/>
                    <a:pt x="764" y="36"/>
                  </a:cubicBezTo>
                  <a:cubicBezTo>
                    <a:pt x="764" y="36"/>
                    <a:pt x="763" y="36"/>
                    <a:pt x="763" y="36"/>
                  </a:cubicBezTo>
                  <a:close/>
                  <a:moveTo>
                    <a:pt x="861" y="36"/>
                  </a:moveTo>
                  <a:cubicBezTo>
                    <a:pt x="861" y="36"/>
                    <a:pt x="861" y="36"/>
                    <a:pt x="861" y="36"/>
                  </a:cubicBezTo>
                  <a:cubicBezTo>
                    <a:pt x="861" y="36"/>
                    <a:pt x="861" y="36"/>
                    <a:pt x="861" y="36"/>
                  </a:cubicBezTo>
                  <a:close/>
                  <a:moveTo>
                    <a:pt x="904" y="36"/>
                  </a:moveTo>
                  <a:cubicBezTo>
                    <a:pt x="904" y="36"/>
                    <a:pt x="904" y="36"/>
                    <a:pt x="904" y="36"/>
                  </a:cubicBezTo>
                  <a:cubicBezTo>
                    <a:pt x="904" y="36"/>
                    <a:pt x="904" y="36"/>
                    <a:pt x="904" y="36"/>
                  </a:cubicBezTo>
                  <a:close/>
                  <a:moveTo>
                    <a:pt x="1538" y="71"/>
                  </a:moveTo>
                  <a:cubicBezTo>
                    <a:pt x="1538" y="71"/>
                    <a:pt x="1539" y="71"/>
                    <a:pt x="1539" y="71"/>
                  </a:cubicBezTo>
                  <a:cubicBezTo>
                    <a:pt x="1538" y="71"/>
                    <a:pt x="1538" y="71"/>
                    <a:pt x="1538" y="71"/>
                  </a:cubicBezTo>
                  <a:close/>
                  <a:moveTo>
                    <a:pt x="1553" y="71"/>
                  </a:moveTo>
                  <a:cubicBezTo>
                    <a:pt x="1553" y="71"/>
                    <a:pt x="1552" y="71"/>
                    <a:pt x="1552" y="71"/>
                  </a:cubicBezTo>
                  <a:cubicBezTo>
                    <a:pt x="1553" y="71"/>
                    <a:pt x="1553" y="71"/>
                    <a:pt x="1553" y="71"/>
                  </a:cubicBezTo>
                  <a:close/>
                  <a:moveTo>
                    <a:pt x="1661" y="71"/>
                  </a:moveTo>
                  <a:cubicBezTo>
                    <a:pt x="1661" y="71"/>
                    <a:pt x="1661" y="71"/>
                    <a:pt x="1661" y="71"/>
                  </a:cubicBezTo>
                  <a:cubicBezTo>
                    <a:pt x="1661" y="71"/>
                    <a:pt x="1661" y="71"/>
                    <a:pt x="1661" y="71"/>
                  </a:cubicBezTo>
                  <a:close/>
                  <a:moveTo>
                    <a:pt x="1075" y="36"/>
                  </a:moveTo>
                  <a:cubicBezTo>
                    <a:pt x="1075" y="36"/>
                    <a:pt x="1075" y="36"/>
                    <a:pt x="1075" y="36"/>
                  </a:cubicBezTo>
                  <a:cubicBezTo>
                    <a:pt x="1075" y="36"/>
                    <a:pt x="1075" y="36"/>
                    <a:pt x="1075" y="36"/>
                  </a:cubicBezTo>
                  <a:close/>
                  <a:moveTo>
                    <a:pt x="1706" y="71"/>
                  </a:moveTo>
                  <a:cubicBezTo>
                    <a:pt x="1707" y="71"/>
                    <a:pt x="1707" y="71"/>
                    <a:pt x="1707" y="71"/>
                  </a:cubicBezTo>
                  <a:cubicBezTo>
                    <a:pt x="1707" y="71"/>
                    <a:pt x="1706" y="71"/>
                    <a:pt x="1706" y="71"/>
                  </a:cubicBezTo>
                  <a:close/>
                  <a:moveTo>
                    <a:pt x="1721" y="71"/>
                  </a:moveTo>
                  <a:cubicBezTo>
                    <a:pt x="1721" y="71"/>
                    <a:pt x="1721" y="71"/>
                    <a:pt x="1720" y="71"/>
                  </a:cubicBezTo>
                  <a:cubicBezTo>
                    <a:pt x="1721" y="71"/>
                    <a:pt x="1721" y="71"/>
                    <a:pt x="1721" y="71"/>
                  </a:cubicBezTo>
                  <a:close/>
                  <a:moveTo>
                    <a:pt x="1118" y="36"/>
                  </a:moveTo>
                  <a:cubicBezTo>
                    <a:pt x="1119" y="36"/>
                    <a:pt x="1119" y="36"/>
                    <a:pt x="1119" y="36"/>
                  </a:cubicBezTo>
                  <a:cubicBezTo>
                    <a:pt x="1119" y="36"/>
                    <a:pt x="1118" y="36"/>
                    <a:pt x="1118" y="36"/>
                  </a:cubicBezTo>
                  <a:close/>
                  <a:moveTo>
                    <a:pt x="1368" y="71"/>
                  </a:moveTo>
                  <a:cubicBezTo>
                    <a:pt x="1368" y="71"/>
                    <a:pt x="1368" y="71"/>
                    <a:pt x="1368" y="72"/>
                  </a:cubicBezTo>
                  <a:cubicBezTo>
                    <a:pt x="1368" y="71"/>
                    <a:pt x="1368" y="71"/>
                    <a:pt x="1368" y="71"/>
                  </a:cubicBezTo>
                  <a:close/>
                  <a:moveTo>
                    <a:pt x="1538" y="72"/>
                  </a:moveTo>
                  <a:cubicBezTo>
                    <a:pt x="1538" y="72"/>
                    <a:pt x="1538" y="71"/>
                    <a:pt x="1538" y="71"/>
                  </a:cubicBezTo>
                  <a:cubicBezTo>
                    <a:pt x="1538" y="71"/>
                    <a:pt x="1538" y="71"/>
                    <a:pt x="1538" y="72"/>
                  </a:cubicBezTo>
                  <a:close/>
                  <a:moveTo>
                    <a:pt x="667" y="37"/>
                  </a:moveTo>
                  <a:cubicBezTo>
                    <a:pt x="667" y="37"/>
                    <a:pt x="667" y="37"/>
                    <a:pt x="667" y="36"/>
                  </a:cubicBezTo>
                  <a:cubicBezTo>
                    <a:pt x="667" y="36"/>
                    <a:pt x="667" y="37"/>
                    <a:pt x="667" y="37"/>
                  </a:cubicBezTo>
                  <a:close/>
                  <a:moveTo>
                    <a:pt x="793" y="36"/>
                  </a:moveTo>
                  <a:cubicBezTo>
                    <a:pt x="793" y="37"/>
                    <a:pt x="793" y="37"/>
                    <a:pt x="794" y="37"/>
                  </a:cubicBezTo>
                  <a:cubicBezTo>
                    <a:pt x="794" y="37"/>
                    <a:pt x="793" y="36"/>
                    <a:pt x="793" y="36"/>
                  </a:cubicBezTo>
                  <a:close/>
                  <a:moveTo>
                    <a:pt x="1706" y="72"/>
                  </a:moveTo>
                  <a:cubicBezTo>
                    <a:pt x="1706" y="72"/>
                    <a:pt x="1706" y="71"/>
                    <a:pt x="1706" y="71"/>
                  </a:cubicBezTo>
                  <a:cubicBezTo>
                    <a:pt x="1706" y="71"/>
                    <a:pt x="1706" y="71"/>
                    <a:pt x="1706" y="72"/>
                  </a:cubicBezTo>
                  <a:close/>
                  <a:moveTo>
                    <a:pt x="861" y="36"/>
                  </a:moveTo>
                  <a:cubicBezTo>
                    <a:pt x="861" y="37"/>
                    <a:pt x="861" y="37"/>
                    <a:pt x="862" y="37"/>
                  </a:cubicBezTo>
                  <a:cubicBezTo>
                    <a:pt x="861" y="37"/>
                    <a:pt x="861" y="37"/>
                    <a:pt x="861" y="36"/>
                  </a:cubicBezTo>
                  <a:close/>
                  <a:moveTo>
                    <a:pt x="904" y="36"/>
                  </a:moveTo>
                  <a:cubicBezTo>
                    <a:pt x="904" y="37"/>
                    <a:pt x="904" y="37"/>
                    <a:pt x="904" y="37"/>
                  </a:cubicBezTo>
                  <a:cubicBezTo>
                    <a:pt x="904" y="37"/>
                    <a:pt x="904" y="37"/>
                    <a:pt x="904" y="36"/>
                  </a:cubicBezTo>
                  <a:close/>
                  <a:moveTo>
                    <a:pt x="1045" y="37"/>
                  </a:moveTo>
                  <a:cubicBezTo>
                    <a:pt x="1045" y="37"/>
                    <a:pt x="1045" y="37"/>
                    <a:pt x="1045" y="36"/>
                  </a:cubicBezTo>
                  <a:cubicBezTo>
                    <a:pt x="1045" y="37"/>
                    <a:pt x="1045" y="37"/>
                    <a:pt x="1045" y="37"/>
                  </a:cubicBezTo>
                  <a:close/>
                  <a:moveTo>
                    <a:pt x="1146" y="36"/>
                  </a:moveTo>
                  <a:cubicBezTo>
                    <a:pt x="1146" y="37"/>
                    <a:pt x="1146" y="37"/>
                    <a:pt x="1146" y="37"/>
                  </a:cubicBezTo>
                  <a:cubicBezTo>
                    <a:pt x="1146" y="37"/>
                    <a:pt x="1146" y="36"/>
                    <a:pt x="1146" y="36"/>
                  </a:cubicBezTo>
                  <a:close/>
                  <a:moveTo>
                    <a:pt x="1295" y="37"/>
                  </a:moveTo>
                  <a:cubicBezTo>
                    <a:pt x="1295" y="37"/>
                    <a:pt x="1296" y="37"/>
                    <a:pt x="1296" y="36"/>
                  </a:cubicBezTo>
                  <a:cubicBezTo>
                    <a:pt x="1295" y="36"/>
                    <a:pt x="1295" y="37"/>
                    <a:pt x="1295" y="37"/>
                  </a:cubicBezTo>
                  <a:close/>
                  <a:moveTo>
                    <a:pt x="835" y="37"/>
                  </a:moveTo>
                  <a:cubicBezTo>
                    <a:pt x="835" y="37"/>
                    <a:pt x="835" y="37"/>
                    <a:pt x="835" y="37"/>
                  </a:cubicBezTo>
                  <a:cubicBezTo>
                    <a:pt x="835" y="37"/>
                    <a:pt x="835" y="37"/>
                    <a:pt x="835" y="37"/>
                  </a:cubicBezTo>
                  <a:close/>
                  <a:moveTo>
                    <a:pt x="1368" y="72"/>
                  </a:moveTo>
                  <a:cubicBezTo>
                    <a:pt x="1367" y="72"/>
                    <a:pt x="1367" y="72"/>
                    <a:pt x="1367" y="72"/>
                  </a:cubicBezTo>
                  <a:cubicBezTo>
                    <a:pt x="1367" y="72"/>
                    <a:pt x="1368" y="72"/>
                    <a:pt x="1368" y="72"/>
                  </a:cubicBezTo>
                  <a:close/>
                  <a:moveTo>
                    <a:pt x="1537" y="72"/>
                  </a:moveTo>
                  <a:cubicBezTo>
                    <a:pt x="1538" y="72"/>
                    <a:pt x="1538" y="72"/>
                    <a:pt x="1538" y="72"/>
                  </a:cubicBezTo>
                  <a:cubicBezTo>
                    <a:pt x="1538" y="72"/>
                    <a:pt x="1538" y="72"/>
                    <a:pt x="1537" y="72"/>
                  </a:cubicBezTo>
                  <a:close/>
                  <a:moveTo>
                    <a:pt x="1552" y="72"/>
                  </a:moveTo>
                  <a:cubicBezTo>
                    <a:pt x="1552" y="72"/>
                    <a:pt x="1551" y="72"/>
                    <a:pt x="1551" y="72"/>
                  </a:cubicBezTo>
                  <a:cubicBezTo>
                    <a:pt x="1552" y="72"/>
                    <a:pt x="1552" y="72"/>
                    <a:pt x="1552" y="72"/>
                  </a:cubicBezTo>
                  <a:close/>
                  <a:moveTo>
                    <a:pt x="876" y="37"/>
                  </a:moveTo>
                  <a:cubicBezTo>
                    <a:pt x="876" y="37"/>
                    <a:pt x="876" y="37"/>
                    <a:pt x="876" y="37"/>
                  </a:cubicBezTo>
                  <a:cubicBezTo>
                    <a:pt x="876" y="37"/>
                    <a:pt x="876" y="37"/>
                    <a:pt x="876" y="37"/>
                  </a:cubicBezTo>
                  <a:close/>
                  <a:moveTo>
                    <a:pt x="1706" y="72"/>
                  </a:moveTo>
                  <a:cubicBezTo>
                    <a:pt x="1706" y="72"/>
                    <a:pt x="1706" y="72"/>
                    <a:pt x="1706" y="72"/>
                  </a:cubicBezTo>
                  <a:cubicBezTo>
                    <a:pt x="1706" y="72"/>
                    <a:pt x="1706" y="72"/>
                    <a:pt x="1706" y="72"/>
                  </a:cubicBezTo>
                  <a:close/>
                  <a:moveTo>
                    <a:pt x="1720" y="72"/>
                  </a:moveTo>
                  <a:cubicBezTo>
                    <a:pt x="1720" y="72"/>
                    <a:pt x="1720" y="72"/>
                    <a:pt x="1720" y="72"/>
                  </a:cubicBezTo>
                  <a:cubicBezTo>
                    <a:pt x="1720" y="72"/>
                    <a:pt x="1720" y="72"/>
                    <a:pt x="1720" y="72"/>
                  </a:cubicBezTo>
                  <a:close/>
                  <a:moveTo>
                    <a:pt x="1076" y="37"/>
                  </a:moveTo>
                  <a:cubicBezTo>
                    <a:pt x="1076" y="37"/>
                    <a:pt x="1076" y="37"/>
                    <a:pt x="1076" y="37"/>
                  </a:cubicBezTo>
                  <a:cubicBezTo>
                    <a:pt x="1076" y="37"/>
                    <a:pt x="1076" y="37"/>
                    <a:pt x="1076" y="37"/>
                  </a:cubicBezTo>
                  <a:close/>
                  <a:moveTo>
                    <a:pt x="1117" y="37"/>
                  </a:moveTo>
                  <a:cubicBezTo>
                    <a:pt x="1118" y="37"/>
                    <a:pt x="1118" y="37"/>
                    <a:pt x="1118" y="37"/>
                  </a:cubicBezTo>
                  <a:cubicBezTo>
                    <a:pt x="1118" y="37"/>
                    <a:pt x="1117" y="37"/>
                    <a:pt x="1117" y="37"/>
                  </a:cubicBezTo>
                  <a:close/>
                  <a:moveTo>
                    <a:pt x="1222" y="37"/>
                  </a:moveTo>
                  <a:cubicBezTo>
                    <a:pt x="1222" y="37"/>
                    <a:pt x="1222" y="37"/>
                    <a:pt x="1223" y="37"/>
                  </a:cubicBezTo>
                  <a:cubicBezTo>
                    <a:pt x="1222" y="37"/>
                    <a:pt x="1222" y="37"/>
                    <a:pt x="1222" y="37"/>
                  </a:cubicBezTo>
                  <a:close/>
                  <a:moveTo>
                    <a:pt x="1254" y="37"/>
                  </a:moveTo>
                  <a:cubicBezTo>
                    <a:pt x="1254" y="37"/>
                    <a:pt x="1254" y="37"/>
                    <a:pt x="1254" y="37"/>
                  </a:cubicBezTo>
                  <a:cubicBezTo>
                    <a:pt x="1254" y="37"/>
                    <a:pt x="1254" y="37"/>
                    <a:pt x="1254" y="37"/>
                  </a:cubicBezTo>
                  <a:close/>
                  <a:moveTo>
                    <a:pt x="1295" y="37"/>
                  </a:moveTo>
                  <a:cubicBezTo>
                    <a:pt x="1295" y="37"/>
                    <a:pt x="1295" y="37"/>
                    <a:pt x="1295" y="37"/>
                  </a:cubicBezTo>
                  <a:cubicBezTo>
                    <a:pt x="1295" y="37"/>
                    <a:pt x="1295" y="37"/>
                    <a:pt x="1295" y="37"/>
                  </a:cubicBezTo>
                  <a:close/>
                  <a:moveTo>
                    <a:pt x="666" y="38"/>
                  </a:moveTo>
                  <a:cubicBezTo>
                    <a:pt x="666" y="37"/>
                    <a:pt x="666" y="37"/>
                    <a:pt x="666" y="37"/>
                  </a:cubicBezTo>
                  <a:cubicBezTo>
                    <a:pt x="666" y="37"/>
                    <a:pt x="666" y="37"/>
                    <a:pt x="666" y="38"/>
                  </a:cubicBezTo>
                  <a:close/>
                  <a:moveTo>
                    <a:pt x="1537" y="72"/>
                  </a:moveTo>
                  <a:cubicBezTo>
                    <a:pt x="1537" y="72"/>
                    <a:pt x="1537" y="72"/>
                    <a:pt x="1538" y="72"/>
                  </a:cubicBezTo>
                  <a:cubicBezTo>
                    <a:pt x="1537" y="72"/>
                    <a:pt x="1537" y="72"/>
                    <a:pt x="1537" y="72"/>
                  </a:cubicBezTo>
                  <a:close/>
                  <a:moveTo>
                    <a:pt x="1551" y="72"/>
                  </a:moveTo>
                  <a:cubicBezTo>
                    <a:pt x="1551" y="72"/>
                    <a:pt x="1551" y="72"/>
                    <a:pt x="1551" y="72"/>
                  </a:cubicBezTo>
                  <a:cubicBezTo>
                    <a:pt x="1551" y="72"/>
                    <a:pt x="1551" y="72"/>
                    <a:pt x="1551" y="72"/>
                  </a:cubicBezTo>
                  <a:close/>
                  <a:moveTo>
                    <a:pt x="762" y="37"/>
                  </a:moveTo>
                  <a:cubicBezTo>
                    <a:pt x="762" y="37"/>
                    <a:pt x="762" y="37"/>
                    <a:pt x="762" y="37"/>
                  </a:cubicBezTo>
                  <a:cubicBezTo>
                    <a:pt x="762" y="37"/>
                    <a:pt x="762" y="37"/>
                    <a:pt x="762" y="37"/>
                  </a:cubicBezTo>
                  <a:close/>
                  <a:moveTo>
                    <a:pt x="1705" y="72"/>
                  </a:moveTo>
                  <a:cubicBezTo>
                    <a:pt x="1705" y="72"/>
                    <a:pt x="1706" y="72"/>
                    <a:pt x="1706" y="72"/>
                  </a:cubicBezTo>
                  <a:cubicBezTo>
                    <a:pt x="1706" y="72"/>
                    <a:pt x="1705" y="72"/>
                    <a:pt x="1705" y="72"/>
                  </a:cubicBezTo>
                  <a:close/>
                  <a:moveTo>
                    <a:pt x="1720" y="72"/>
                  </a:moveTo>
                  <a:cubicBezTo>
                    <a:pt x="1719" y="72"/>
                    <a:pt x="1719" y="72"/>
                    <a:pt x="1719" y="72"/>
                  </a:cubicBezTo>
                  <a:cubicBezTo>
                    <a:pt x="1719" y="72"/>
                    <a:pt x="1719" y="72"/>
                    <a:pt x="1720" y="72"/>
                  </a:cubicBezTo>
                  <a:close/>
                  <a:moveTo>
                    <a:pt x="794" y="37"/>
                  </a:moveTo>
                  <a:cubicBezTo>
                    <a:pt x="794" y="37"/>
                    <a:pt x="794" y="37"/>
                    <a:pt x="795" y="37"/>
                  </a:cubicBezTo>
                  <a:cubicBezTo>
                    <a:pt x="795" y="37"/>
                    <a:pt x="794" y="37"/>
                    <a:pt x="794" y="37"/>
                  </a:cubicBezTo>
                  <a:close/>
                  <a:moveTo>
                    <a:pt x="862" y="37"/>
                  </a:moveTo>
                  <a:cubicBezTo>
                    <a:pt x="862" y="37"/>
                    <a:pt x="862" y="38"/>
                    <a:pt x="862" y="38"/>
                  </a:cubicBezTo>
                  <a:cubicBezTo>
                    <a:pt x="862" y="37"/>
                    <a:pt x="862" y="37"/>
                    <a:pt x="862" y="37"/>
                  </a:cubicBezTo>
                  <a:close/>
                  <a:moveTo>
                    <a:pt x="1117" y="37"/>
                  </a:moveTo>
                  <a:cubicBezTo>
                    <a:pt x="1117" y="37"/>
                    <a:pt x="1117" y="37"/>
                    <a:pt x="1117" y="37"/>
                  </a:cubicBezTo>
                  <a:cubicBezTo>
                    <a:pt x="1117" y="37"/>
                    <a:pt x="1117" y="37"/>
                    <a:pt x="1117" y="37"/>
                  </a:cubicBezTo>
                  <a:close/>
                  <a:moveTo>
                    <a:pt x="1537" y="73"/>
                  </a:moveTo>
                  <a:cubicBezTo>
                    <a:pt x="1537" y="73"/>
                    <a:pt x="1537" y="72"/>
                    <a:pt x="1537" y="72"/>
                  </a:cubicBezTo>
                  <a:cubicBezTo>
                    <a:pt x="1537" y="72"/>
                    <a:pt x="1537" y="73"/>
                    <a:pt x="1537" y="73"/>
                  </a:cubicBezTo>
                  <a:close/>
                  <a:moveTo>
                    <a:pt x="1254" y="37"/>
                  </a:moveTo>
                  <a:cubicBezTo>
                    <a:pt x="1254" y="37"/>
                    <a:pt x="1254" y="37"/>
                    <a:pt x="1255" y="37"/>
                  </a:cubicBezTo>
                  <a:cubicBezTo>
                    <a:pt x="1254" y="37"/>
                    <a:pt x="1254" y="37"/>
                    <a:pt x="1254" y="37"/>
                  </a:cubicBezTo>
                  <a:close/>
                  <a:moveTo>
                    <a:pt x="1295" y="37"/>
                  </a:moveTo>
                  <a:cubicBezTo>
                    <a:pt x="1295" y="37"/>
                    <a:pt x="1295" y="37"/>
                    <a:pt x="1295" y="37"/>
                  </a:cubicBezTo>
                  <a:cubicBezTo>
                    <a:pt x="1295" y="37"/>
                    <a:pt x="1295" y="37"/>
                    <a:pt x="1295" y="37"/>
                  </a:cubicBezTo>
                  <a:close/>
                  <a:moveTo>
                    <a:pt x="1705" y="73"/>
                  </a:moveTo>
                  <a:cubicBezTo>
                    <a:pt x="1705" y="73"/>
                    <a:pt x="1705" y="72"/>
                    <a:pt x="1705" y="72"/>
                  </a:cubicBezTo>
                  <a:cubicBezTo>
                    <a:pt x="1705" y="72"/>
                    <a:pt x="1705" y="72"/>
                    <a:pt x="1705" y="73"/>
                  </a:cubicBezTo>
                  <a:close/>
                  <a:moveTo>
                    <a:pt x="666" y="38"/>
                  </a:moveTo>
                  <a:cubicBezTo>
                    <a:pt x="666" y="38"/>
                    <a:pt x="666" y="38"/>
                    <a:pt x="666" y="37"/>
                  </a:cubicBezTo>
                  <a:cubicBezTo>
                    <a:pt x="666" y="38"/>
                    <a:pt x="666" y="38"/>
                    <a:pt x="666" y="38"/>
                  </a:cubicBezTo>
                  <a:close/>
                  <a:moveTo>
                    <a:pt x="795" y="37"/>
                  </a:moveTo>
                  <a:cubicBezTo>
                    <a:pt x="795" y="38"/>
                    <a:pt x="795" y="38"/>
                    <a:pt x="795" y="38"/>
                  </a:cubicBezTo>
                  <a:cubicBezTo>
                    <a:pt x="795" y="38"/>
                    <a:pt x="795" y="38"/>
                    <a:pt x="795" y="37"/>
                  </a:cubicBezTo>
                  <a:close/>
                  <a:moveTo>
                    <a:pt x="862" y="38"/>
                  </a:moveTo>
                  <a:cubicBezTo>
                    <a:pt x="863" y="38"/>
                    <a:pt x="863" y="38"/>
                    <a:pt x="863" y="38"/>
                  </a:cubicBezTo>
                  <a:cubicBezTo>
                    <a:pt x="863" y="38"/>
                    <a:pt x="863" y="38"/>
                    <a:pt x="862" y="38"/>
                  </a:cubicBezTo>
                  <a:close/>
                  <a:moveTo>
                    <a:pt x="875" y="38"/>
                  </a:moveTo>
                  <a:cubicBezTo>
                    <a:pt x="875" y="38"/>
                    <a:pt x="875" y="38"/>
                    <a:pt x="875" y="38"/>
                  </a:cubicBezTo>
                  <a:cubicBezTo>
                    <a:pt x="875" y="38"/>
                    <a:pt x="875" y="38"/>
                    <a:pt x="875" y="38"/>
                  </a:cubicBezTo>
                  <a:close/>
                  <a:moveTo>
                    <a:pt x="905" y="38"/>
                  </a:moveTo>
                  <a:cubicBezTo>
                    <a:pt x="905" y="38"/>
                    <a:pt x="905" y="38"/>
                    <a:pt x="906" y="38"/>
                  </a:cubicBezTo>
                  <a:cubicBezTo>
                    <a:pt x="906" y="38"/>
                    <a:pt x="905" y="38"/>
                    <a:pt x="905" y="38"/>
                  </a:cubicBezTo>
                  <a:close/>
                  <a:moveTo>
                    <a:pt x="696" y="73"/>
                  </a:moveTo>
                  <a:cubicBezTo>
                    <a:pt x="696" y="73"/>
                    <a:pt x="696" y="73"/>
                    <a:pt x="696" y="73"/>
                  </a:cubicBezTo>
                  <a:cubicBezTo>
                    <a:pt x="696" y="73"/>
                    <a:pt x="696" y="73"/>
                    <a:pt x="696" y="73"/>
                  </a:cubicBezTo>
                  <a:close/>
                  <a:moveTo>
                    <a:pt x="1043" y="38"/>
                  </a:moveTo>
                  <a:cubicBezTo>
                    <a:pt x="1043" y="38"/>
                    <a:pt x="1044" y="38"/>
                    <a:pt x="1044" y="38"/>
                  </a:cubicBezTo>
                  <a:cubicBezTo>
                    <a:pt x="1043" y="38"/>
                    <a:pt x="1043" y="38"/>
                    <a:pt x="1043" y="38"/>
                  </a:cubicBezTo>
                  <a:close/>
                  <a:moveTo>
                    <a:pt x="1366" y="73"/>
                  </a:moveTo>
                  <a:cubicBezTo>
                    <a:pt x="1366" y="73"/>
                    <a:pt x="1366" y="73"/>
                    <a:pt x="1366" y="73"/>
                  </a:cubicBezTo>
                  <a:cubicBezTo>
                    <a:pt x="1366" y="73"/>
                    <a:pt x="1366" y="73"/>
                    <a:pt x="1366" y="73"/>
                  </a:cubicBezTo>
                  <a:close/>
                  <a:moveTo>
                    <a:pt x="1536" y="73"/>
                  </a:moveTo>
                  <a:cubicBezTo>
                    <a:pt x="1537" y="73"/>
                    <a:pt x="1537" y="73"/>
                    <a:pt x="1537" y="73"/>
                  </a:cubicBezTo>
                  <a:cubicBezTo>
                    <a:pt x="1537" y="73"/>
                    <a:pt x="1537" y="73"/>
                    <a:pt x="1536" y="73"/>
                  </a:cubicBezTo>
                  <a:close/>
                  <a:moveTo>
                    <a:pt x="1705" y="73"/>
                  </a:moveTo>
                  <a:cubicBezTo>
                    <a:pt x="1705" y="73"/>
                    <a:pt x="1705" y="73"/>
                    <a:pt x="1705" y="73"/>
                  </a:cubicBezTo>
                  <a:cubicBezTo>
                    <a:pt x="1705" y="73"/>
                    <a:pt x="1705" y="73"/>
                    <a:pt x="1705" y="73"/>
                  </a:cubicBezTo>
                  <a:close/>
                  <a:moveTo>
                    <a:pt x="1147" y="38"/>
                  </a:moveTo>
                  <a:cubicBezTo>
                    <a:pt x="1147" y="38"/>
                    <a:pt x="1147" y="38"/>
                    <a:pt x="1148" y="38"/>
                  </a:cubicBezTo>
                  <a:cubicBezTo>
                    <a:pt x="1148" y="38"/>
                    <a:pt x="1147" y="38"/>
                    <a:pt x="1147" y="38"/>
                  </a:cubicBezTo>
                  <a:close/>
                  <a:moveTo>
                    <a:pt x="696" y="73"/>
                  </a:moveTo>
                  <a:cubicBezTo>
                    <a:pt x="696" y="73"/>
                    <a:pt x="697" y="73"/>
                    <a:pt x="697" y="73"/>
                  </a:cubicBezTo>
                  <a:cubicBezTo>
                    <a:pt x="697" y="73"/>
                    <a:pt x="697" y="73"/>
                    <a:pt x="696" y="73"/>
                  </a:cubicBezTo>
                  <a:close/>
                  <a:moveTo>
                    <a:pt x="1366" y="73"/>
                  </a:moveTo>
                  <a:cubicBezTo>
                    <a:pt x="1366" y="73"/>
                    <a:pt x="1365" y="73"/>
                    <a:pt x="1365" y="73"/>
                  </a:cubicBezTo>
                  <a:cubicBezTo>
                    <a:pt x="1366" y="73"/>
                    <a:pt x="1366" y="73"/>
                    <a:pt x="1366" y="73"/>
                  </a:cubicBezTo>
                  <a:close/>
                  <a:moveTo>
                    <a:pt x="1221" y="38"/>
                  </a:moveTo>
                  <a:cubicBezTo>
                    <a:pt x="1221" y="38"/>
                    <a:pt x="1221" y="38"/>
                    <a:pt x="1222" y="38"/>
                  </a:cubicBezTo>
                  <a:cubicBezTo>
                    <a:pt x="1221" y="38"/>
                    <a:pt x="1221" y="38"/>
                    <a:pt x="1221" y="38"/>
                  </a:cubicBezTo>
                  <a:close/>
                  <a:moveTo>
                    <a:pt x="1536" y="73"/>
                  </a:moveTo>
                  <a:cubicBezTo>
                    <a:pt x="1536" y="73"/>
                    <a:pt x="1536" y="73"/>
                    <a:pt x="1536" y="73"/>
                  </a:cubicBezTo>
                  <a:cubicBezTo>
                    <a:pt x="1536" y="73"/>
                    <a:pt x="1536" y="73"/>
                    <a:pt x="1536" y="73"/>
                  </a:cubicBezTo>
                  <a:close/>
                  <a:moveTo>
                    <a:pt x="1550" y="73"/>
                  </a:moveTo>
                  <a:cubicBezTo>
                    <a:pt x="1550" y="73"/>
                    <a:pt x="1550" y="73"/>
                    <a:pt x="1550" y="73"/>
                  </a:cubicBezTo>
                  <a:cubicBezTo>
                    <a:pt x="1550" y="73"/>
                    <a:pt x="1550" y="73"/>
                    <a:pt x="1550" y="73"/>
                  </a:cubicBezTo>
                  <a:close/>
                  <a:moveTo>
                    <a:pt x="550" y="38"/>
                  </a:moveTo>
                  <a:cubicBezTo>
                    <a:pt x="550" y="38"/>
                    <a:pt x="550" y="38"/>
                    <a:pt x="551" y="38"/>
                  </a:cubicBezTo>
                  <a:cubicBezTo>
                    <a:pt x="551" y="38"/>
                    <a:pt x="550" y="38"/>
                    <a:pt x="550" y="38"/>
                  </a:cubicBezTo>
                  <a:close/>
                  <a:moveTo>
                    <a:pt x="1704" y="73"/>
                  </a:moveTo>
                  <a:cubicBezTo>
                    <a:pt x="1704" y="73"/>
                    <a:pt x="1705" y="73"/>
                    <a:pt x="1705" y="73"/>
                  </a:cubicBezTo>
                  <a:cubicBezTo>
                    <a:pt x="1704" y="73"/>
                    <a:pt x="1704" y="73"/>
                    <a:pt x="1704" y="73"/>
                  </a:cubicBezTo>
                  <a:close/>
                  <a:moveTo>
                    <a:pt x="1718" y="73"/>
                  </a:moveTo>
                  <a:cubicBezTo>
                    <a:pt x="1718" y="73"/>
                    <a:pt x="1718" y="73"/>
                    <a:pt x="1718" y="73"/>
                  </a:cubicBezTo>
                  <a:cubicBezTo>
                    <a:pt x="1718" y="73"/>
                    <a:pt x="1718" y="73"/>
                    <a:pt x="1718" y="73"/>
                  </a:cubicBezTo>
                  <a:close/>
                  <a:moveTo>
                    <a:pt x="611" y="118"/>
                  </a:moveTo>
                  <a:cubicBezTo>
                    <a:pt x="611" y="118"/>
                    <a:pt x="611" y="118"/>
                    <a:pt x="611" y="118"/>
                  </a:cubicBezTo>
                  <a:cubicBezTo>
                    <a:pt x="611" y="118"/>
                    <a:pt x="611" y="118"/>
                    <a:pt x="611" y="118"/>
                  </a:cubicBezTo>
                  <a:close/>
                  <a:moveTo>
                    <a:pt x="833" y="38"/>
                  </a:moveTo>
                  <a:cubicBezTo>
                    <a:pt x="834" y="38"/>
                    <a:pt x="834" y="38"/>
                    <a:pt x="834" y="38"/>
                  </a:cubicBezTo>
                  <a:cubicBezTo>
                    <a:pt x="834" y="38"/>
                    <a:pt x="833" y="38"/>
                    <a:pt x="833" y="38"/>
                  </a:cubicBezTo>
                  <a:close/>
                  <a:moveTo>
                    <a:pt x="863" y="38"/>
                  </a:moveTo>
                  <a:cubicBezTo>
                    <a:pt x="863" y="38"/>
                    <a:pt x="863" y="38"/>
                    <a:pt x="863" y="38"/>
                  </a:cubicBezTo>
                  <a:cubicBezTo>
                    <a:pt x="863" y="38"/>
                    <a:pt x="863" y="38"/>
                    <a:pt x="863" y="38"/>
                  </a:cubicBezTo>
                  <a:close/>
                  <a:moveTo>
                    <a:pt x="610" y="119"/>
                  </a:moveTo>
                  <a:cubicBezTo>
                    <a:pt x="610" y="119"/>
                    <a:pt x="611" y="119"/>
                    <a:pt x="611" y="119"/>
                  </a:cubicBezTo>
                  <a:cubicBezTo>
                    <a:pt x="610" y="119"/>
                    <a:pt x="610" y="119"/>
                    <a:pt x="610" y="119"/>
                  </a:cubicBezTo>
                  <a:close/>
                  <a:moveTo>
                    <a:pt x="874" y="38"/>
                  </a:moveTo>
                  <a:cubicBezTo>
                    <a:pt x="875" y="38"/>
                    <a:pt x="875" y="38"/>
                    <a:pt x="875" y="38"/>
                  </a:cubicBezTo>
                  <a:cubicBezTo>
                    <a:pt x="875" y="38"/>
                    <a:pt x="874" y="38"/>
                    <a:pt x="874" y="38"/>
                  </a:cubicBezTo>
                  <a:close/>
                  <a:moveTo>
                    <a:pt x="610" y="119"/>
                  </a:moveTo>
                  <a:cubicBezTo>
                    <a:pt x="610" y="119"/>
                    <a:pt x="610" y="119"/>
                    <a:pt x="610" y="119"/>
                  </a:cubicBezTo>
                  <a:cubicBezTo>
                    <a:pt x="610" y="119"/>
                    <a:pt x="610" y="119"/>
                    <a:pt x="610" y="119"/>
                  </a:cubicBezTo>
                  <a:close/>
                  <a:moveTo>
                    <a:pt x="610" y="120"/>
                  </a:moveTo>
                  <a:cubicBezTo>
                    <a:pt x="610" y="120"/>
                    <a:pt x="610" y="120"/>
                    <a:pt x="610" y="119"/>
                  </a:cubicBezTo>
                  <a:cubicBezTo>
                    <a:pt x="610" y="119"/>
                    <a:pt x="610" y="119"/>
                    <a:pt x="610" y="120"/>
                  </a:cubicBezTo>
                  <a:close/>
                  <a:moveTo>
                    <a:pt x="906" y="38"/>
                  </a:moveTo>
                  <a:cubicBezTo>
                    <a:pt x="906" y="38"/>
                    <a:pt x="906" y="38"/>
                    <a:pt x="906" y="38"/>
                  </a:cubicBezTo>
                  <a:cubicBezTo>
                    <a:pt x="906" y="38"/>
                    <a:pt x="906" y="38"/>
                    <a:pt x="906" y="38"/>
                  </a:cubicBezTo>
                  <a:close/>
                  <a:moveTo>
                    <a:pt x="609" y="120"/>
                  </a:moveTo>
                  <a:cubicBezTo>
                    <a:pt x="609" y="120"/>
                    <a:pt x="610" y="120"/>
                    <a:pt x="610" y="120"/>
                  </a:cubicBezTo>
                  <a:cubicBezTo>
                    <a:pt x="609" y="120"/>
                    <a:pt x="609" y="120"/>
                    <a:pt x="609" y="120"/>
                  </a:cubicBezTo>
                  <a:close/>
                  <a:moveTo>
                    <a:pt x="609" y="120"/>
                  </a:moveTo>
                  <a:cubicBezTo>
                    <a:pt x="609" y="120"/>
                    <a:pt x="609" y="120"/>
                    <a:pt x="609" y="120"/>
                  </a:cubicBezTo>
                  <a:cubicBezTo>
                    <a:pt x="609" y="120"/>
                    <a:pt x="609" y="120"/>
                    <a:pt x="609" y="120"/>
                  </a:cubicBezTo>
                  <a:close/>
                  <a:moveTo>
                    <a:pt x="621" y="120"/>
                  </a:moveTo>
                  <a:cubicBezTo>
                    <a:pt x="621" y="120"/>
                    <a:pt x="621" y="120"/>
                    <a:pt x="621" y="120"/>
                  </a:cubicBezTo>
                  <a:cubicBezTo>
                    <a:pt x="621" y="120"/>
                    <a:pt x="621" y="120"/>
                    <a:pt x="621" y="120"/>
                  </a:cubicBezTo>
                  <a:close/>
                  <a:moveTo>
                    <a:pt x="609" y="121"/>
                  </a:moveTo>
                  <a:cubicBezTo>
                    <a:pt x="609" y="121"/>
                    <a:pt x="609" y="121"/>
                    <a:pt x="609" y="120"/>
                  </a:cubicBezTo>
                  <a:cubicBezTo>
                    <a:pt x="609" y="120"/>
                    <a:pt x="609" y="121"/>
                    <a:pt x="609" y="121"/>
                  </a:cubicBezTo>
                  <a:close/>
                  <a:moveTo>
                    <a:pt x="1043" y="38"/>
                  </a:moveTo>
                  <a:cubicBezTo>
                    <a:pt x="1043" y="38"/>
                    <a:pt x="1043" y="38"/>
                    <a:pt x="1043" y="38"/>
                  </a:cubicBezTo>
                  <a:cubicBezTo>
                    <a:pt x="1043" y="38"/>
                    <a:pt x="1043" y="38"/>
                    <a:pt x="1043" y="38"/>
                  </a:cubicBezTo>
                  <a:close/>
                  <a:moveTo>
                    <a:pt x="608" y="121"/>
                  </a:moveTo>
                  <a:cubicBezTo>
                    <a:pt x="608" y="121"/>
                    <a:pt x="608" y="121"/>
                    <a:pt x="609" y="121"/>
                  </a:cubicBezTo>
                  <a:cubicBezTo>
                    <a:pt x="608" y="121"/>
                    <a:pt x="608" y="121"/>
                    <a:pt x="608" y="121"/>
                  </a:cubicBezTo>
                  <a:close/>
                  <a:moveTo>
                    <a:pt x="608" y="121"/>
                  </a:moveTo>
                  <a:cubicBezTo>
                    <a:pt x="608" y="121"/>
                    <a:pt x="608" y="121"/>
                    <a:pt x="608" y="121"/>
                  </a:cubicBezTo>
                  <a:cubicBezTo>
                    <a:pt x="608" y="121"/>
                    <a:pt x="608" y="121"/>
                    <a:pt x="608" y="121"/>
                  </a:cubicBezTo>
                  <a:close/>
                  <a:moveTo>
                    <a:pt x="1077" y="38"/>
                  </a:moveTo>
                  <a:cubicBezTo>
                    <a:pt x="1077" y="38"/>
                    <a:pt x="1077" y="38"/>
                    <a:pt x="1078" y="38"/>
                  </a:cubicBezTo>
                  <a:cubicBezTo>
                    <a:pt x="1078" y="38"/>
                    <a:pt x="1077" y="38"/>
                    <a:pt x="1077" y="38"/>
                  </a:cubicBezTo>
                  <a:close/>
                  <a:moveTo>
                    <a:pt x="1148" y="38"/>
                  </a:moveTo>
                  <a:cubicBezTo>
                    <a:pt x="1148" y="38"/>
                    <a:pt x="1148" y="38"/>
                    <a:pt x="1148" y="38"/>
                  </a:cubicBezTo>
                  <a:cubicBezTo>
                    <a:pt x="1148" y="38"/>
                    <a:pt x="1148" y="38"/>
                    <a:pt x="1148" y="38"/>
                  </a:cubicBezTo>
                  <a:close/>
                  <a:moveTo>
                    <a:pt x="620" y="122"/>
                  </a:moveTo>
                  <a:cubicBezTo>
                    <a:pt x="620" y="122"/>
                    <a:pt x="620" y="122"/>
                    <a:pt x="620" y="122"/>
                  </a:cubicBezTo>
                  <a:cubicBezTo>
                    <a:pt x="620" y="122"/>
                    <a:pt x="620" y="122"/>
                    <a:pt x="620" y="122"/>
                  </a:cubicBezTo>
                  <a:close/>
                  <a:moveTo>
                    <a:pt x="1255" y="38"/>
                  </a:moveTo>
                  <a:cubicBezTo>
                    <a:pt x="1255" y="38"/>
                    <a:pt x="1255" y="38"/>
                    <a:pt x="1256" y="38"/>
                  </a:cubicBezTo>
                  <a:cubicBezTo>
                    <a:pt x="1255" y="38"/>
                    <a:pt x="1255" y="38"/>
                    <a:pt x="1255" y="38"/>
                  </a:cubicBezTo>
                  <a:close/>
                  <a:moveTo>
                    <a:pt x="760" y="39"/>
                  </a:moveTo>
                  <a:cubicBezTo>
                    <a:pt x="760" y="38"/>
                    <a:pt x="761" y="38"/>
                    <a:pt x="761" y="38"/>
                  </a:cubicBezTo>
                  <a:cubicBezTo>
                    <a:pt x="760" y="38"/>
                    <a:pt x="760" y="38"/>
                    <a:pt x="760" y="39"/>
                  </a:cubicBezTo>
                  <a:close/>
                  <a:moveTo>
                    <a:pt x="796" y="38"/>
                  </a:moveTo>
                  <a:cubicBezTo>
                    <a:pt x="796" y="38"/>
                    <a:pt x="796" y="39"/>
                    <a:pt x="796" y="39"/>
                  </a:cubicBezTo>
                  <a:cubicBezTo>
                    <a:pt x="796" y="38"/>
                    <a:pt x="796" y="38"/>
                    <a:pt x="796" y="38"/>
                  </a:cubicBezTo>
                  <a:close/>
                  <a:moveTo>
                    <a:pt x="1536" y="74"/>
                  </a:moveTo>
                  <a:cubicBezTo>
                    <a:pt x="1536" y="74"/>
                    <a:pt x="1536" y="74"/>
                    <a:pt x="1536" y="73"/>
                  </a:cubicBezTo>
                  <a:cubicBezTo>
                    <a:pt x="1536" y="73"/>
                    <a:pt x="1536" y="74"/>
                    <a:pt x="1536" y="74"/>
                  </a:cubicBezTo>
                  <a:close/>
                  <a:moveTo>
                    <a:pt x="1550" y="73"/>
                  </a:moveTo>
                  <a:cubicBezTo>
                    <a:pt x="1549" y="73"/>
                    <a:pt x="1549" y="73"/>
                    <a:pt x="1549" y="74"/>
                  </a:cubicBezTo>
                  <a:cubicBezTo>
                    <a:pt x="1549" y="74"/>
                    <a:pt x="1550" y="73"/>
                    <a:pt x="1550" y="73"/>
                  </a:cubicBezTo>
                  <a:close/>
                  <a:moveTo>
                    <a:pt x="1675" y="73"/>
                  </a:moveTo>
                  <a:cubicBezTo>
                    <a:pt x="1675" y="74"/>
                    <a:pt x="1675" y="74"/>
                    <a:pt x="1675" y="74"/>
                  </a:cubicBezTo>
                  <a:cubicBezTo>
                    <a:pt x="1675" y="74"/>
                    <a:pt x="1675" y="73"/>
                    <a:pt x="1675" y="73"/>
                  </a:cubicBezTo>
                  <a:close/>
                  <a:moveTo>
                    <a:pt x="620" y="123"/>
                  </a:moveTo>
                  <a:cubicBezTo>
                    <a:pt x="619" y="123"/>
                    <a:pt x="619" y="123"/>
                    <a:pt x="619" y="123"/>
                  </a:cubicBezTo>
                  <a:cubicBezTo>
                    <a:pt x="619" y="123"/>
                    <a:pt x="619" y="123"/>
                    <a:pt x="620" y="123"/>
                  </a:cubicBezTo>
                  <a:close/>
                  <a:moveTo>
                    <a:pt x="1704" y="74"/>
                  </a:moveTo>
                  <a:cubicBezTo>
                    <a:pt x="1704" y="74"/>
                    <a:pt x="1704" y="74"/>
                    <a:pt x="1704" y="73"/>
                  </a:cubicBezTo>
                  <a:cubicBezTo>
                    <a:pt x="1704" y="73"/>
                    <a:pt x="1704" y="74"/>
                    <a:pt x="1704" y="74"/>
                  </a:cubicBezTo>
                  <a:close/>
                  <a:moveTo>
                    <a:pt x="1718" y="73"/>
                  </a:moveTo>
                  <a:cubicBezTo>
                    <a:pt x="1718" y="73"/>
                    <a:pt x="1717" y="73"/>
                    <a:pt x="1717" y="74"/>
                  </a:cubicBezTo>
                  <a:cubicBezTo>
                    <a:pt x="1718" y="74"/>
                    <a:pt x="1718" y="73"/>
                    <a:pt x="1718" y="73"/>
                  </a:cubicBezTo>
                  <a:close/>
                  <a:moveTo>
                    <a:pt x="833" y="39"/>
                  </a:moveTo>
                  <a:cubicBezTo>
                    <a:pt x="833" y="39"/>
                    <a:pt x="833" y="38"/>
                    <a:pt x="833" y="38"/>
                  </a:cubicBezTo>
                  <a:cubicBezTo>
                    <a:pt x="833" y="38"/>
                    <a:pt x="833" y="38"/>
                    <a:pt x="833" y="39"/>
                  </a:cubicBezTo>
                  <a:close/>
                  <a:moveTo>
                    <a:pt x="863" y="38"/>
                  </a:moveTo>
                  <a:cubicBezTo>
                    <a:pt x="863" y="38"/>
                    <a:pt x="863" y="39"/>
                    <a:pt x="864" y="39"/>
                  </a:cubicBezTo>
                  <a:cubicBezTo>
                    <a:pt x="864" y="38"/>
                    <a:pt x="863" y="38"/>
                    <a:pt x="863" y="38"/>
                  </a:cubicBezTo>
                  <a:close/>
                  <a:moveTo>
                    <a:pt x="618" y="124"/>
                  </a:moveTo>
                  <a:cubicBezTo>
                    <a:pt x="618" y="124"/>
                    <a:pt x="618" y="124"/>
                    <a:pt x="618" y="124"/>
                  </a:cubicBezTo>
                  <a:cubicBezTo>
                    <a:pt x="618" y="124"/>
                    <a:pt x="618" y="124"/>
                    <a:pt x="618" y="124"/>
                  </a:cubicBezTo>
                  <a:close/>
                  <a:moveTo>
                    <a:pt x="618" y="124"/>
                  </a:moveTo>
                  <a:cubicBezTo>
                    <a:pt x="618" y="125"/>
                    <a:pt x="618" y="125"/>
                    <a:pt x="618" y="125"/>
                  </a:cubicBezTo>
                  <a:cubicBezTo>
                    <a:pt x="618" y="125"/>
                    <a:pt x="618" y="125"/>
                    <a:pt x="618" y="124"/>
                  </a:cubicBezTo>
                  <a:close/>
                  <a:moveTo>
                    <a:pt x="874" y="39"/>
                  </a:moveTo>
                  <a:cubicBezTo>
                    <a:pt x="874" y="38"/>
                    <a:pt x="874" y="38"/>
                    <a:pt x="874" y="38"/>
                  </a:cubicBezTo>
                  <a:cubicBezTo>
                    <a:pt x="874" y="38"/>
                    <a:pt x="874" y="38"/>
                    <a:pt x="874" y="39"/>
                  </a:cubicBezTo>
                  <a:close/>
                  <a:moveTo>
                    <a:pt x="617" y="126"/>
                  </a:moveTo>
                  <a:cubicBezTo>
                    <a:pt x="617" y="126"/>
                    <a:pt x="617" y="126"/>
                    <a:pt x="617" y="126"/>
                  </a:cubicBezTo>
                  <a:cubicBezTo>
                    <a:pt x="617" y="126"/>
                    <a:pt x="617" y="126"/>
                    <a:pt x="617" y="126"/>
                  </a:cubicBezTo>
                  <a:close/>
                  <a:moveTo>
                    <a:pt x="617" y="126"/>
                  </a:moveTo>
                  <a:cubicBezTo>
                    <a:pt x="617" y="126"/>
                    <a:pt x="616" y="126"/>
                    <a:pt x="616" y="127"/>
                  </a:cubicBezTo>
                  <a:cubicBezTo>
                    <a:pt x="617" y="126"/>
                    <a:pt x="617" y="126"/>
                    <a:pt x="617" y="126"/>
                  </a:cubicBezTo>
                  <a:close/>
                  <a:moveTo>
                    <a:pt x="616" y="126"/>
                  </a:moveTo>
                  <a:cubicBezTo>
                    <a:pt x="616" y="127"/>
                    <a:pt x="616" y="127"/>
                    <a:pt x="616" y="127"/>
                  </a:cubicBezTo>
                  <a:cubicBezTo>
                    <a:pt x="616" y="127"/>
                    <a:pt x="616" y="127"/>
                    <a:pt x="616" y="126"/>
                  </a:cubicBezTo>
                  <a:close/>
                  <a:moveTo>
                    <a:pt x="616" y="127"/>
                  </a:moveTo>
                  <a:cubicBezTo>
                    <a:pt x="616" y="127"/>
                    <a:pt x="616" y="127"/>
                    <a:pt x="616" y="127"/>
                  </a:cubicBezTo>
                  <a:cubicBezTo>
                    <a:pt x="616" y="127"/>
                    <a:pt x="616" y="127"/>
                    <a:pt x="616" y="127"/>
                  </a:cubicBezTo>
                  <a:close/>
                  <a:moveTo>
                    <a:pt x="616" y="127"/>
                  </a:moveTo>
                  <a:cubicBezTo>
                    <a:pt x="615" y="127"/>
                    <a:pt x="615" y="127"/>
                    <a:pt x="615" y="128"/>
                  </a:cubicBezTo>
                  <a:cubicBezTo>
                    <a:pt x="616" y="128"/>
                    <a:pt x="616" y="127"/>
                    <a:pt x="616" y="127"/>
                  </a:cubicBezTo>
                  <a:close/>
                  <a:moveTo>
                    <a:pt x="615" y="128"/>
                  </a:moveTo>
                  <a:cubicBezTo>
                    <a:pt x="615" y="128"/>
                    <a:pt x="615" y="128"/>
                    <a:pt x="615" y="128"/>
                  </a:cubicBezTo>
                  <a:cubicBezTo>
                    <a:pt x="615" y="128"/>
                    <a:pt x="615" y="128"/>
                    <a:pt x="615" y="128"/>
                  </a:cubicBezTo>
                  <a:close/>
                  <a:moveTo>
                    <a:pt x="1365" y="74"/>
                  </a:moveTo>
                  <a:cubicBezTo>
                    <a:pt x="1365" y="74"/>
                    <a:pt x="1365" y="74"/>
                    <a:pt x="1364" y="74"/>
                  </a:cubicBezTo>
                  <a:cubicBezTo>
                    <a:pt x="1365" y="74"/>
                    <a:pt x="1365" y="74"/>
                    <a:pt x="1365" y="74"/>
                  </a:cubicBezTo>
                  <a:close/>
                  <a:moveTo>
                    <a:pt x="614" y="129"/>
                  </a:moveTo>
                  <a:cubicBezTo>
                    <a:pt x="614" y="129"/>
                    <a:pt x="614" y="129"/>
                    <a:pt x="614" y="129"/>
                  </a:cubicBezTo>
                  <a:cubicBezTo>
                    <a:pt x="614" y="129"/>
                    <a:pt x="614" y="129"/>
                    <a:pt x="614" y="129"/>
                  </a:cubicBezTo>
                  <a:close/>
                  <a:moveTo>
                    <a:pt x="614" y="129"/>
                  </a:moveTo>
                  <a:cubicBezTo>
                    <a:pt x="613" y="129"/>
                    <a:pt x="613" y="129"/>
                    <a:pt x="613" y="129"/>
                  </a:cubicBezTo>
                  <a:cubicBezTo>
                    <a:pt x="613" y="129"/>
                    <a:pt x="614" y="129"/>
                    <a:pt x="614" y="129"/>
                  </a:cubicBezTo>
                  <a:close/>
                  <a:moveTo>
                    <a:pt x="1535" y="74"/>
                  </a:moveTo>
                  <a:cubicBezTo>
                    <a:pt x="1536" y="74"/>
                    <a:pt x="1536" y="74"/>
                    <a:pt x="1536" y="74"/>
                  </a:cubicBezTo>
                  <a:cubicBezTo>
                    <a:pt x="1536" y="74"/>
                    <a:pt x="1536" y="74"/>
                    <a:pt x="1535" y="74"/>
                  </a:cubicBezTo>
                  <a:close/>
                  <a:moveTo>
                    <a:pt x="613" y="130"/>
                  </a:moveTo>
                  <a:cubicBezTo>
                    <a:pt x="612" y="130"/>
                    <a:pt x="612" y="130"/>
                    <a:pt x="612" y="130"/>
                  </a:cubicBezTo>
                  <a:cubicBezTo>
                    <a:pt x="612" y="130"/>
                    <a:pt x="612" y="130"/>
                    <a:pt x="613" y="130"/>
                  </a:cubicBezTo>
                  <a:close/>
                  <a:moveTo>
                    <a:pt x="906" y="38"/>
                  </a:moveTo>
                  <a:cubicBezTo>
                    <a:pt x="906" y="38"/>
                    <a:pt x="906" y="39"/>
                    <a:pt x="906" y="39"/>
                  </a:cubicBezTo>
                  <a:cubicBezTo>
                    <a:pt x="906" y="38"/>
                    <a:pt x="906" y="38"/>
                    <a:pt x="906" y="38"/>
                  </a:cubicBezTo>
                  <a:close/>
                  <a:moveTo>
                    <a:pt x="612" y="130"/>
                  </a:moveTo>
                  <a:cubicBezTo>
                    <a:pt x="611" y="130"/>
                    <a:pt x="611" y="130"/>
                    <a:pt x="611" y="131"/>
                  </a:cubicBezTo>
                  <a:cubicBezTo>
                    <a:pt x="611" y="131"/>
                    <a:pt x="611" y="131"/>
                    <a:pt x="612" y="130"/>
                  </a:cubicBezTo>
                  <a:close/>
                  <a:moveTo>
                    <a:pt x="611" y="131"/>
                  </a:moveTo>
                  <a:cubicBezTo>
                    <a:pt x="611" y="131"/>
                    <a:pt x="611" y="131"/>
                    <a:pt x="610" y="131"/>
                  </a:cubicBezTo>
                  <a:cubicBezTo>
                    <a:pt x="611" y="131"/>
                    <a:pt x="611" y="131"/>
                    <a:pt x="611" y="131"/>
                  </a:cubicBezTo>
                  <a:close/>
                  <a:moveTo>
                    <a:pt x="1078" y="38"/>
                  </a:moveTo>
                  <a:cubicBezTo>
                    <a:pt x="1078" y="38"/>
                    <a:pt x="1078" y="38"/>
                    <a:pt x="1078" y="38"/>
                  </a:cubicBezTo>
                  <a:cubicBezTo>
                    <a:pt x="1078" y="38"/>
                    <a:pt x="1078" y="38"/>
                    <a:pt x="1078" y="38"/>
                  </a:cubicBezTo>
                  <a:close/>
                  <a:moveTo>
                    <a:pt x="1704" y="74"/>
                  </a:moveTo>
                  <a:cubicBezTo>
                    <a:pt x="1704" y="74"/>
                    <a:pt x="1704" y="74"/>
                    <a:pt x="1704" y="74"/>
                  </a:cubicBezTo>
                  <a:cubicBezTo>
                    <a:pt x="1704" y="74"/>
                    <a:pt x="1704" y="74"/>
                    <a:pt x="1704" y="74"/>
                  </a:cubicBezTo>
                  <a:close/>
                  <a:moveTo>
                    <a:pt x="1116" y="39"/>
                  </a:moveTo>
                  <a:cubicBezTo>
                    <a:pt x="1116" y="39"/>
                    <a:pt x="1116" y="38"/>
                    <a:pt x="1116" y="38"/>
                  </a:cubicBezTo>
                  <a:cubicBezTo>
                    <a:pt x="1116" y="38"/>
                    <a:pt x="1116" y="38"/>
                    <a:pt x="1116" y="39"/>
                  </a:cubicBezTo>
                  <a:close/>
                  <a:moveTo>
                    <a:pt x="1148" y="38"/>
                  </a:moveTo>
                  <a:cubicBezTo>
                    <a:pt x="1148" y="38"/>
                    <a:pt x="1148" y="39"/>
                    <a:pt x="1148" y="39"/>
                  </a:cubicBezTo>
                  <a:cubicBezTo>
                    <a:pt x="1148" y="38"/>
                    <a:pt x="1148" y="38"/>
                    <a:pt x="1148" y="38"/>
                  </a:cubicBezTo>
                  <a:close/>
                  <a:moveTo>
                    <a:pt x="1255" y="38"/>
                  </a:moveTo>
                  <a:cubicBezTo>
                    <a:pt x="1256" y="38"/>
                    <a:pt x="1256" y="39"/>
                    <a:pt x="1256" y="39"/>
                  </a:cubicBezTo>
                  <a:cubicBezTo>
                    <a:pt x="1256" y="38"/>
                    <a:pt x="1256" y="38"/>
                    <a:pt x="1255" y="38"/>
                  </a:cubicBezTo>
                  <a:close/>
                  <a:moveTo>
                    <a:pt x="664" y="39"/>
                  </a:moveTo>
                  <a:cubicBezTo>
                    <a:pt x="664" y="39"/>
                    <a:pt x="665" y="39"/>
                    <a:pt x="665" y="39"/>
                  </a:cubicBezTo>
                  <a:cubicBezTo>
                    <a:pt x="664" y="39"/>
                    <a:pt x="664" y="39"/>
                    <a:pt x="664" y="39"/>
                  </a:cubicBezTo>
                  <a:close/>
                  <a:moveTo>
                    <a:pt x="1044" y="84"/>
                  </a:moveTo>
                  <a:cubicBezTo>
                    <a:pt x="1044" y="84"/>
                    <a:pt x="1044" y="84"/>
                    <a:pt x="1044" y="84"/>
                  </a:cubicBezTo>
                  <a:cubicBezTo>
                    <a:pt x="1044" y="84"/>
                    <a:pt x="1044" y="84"/>
                    <a:pt x="1044" y="84"/>
                  </a:cubicBezTo>
                  <a:close/>
                  <a:moveTo>
                    <a:pt x="1638" y="50"/>
                  </a:moveTo>
                  <a:cubicBezTo>
                    <a:pt x="1638" y="51"/>
                    <a:pt x="1639" y="51"/>
                    <a:pt x="1639" y="51"/>
                  </a:cubicBezTo>
                  <a:cubicBezTo>
                    <a:pt x="1645" y="51"/>
                    <a:pt x="1650" y="52"/>
                    <a:pt x="1655" y="51"/>
                  </a:cubicBezTo>
                  <a:cubicBezTo>
                    <a:pt x="1659" y="51"/>
                    <a:pt x="1663" y="50"/>
                    <a:pt x="1665" y="48"/>
                  </a:cubicBezTo>
                  <a:cubicBezTo>
                    <a:pt x="1672" y="43"/>
                    <a:pt x="1673" y="37"/>
                    <a:pt x="1672" y="30"/>
                  </a:cubicBezTo>
                  <a:cubicBezTo>
                    <a:pt x="1671" y="24"/>
                    <a:pt x="1668" y="21"/>
                    <a:pt x="1663" y="19"/>
                  </a:cubicBezTo>
                  <a:cubicBezTo>
                    <a:pt x="1661" y="18"/>
                    <a:pt x="1659" y="18"/>
                    <a:pt x="1657" y="18"/>
                  </a:cubicBezTo>
                  <a:cubicBezTo>
                    <a:pt x="1651" y="17"/>
                    <a:pt x="1646" y="17"/>
                    <a:pt x="1640" y="17"/>
                  </a:cubicBezTo>
                  <a:cubicBezTo>
                    <a:pt x="1639" y="17"/>
                    <a:pt x="1639" y="17"/>
                    <a:pt x="1639" y="19"/>
                  </a:cubicBezTo>
                  <a:cubicBezTo>
                    <a:pt x="1638" y="24"/>
                    <a:pt x="1638" y="29"/>
                    <a:pt x="1638" y="34"/>
                  </a:cubicBezTo>
                  <a:cubicBezTo>
                    <a:pt x="1638" y="40"/>
                    <a:pt x="1639" y="45"/>
                    <a:pt x="1638" y="50"/>
                  </a:cubicBezTo>
                  <a:close/>
                  <a:moveTo>
                    <a:pt x="1422" y="75"/>
                  </a:moveTo>
                  <a:cubicBezTo>
                    <a:pt x="1423" y="79"/>
                    <a:pt x="1425" y="84"/>
                    <a:pt x="1427" y="87"/>
                  </a:cubicBezTo>
                  <a:cubicBezTo>
                    <a:pt x="1432" y="94"/>
                    <a:pt x="1439" y="95"/>
                    <a:pt x="1445" y="93"/>
                  </a:cubicBezTo>
                  <a:cubicBezTo>
                    <a:pt x="1450" y="92"/>
                    <a:pt x="1452" y="89"/>
                    <a:pt x="1455" y="85"/>
                  </a:cubicBezTo>
                  <a:cubicBezTo>
                    <a:pt x="1457" y="80"/>
                    <a:pt x="1458" y="75"/>
                    <a:pt x="1459" y="70"/>
                  </a:cubicBezTo>
                  <a:cubicBezTo>
                    <a:pt x="1460" y="64"/>
                    <a:pt x="1460" y="57"/>
                    <a:pt x="1460" y="51"/>
                  </a:cubicBezTo>
                  <a:cubicBezTo>
                    <a:pt x="1459" y="45"/>
                    <a:pt x="1459" y="38"/>
                    <a:pt x="1457" y="32"/>
                  </a:cubicBezTo>
                  <a:cubicBezTo>
                    <a:pt x="1456" y="28"/>
                    <a:pt x="1455" y="25"/>
                    <a:pt x="1453" y="21"/>
                  </a:cubicBezTo>
                  <a:cubicBezTo>
                    <a:pt x="1449" y="16"/>
                    <a:pt x="1444" y="14"/>
                    <a:pt x="1437" y="15"/>
                  </a:cubicBezTo>
                  <a:cubicBezTo>
                    <a:pt x="1432" y="16"/>
                    <a:pt x="1429" y="19"/>
                    <a:pt x="1427" y="23"/>
                  </a:cubicBezTo>
                  <a:cubicBezTo>
                    <a:pt x="1425" y="26"/>
                    <a:pt x="1424" y="30"/>
                    <a:pt x="1423" y="34"/>
                  </a:cubicBezTo>
                  <a:cubicBezTo>
                    <a:pt x="1421" y="41"/>
                    <a:pt x="1421" y="48"/>
                    <a:pt x="1421" y="54"/>
                  </a:cubicBezTo>
                  <a:cubicBezTo>
                    <a:pt x="1421" y="62"/>
                    <a:pt x="1421" y="69"/>
                    <a:pt x="1422" y="75"/>
                  </a:cubicBezTo>
                  <a:close/>
                  <a:moveTo>
                    <a:pt x="1043" y="61"/>
                  </a:moveTo>
                  <a:cubicBezTo>
                    <a:pt x="1052" y="61"/>
                    <a:pt x="1062" y="61"/>
                    <a:pt x="1072" y="61"/>
                  </a:cubicBezTo>
                  <a:cubicBezTo>
                    <a:pt x="1073" y="61"/>
                    <a:pt x="1075" y="61"/>
                    <a:pt x="1076" y="61"/>
                  </a:cubicBezTo>
                  <a:cubicBezTo>
                    <a:pt x="1077" y="61"/>
                    <a:pt x="1077" y="61"/>
                    <a:pt x="1077" y="60"/>
                  </a:cubicBezTo>
                  <a:cubicBezTo>
                    <a:pt x="1077" y="57"/>
                    <a:pt x="1076" y="54"/>
                    <a:pt x="1075" y="51"/>
                  </a:cubicBezTo>
                  <a:cubicBezTo>
                    <a:pt x="1073" y="47"/>
                    <a:pt x="1070" y="44"/>
                    <a:pt x="1066" y="43"/>
                  </a:cubicBezTo>
                  <a:cubicBezTo>
                    <a:pt x="1062" y="42"/>
                    <a:pt x="1059" y="42"/>
                    <a:pt x="1055" y="43"/>
                  </a:cubicBezTo>
                  <a:cubicBezTo>
                    <a:pt x="1048" y="44"/>
                    <a:pt x="1042" y="52"/>
                    <a:pt x="1041" y="61"/>
                  </a:cubicBezTo>
                  <a:cubicBezTo>
                    <a:pt x="1041" y="61"/>
                    <a:pt x="1042" y="61"/>
                    <a:pt x="1043" y="61"/>
                  </a:cubicBezTo>
                  <a:close/>
                  <a:moveTo>
                    <a:pt x="760" y="61"/>
                  </a:moveTo>
                  <a:cubicBezTo>
                    <a:pt x="771" y="61"/>
                    <a:pt x="782" y="61"/>
                    <a:pt x="793" y="61"/>
                  </a:cubicBezTo>
                  <a:cubicBezTo>
                    <a:pt x="793" y="61"/>
                    <a:pt x="793" y="61"/>
                    <a:pt x="794" y="61"/>
                  </a:cubicBezTo>
                  <a:cubicBezTo>
                    <a:pt x="794" y="62"/>
                    <a:pt x="795" y="61"/>
                    <a:pt x="795" y="60"/>
                  </a:cubicBezTo>
                  <a:cubicBezTo>
                    <a:pt x="794" y="57"/>
                    <a:pt x="794" y="53"/>
                    <a:pt x="792" y="49"/>
                  </a:cubicBezTo>
                  <a:cubicBezTo>
                    <a:pt x="790" y="47"/>
                    <a:pt x="788" y="44"/>
                    <a:pt x="785" y="43"/>
                  </a:cubicBezTo>
                  <a:cubicBezTo>
                    <a:pt x="779" y="41"/>
                    <a:pt x="773" y="41"/>
                    <a:pt x="767" y="45"/>
                  </a:cubicBezTo>
                  <a:cubicBezTo>
                    <a:pt x="762" y="49"/>
                    <a:pt x="760" y="55"/>
                    <a:pt x="758" y="61"/>
                  </a:cubicBezTo>
                  <a:cubicBezTo>
                    <a:pt x="759" y="62"/>
                    <a:pt x="760" y="61"/>
                    <a:pt x="760" y="61"/>
                  </a:cubicBezTo>
                  <a:close/>
                  <a:moveTo>
                    <a:pt x="1221" y="61"/>
                  </a:moveTo>
                  <a:cubicBezTo>
                    <a:pt x="1229" y="61"/>
                    <a:pt x="1238" y="61"/>
                    <a:pt x="1247" y="61"/>
                  </a:cubicBezTo>
                  <a:cubicBezTo>
                    <a:pt x="1249" y="61"/>
                    <a:pt x="1251" y="61"/>
                    <a:pt x="1254" y="61"/>
                  </a:cubicBezTo>
                  <a:cubicBezTo>
                    <a:pt x="1254" y="61"/>
                    <a:pt x="1255" y="61"/>
                    <a:pt x="1255" y="60"/>
                  </a:cubicBezTo>
                  <a:cubicBezTo>
                    <a:pt x="1254" y="57"/>
                    <a:pt x="1254" y="53"/>
                    <a:pt x="1252" y="50"/>
                  </a:cubicBezTo>
                  <a:cubicBezTo>
                    <a:pt x="1250" y="47"/>
                    <a:pt x="1248" y="44"/>
                    <a:pt x="1245" y="43"/>
                  </a:cubicBezTo>
                  <a:cubicBezTo>
                    <a:pt x="1239" y="41"/>
                    <a:pt x="1234" y="41"/>
                    <a:pt x="1229" y="45"/>
                  </a:cubicBezTo>
                  <a:cubicBezTo>
                    <a:pt x="1222" y="48"/>
                    <a:pt x="1220" y="54"/>
                    <a:pt x="1218" y="61"/>
                  </a:cubicBezTo>
                  <a:cubicBezTo>
                    <a:pt x="1219" y="61"/>
                    <a:pt x="1220" y="61"/>
                    <a:pt x="1221" y="61"/>
                  </a:cubicBezTo>
                  <a:close/>
                  <a:moveTo>
                    <a:pt x="248" y="73"/>
                  </a:moveTo>
                  <a:cubicBezTo>
                    <a:pt x="248" y="75"/>
                    <a:pt x="248" y="77"/>
                    <a:pt x="249" y="78"/>
                  </a:cubicBezTo>
                  <a:cubicBezTo>
                    <a:pt x="251" y="85"/>
                    <a:pt x="255" y="90"/>
                    <a:pt x="262" y="93"/>
                  </a:cubicBezTo>
                  <a:cubicBezTo>
                    <a:pt x="265" y="94"/>
                    <a:pt x="269" y="94"/>
                    <a:pt x="272" y="94"/>
                  </a:cubicBezTo>
                  <a:cubicBezTo>
                    <a:pt x="281" y="93"/>
                    <a:pt x="286" y="89"/>
                    <a:pt x="289" y="81"/>
                  </a:cubicBezTo>
                  <a:cubicBezTo>
                    <a:pt x="290" y="78"/>
                    <a:pt x="291" y="75"/>
                    <a:pt x="291" y="72"/>
                  </a:cubicBezTo>
                  <a:cubicBezTo>
                    <a:pt x="292" y="66"/>
                    <a:pt x="291" y="60"/>
                    <a:pt x="289" y="55"/>
                  </a:cubicBezTo>
                  <a:cubicBezTo>
                    <a:pt x="287" y="49"/>
                    <a:pt x="283" y="45"/>
                    <a:pt x="277" y="43"/>
                  </a:cubicBezTo>
                  <a:cubicBezTo>
                    <a:pt x="274" y="42"/>
                    <a:pt x="271" y="42"/>
                    <a:pt x="269" y="42"/>
                  </a:cubicBezTo>
                  <a:cubicBezTo>
                    <a:pt x="260" y="42"/>
                    <a:pt x="253" y="47"/>
                    <a:pt x="250" y="55"/>
                  </a:cubicBezTo>
                  <a:cubicBezTo>
                    <a:pt x="248" y="59"/>
                    <a:pt x="247" y="64"/>
                    <a:pt x="247" y="68"/>
                  </a:cubicBezTo>
                  <a:cubicBezTo>
                    <a:pt x="247" y="70"/>
                    <a:pt x="247" y="72"/>
                    <a:pt x="248" y="73"/>
                  </a:cubicBezTo>
                  <a:close/>
                  <a:moveTo>
                    <a:pt x="370" y="78"/>
                  </a:moveTo>
                  <a:cubicBezTo>
                    <a:pt x="372" y="86"/>
                    <a:pt x="377" y="91"/>
                    <a:pt x="384" y="93"/>
                  </a:cubicBezTo>
                  <a:cubicBezTo>
                    <a:pt x="387" y="94"/>
                    <a:pt x="391" y="94"/>
                    <a:pt x="394" y="94"/>
                  </a:cubicBezTo>
                  <a:cubicBezTo>
                    <a:pt x="402" y="93"/>
                    <a:pt x="408" y="89"/>
                    <a:pt x="411" y="81"/>
                  </a:cubicBezTo>
                  <a:cubicBezTo>
                    <a:pt x="412" y="78"/>
                    <a:pt x="412" y="75"/>
                    <a:pt x="413" y="71"/>
                  </a:cubicBezTo>
                  <a:cubicBezTo>
                    <a:pt x="413" y="65"/>
                    <a:pt x="413" y="60"/>
                    <a:pt x="410" y="54"/>
                  </a:cubicBezTo>
                  <a:cubicBezTo>
                    <a:pt x="408" y="48"/>
                    <a:pt x="404" y="45"/>
                    <a:pt x="398" y="43"/>
                  </a:cubicBezTo>
                  <a:cubicBezTo>
                    <a:pt x="395" y="42"/>
                    <a:pt x="393" y="42"/>
                    <a:pt x="390" y="42"/>
                  </a:cubicBezTo>
                  <a:cubicBezTo>
                    <a:pt x="381" y="42"/>
                    <a:pt x="374" y="47"/>
                    <a:pt x="371" y="55"/>
                  </a:cubicBezTo>
                  <a:cubicBezTo>
                    <a:pt x="369" y="59"/>
                    <a:pt x="369" y="64"/>
                    <a:pt x="369" y="68"/>
                  </a:cubicBezTo>
                  <a:cubicBezTo>
                    <a:pt x="369" y="72"/>
                    <a:pt x="369" y="75"/>
                    <a:pt x="370" y="78"/>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pic>
          <p:nvPicPr>
            <p:cNvPr id="28" name="Picture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239" y="4219720"/>
              <a:ext cx="412401" cy="412402"/>
            </a:xfrm>
            <a:prstGeom prst="rect">
              <a:avLst/>
            </a:prstGeom>
          </p:spPr>
        </p:pic>
      </p:grpSp>
    </p:spTree>
    <p:extLst>
      <p:ext uri="{BB962C8B-B14F-4D97-AF65-F5344CB8AC3E}">
        <p14:creationId xmlns:p14="http://schemas.microsoft.com/office/powerpoint/2010/main" val="113446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422" y="177483"/>
            <a:ext cx="12037574" cy="738536"/>
          </a:xfrm>
        </p:spPr>
        <p:txBody>
          <a:bodyPr/>
          <a:lstStyle/>
          <a:p>
            <a:r>
              <a:rPr lang="en-US" sz="3999" dirty="0"/>
              <a:t>Increasing the value in Active Directory Federation Services</a:t>
            </a:r>
          </a:p>
        </p:txBody>
      </p:sp>
      <p:sp>
        <p:nvSpPr>
          <p:cNvPr id="3" name="Slide Number Placeholder 2"/>
          <p:cNvSpPr>
            <a:spLocks noGrp="1"/>
          </p:cNvSpPr>
          <p:nvPr>
            <p:ph type="sldNum" sz="quarter" idx="4294967295"/>
          </p:nvPr>
        </p:nvSpPr>
        <p:spPr>
          <a:xfrm>
            <a:off x="11649404" y="6572576"/>
            <a:ext cx="511592" cy="124633"/>
          </a:xfrm>
          <a:prstGeom prst="rect">
            <a:avLst/>
          </a:prstGeom>
        </p:spPr>
        <p:txBody>
          <a:bodyPr/>
          <a:lstStyle/>
          <a:p>
            <a:pPr>
              <a:lnSpc>
                <a:spcPct val="90000"/>
              </a:lnSpc>
            </a:pPr>
            <a:fld id="{1BC86A1F-E589-44B2-A543-2EC98F5547A7}" type="slidenum">
              <a:rPr lang="en-US" smtClean="0"/>
              <a:pPr>
                <a:lnSpc>
                  <a:spcPct val="90000"/>
                </a:lnSpc>
              </a:pPr>
              <a:t>3</a:t>
            </a:fld>
            <a:endParaRPr lang="en-US" dirty="0"/>
          </a:p>
        </p:txBody>
      </p:sp>
      <p:grpSp>
        <p:nvGrpSpPr>
          <p:cNvPr id="37" name="Group 36"/>
          <p:cNvGrpSpPr/>
          <p:nvPr/>
        </p:nvGrpSpPr>
        <p:grpSpPr>
          <a:xfrm>
            <a:off x="5224556" y="2973120"/>
            <a:ext cx="1511724" cy="951618"/>
            <a:chOff x="4578712" y="2079136"/>
            <a:chExt cx="1511939" cy="951753"/>
          </a:xfrm>
        </p:grpSpPr>
        <p:sp>
          <p:nvSpPr>
            <p:cNvPr id="38" name="TextBox 37"/>
            <p:cNvSpPr txBox="1"/>
            <p:nvPr/>
          </p:nvSpPr>
          <p:spPr>
            <a:xfrm>
              <a:off x="4902284" y="2079136"/>
              <a:ext cx="871677" cy="300618"/>
            </a:xfrm>
            <a:prstGeom prst="rect">
              <a:avLst/>
            </a:prstGeom>
            <a:noFill/>
            <a:ln>
              <a:noFill/>
            </a:ln>
          </p:spPr>
          <p:txBody>
            <a:bodyPr wrap="square" lIns="101954" tIns="50976" rIns="101954" bIns="50976" rtlCol="0">
              <a:spAutoFit/>
            </a:bodyPr>
            <a:lstStyle/>
            <a:p>
              <a:pPr algn="ctr" defTabSz="1221248" eaLnBrk="0" hangingPunct="0">
                <a:lnSpc>
                  <a:spcPct val="90000"/>
                </a:lnSpc>
                <a:spcBef>
                  <a:spcPct val="30000"/>
                </a:spcBef>
                <a:buClr>
                  <a:srgbClr val="1F497D"/>
                </a:buClr>
                <a:buSzPct val="95000"/>
                <a:defRPr/>
              </a:pPr>
              <a:r>
                <a:rPr lang="en-US" sz="1399" dirty="0">
                  <a:solidFill>
                    <a:srgbClr val="C00000"/>
                  </a:solidFill>
                  <a:latin typeface="Segoe UI" pitchFamily="34" charset="0"/>
                  <a:ea typeface="Segoe UI" pitchFamily="34" charset="0"/>
                  <a:cs typeface="Segoe UI" pitchFamily="34" charset="0"/>
                </a:rPr>
                <a:t>Firewall</a:t>
              </a:r>
            </a:p>
          </p:txBody>
        </p:sp>
        <p:pic>
          <p:nvPicPr>
            <p:cNvPr id="39" name="Picture 38"/>
            <p:cNvPicPr>
              <a:picLocks noChangeAspect="1"/>
            </p:cNvPicPr>
            <p:nvPr/>
          </p:nvPicPr>
          <p:blipFill rotWithShape="1">
            <a:blip r:embed="rId4"/>
            <a:srcRect t="44814"/>
            <a:stretch/>
          </p:blipFill>
          <p:spPr>
            <a:xfrm>
              <a:off x="4578712" y="2344540"/>
              <a:ext cx="1511939" cy="686349"/>
            </a:xfrm>
            <a:prstGeom prst="rect">
              <a:avLst/>
            </a:prstGeom>
          </p:spPr>
        </p:pic>
      </p:grpSp>
      <p:grpSp>
        <p:nvGrpSpPr>
          <p:cNvPr id="40" name="Group 39"/>
          <p:cNvGrpSpPr/>
          <p:nvPr/>
        </p:nvGrpSpPr>
        <p:grpSpPr>
          <a:xfrm>
            <a:off x="9117221" y="1879211"/>
            <a:ext cx="776281" cy="1026896"/>
            <a:chOff x="3948223" y="4570416"/>
            <a:chExt cx="776391" cy="1027041"/>
          </a:xfrm>
        </p:grpSpPr>
        <p:sp>
          <p:nvSpPr>
            <p:cNvPr id="41" name="Rectangle 40"/>
            <p:cNvSpPr/>
            <p:nvPr/>
          </p:nvSpPr>
          <p:spPr>
            <a:xfrm>
              <a:off x="3988939" y="5409414"/>
              <a:ext cx="735675"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00188F"/>
                  </a:solidFill>
                </a:rPr>
                <a:t>ADFS</a:t>
              </a:r>
            </a:p>
          </p:txBody>
        </p:sp>
        <p:grpSp>
          <p:nvGrpSpPr>
            <p:cNvPr id="42" name="Group 41"/>
            <p:cNvGrpSpPr/>
            <p:nvPr/>
          </p:nvGrpSpPr>
          <p:grpSpPr>
            <a:xfrm>
              <a:off x="3948223" y="4570416"/>
              <a:ext cx="616106" cy="766394"/>
              <a:chOff x="7318521" y="2021335"/>
              <a:chExt cx="616106" cy="766394"/>
            </a:xfrm>
          </p:grpSpPr>
          <p:sp>
            <p:nvSpPr>
              <p:cNvPr id="43" name="Rounded Rectangle 2058"/>
              <p:cNvSpPr>
                <a:spLocks noChangeAspect="1"/>
              </p:cNvSpPr>
              <p:nvPr/>
            </p:nvSpPr>
            <p:spPr bwMode="auto">
              <a:xfrm>
                <a:off x="7545585" y="2021335"/>
                <a:ext cx="389042" cy="766394"/>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44" name="Group 43"/>
              <p:cNvGrpSpPr>
                <a:grpSpLocks noChangeAspect="1"/>
              </p:cNvGrpSpPr>
              <p:nvPr/>
            </p:nvGrpSpPr>
            <p:grpSpPr>
              <a:xfrm>
                <a:off x="7318521" y="2175555"/>
                <a:ext cx="401083" cy="264866"/>
                <a:chOff x="1840649" y="4818296"/>
                <a:chExt cx="966161" cy="691914"/>
              </a:xfrm>
            </p:grpSpPr>
            <p:sp>
              <p:nvSpPr>
                <p:cNvPr id="45" name="Freeform 44"/>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6" name="Freeform 45"/>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7" name="Oval 46"/>
                <p:cNvSpPr>
                  <a:spLocks noChangeAspect="1" noChangeArrowheads="1"/>
                </p:cNvSpPr>
                <p:nvPr/>
              </p:nvSpPr>
              <p:spPr bwMode="auto">
                <a:xfrm>
                  <a:off x="2201709" y="4985896"/>
                  <a:ext cx="91441" cy="91439"/>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8" name="Oval 47"/>
                <p:cNvSpPr>
                  <a:spLocks noChangeAspect="1" noChangeArrowheads="1"/>
                </p:cNvSpPr>
                <p:nvPr/>
              </p:nvSpPr>
              <p:spPr bwMode="auto">
                <a:xfrm flipH="1">
                  <a:off x="2351276" y="4985914"/>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49" name="Oval 48"/>
                <p:cNvSpPr>
                  <a:spLocks noChangeAspect="1" noChangeArrowheads="1"/>
                </p:cNvSpPr>
                <p:nvPr/>
              </p:nvSpPr>
              <p:spPr bwMode="auto">
                <a:xfrm>
                  <a:off x="2201709" y="531709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50" name="Oval 49"/>
                <p:cNvSpPr>
                  <a:spLocks noChangeAspect="1" noChangeArrowheads="1"/>
                </p:cNvSpPr>
                <p:nvPr/>
              </p:nvSpPr>
              <p:spPr bwMode="auto">
                <a:xfrm flipH="1">
                  <a:off x="2351276" y="5317110"/>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51" name="Oval 50"/>
                <p:cNvSpPr>
                  <a:spLocks noChangeAspect="1" noChangeArrowheads="1"/>
                </p:cNvSpPr>
                <p:nvPr/>
              </p:nvSpPr>
              <p:spPr bwMode="auto">
                <a:xfrm flipH="1">
                  <a:off x="2477440"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52" name="Oval 51"/>
                <p:cNvSpPr>
                  <a:spLocks noChangeAspect="1" noChangeArrowheads="1"/>
                </p:cNvSpPr>
                <p:nvPr/>
              </p:nvSpPr>
              <p:spPr bwMode="auto">
                <a:xfrm>
                  <a:off x="2077441"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53" name="Oval 52"/>
                <p:cNvSpPr>
                  <a:spLocks noChangeAspect="1" noChangeArrowheads="1"/>
                </p:cNvSpPr>
                <p:nvPr/>
              </p:nvSpPr>
              <p:spPr bwMode="auto">
                <a:xfrm flipH="1">
                  <a:off x="2603604"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54" name="Oval 53"/>
                <p:cNvSpPr>
                  <a:spLocks noChangeAspect="1" noChangeArrowheads="1"/>
                </p:cNvSpPr>
                <p:nvPr/>
              </p:nvSpPr>
              <p:spPr bwMode="auto">
                <a:xfrm flipH="1">
                  <a:off x="1953173"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55" name="Arc 54"/>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56" name="Arc 55"/>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57" name="Arc 56"/>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58" name="Straight Connector 57"/>
                <p:cNvCxnSpPr>
                  <a:stCxn id="47" idx="4"/>
                  <a:endCxn id="49"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59" name="Oval 58"/>
                <p:cNvSpPr>
                  <a:spLocks noChangeAspect="1" noChangeArrowheads="1"/>
                </p:cNvSpPr>
                <p:nvPr/>
              </p:nvSpPr>
              <p:spPr bwMode="auto">
                <a:xfrm>
                  <a:off x="2201709" y="513992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60" name="Straight Connector 59"/>
                <p:cNvCxnSpPr>
                  <a:stCxn id="48" idx="4"/>
                  <a:endCxn id="50"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61" name="Oval 60"/>
                <p:cNvSpPr>
                  <a:spLocks noChangeAspect="1" noChangeArrowheads="1"/>
                </p:cNvSpPr>
                <p:nvPr/>
              </p:nvSpPr>
              <p:spPr bwMode="auto">
                <a:xfrm flipH="1">
                  <a:off x="2351275" y="5139945"/>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62" name="Straight Connector 61"/>
                <p:cNvCxnSpPr>
                  <a:stCxn id="48" idx="3"/>
                  <a:endCxn id="53"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63" name="Oval 62"/>
                <p:cNvSpPr>
                  <a:spLocks noChangeAspect="1" noChangeArrowheads="1"/>
                </p:cNvSpPr>
                <p:nvPr/>
              </p:nvSpPr>
              <p:spPr bwMode="auto">
                <a:xfrm flipH="1">
                  <a:off x="2477440" y="513185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64" name="Straight Connector 63"/>
                <p:cNvCxnSpPr>
                  <a:stCxn id="47" idx="3"/>
                  <a:endCxn id="54"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65" name="Oval 64"/>
                <p:cNvSpPr>
                  <a:spLocks noChangeAspect="1" noChangeArrowheads="1"/>
                </p:cNvSpPr>
                <p:nvPr/>
              </p:nvSpPr>
              <p:spPr bwMode="auto">
                <a:xfrm>
                  <a:off x="2082174" y="5131848"/>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66" name="Straight Connector 65"/>
                <p:cNvCxnSpPr>
                  <a:stCxn id="59" idx="3"/>
                  <a:endCxn id="52" idx="7"/>
                </p:cNvCxnSpPr>
                <p:nvPr/>
              </p:nvCxnSpPr>
              <p:spPr>
                <a:xfrm flipH="1">
                  <a:off x="2155490" y="5217976"/>
                  <a:ext cx="59610" cy="88697"/>
                </a:xfrm>
                <a:prstGeom prst="line">
                  <a:avLst/>
                </a:prstGeom>
                <a:noFill/>
                <a:ln w="9525" cap="flat" cmpd="sng" algn="ctr">
                  <a:solidFill>
                    <a:srgbClr val="0070C0"/>
                  </a:solidFill>
                  <a:prstDash val="solid"/>
                </a:ln>
                <a:effectLst/>
              </p:spPr>
            </p:cxnSp>
            <p:cxnSp>
              <p:nvCxnSpPr>
                <p:cNvPr id="67" name="Straight Connector 66"/>
                <p:cNvCxnSpPr>
                  <a:stCxn id="61" idx="3"/>
                  <a:endCxn id="51" idx="7"/>
                </p:cNvCxnSpPr>
                <p:nvPr/>
              </p:nvCxnSpPr>
              <p:spPr>
                <a:xfrm>
                  <a:off x="2429325" y="5217994"/>
                  <a:ext cx="61506" cy="88679"/>
                </a:xfrm>
                <a:prstGeom prst="line">
                  <a:avLst/>
                </a:prstGeom>
                <a:noFill/>
                <a:ln w="9525" cap="flat" cmpd="sng" algn="ctr">
                  <a:solidFill>
                    <a:srgbClr val="0070C0"/>
                  </a:solidFill>
                  <a:prstDash val="solid"/>
                </a:ln>
                <a:effectLst/>
              </p:spPr>
            </p:cxnSp>
          </p:grpSp>
        </p:grpSp>
      </p:grpSp>
      <p:grpSp>
        <p:nvGrpSpPr>
          <p:cNvPr id="68" name="Group 67"/>
          <p:cNvGrpSpPr/>
          <p:nvPr/>
        </p:nvGrpSpPr>
        <p:grpSpPr>
          <a:xfrm>
            <a:off x="9948569" y="1781262"/>
            <a:ext cx="1707494" cy="1229741"/>
            <a:chOff x="8455917" y="2215627"/>
            <a:chExt cx="1707737" cy="1229915"/>
          </a:xfrm>
        </p:grpSpPr>
        <p:pic>
          <p:nvPicPr>
            <p:cNvPr id="69" name="Picture 6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71651" y="2215627"/>
              <a:ext cx="1220770" cy="807774"/>
            </a:xfrm>
            <a:prstGeom prst="rect">
              <a:avLst/>
            </a:prstGeom>
          </p:spPr>
        </p:pic>
        <p:grpSp>
          <p:nvGrpSpPr>
            <p:cNvPr id="70" name="Group 69"/>
            <p:cNvGrpSpPr/>
            <p:nvPr/>
          </p:nvGrpSpPr>
          <p:grpSpPr>
            <a:xfrm>
              <a:off x="8455917" y="2985464"/>
              <a:ext cx="1707737" cy="460078"/>
              <a:chOff x="9942438" y="2170061"/>
              <a:chExt cx="1707737" cy="460078"/>
            </a:xfrm>
          </p:grpSpPr>
          <p:pic>
            <p:nvPicPr>
              <p:cNvPr id="71" name="Picture 7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42438" y="2170061"/>
                <a:ext cx="1707312" cy="401309"/>
              </a:xfrm>
              <a:prstGeom prst="rect">
                <a:avLst/>
              </a:prstGeom>
            </p:spPr>
          </p:pic>
          <p:sp>
            <p:nvSpPr>
              <p:cNvPr id="72" name="Rectangle 71"/>
              <p:cNvSpPr/>
              <p:nvPr/>
            </p:nvSpPr>
            <p:spPr>
              <a:xfrm>
                <a:off x="10072148" y="2441901"/>
                <a:ext cx="1578027" cy="188238"/>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chemeClr val="accent1"/>
                    </a:solidFill>
                  </a:rPr>
                  <a:t>Active Directory</a:t>
                </a:r>
              </a:p>
            </p:txBody>
          </p:sp>
        </p:grpSp>
      </p:grpSp>
      <p:grpSp>
        <p:nvGrpSpPr>
          <p:cNvPr id="73" name="Group 72"/>
          <p:cNvGrpSpPr/>
          <p:nvPr/>
        </p:nvGrpSpPr>
        <p:grpSpPr>
          <a:xfrm>
            <a:off x="8973291" y="3518550"/>
            <a:ext cx="3187706" cy="2703829"/>
            <a:chOff x="8983574" y="1271765"/>
            <a:chExt cx="3188159" cy="2704212"/>
          </a:xfrm>
        </p:grpSpPr>
        <p:grpSp>
          <p:nvGrpSpPr>
            <p:cNvPr id="74" name="Group 73"/>
            <p:cNvGrpSpPr/>
            <p:nvPr/>
          </p:nvGrpSpPr>
          <p:grpSpPr>
            <a:xfrm>
              <a:off x="9335241" y="1637769"/>
              <a:ext cx="890300" cy="1310628"/>
              <a:chOff x="8687015" y="1827830"/>
              <a:chExt cx="890300" cy="1310628"/>
            </a:xfrm>
          </p:grpSpPr>
          <p:sp>
            <p:nvSpPr>
              <p:cNvPr id="83" name="Rectangle 82"/>
              <p:cNvSpPr/>
              <p:nvPr/>
            </p:nvSpPr>
            <p:spPr>
              <a:xfrm>
                <a:off x="8687015" y="2574331"/>
                <a:ext cx="890300" cy="564127"/>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00188F"/>
                    </a:solidFill>
                  </a:rPr>
                  <a:t>Claims &amp; Kerberos web apps</a:t>
                </a:r>
              </a:p>
            </p:txBody>
          </p:sp>
          <p:sp>
            <p:nvSpPr>
              <p:cNvPr id="84" name="Rounded Rectangle 2058"/>
              <p:cNvSpPr>
                <a:spLocks noChangeAspect="1"/>
              </p:cNvSpPr>
              <p:nvPr/>
            </p:nvSpPr>
            <p:spPr bwMode="auto">
              <a:xfrm>
                <a:off x="8975893" y="1827830"/>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5" name="Group 74"/>
            <p:cNvGrpSpPr/>
            <p:nvPr/>
          </p:nvGrpSpPr>
          <p:grpSpPr>
            <a:xfrm>
              <a:off x="10086753" y="2623871"/>
              <a:ext cx="1085295" cy="1102645"/>
              <a:chOff x="9606728" y="1831209"/>
              <a:chExt cx="1085295" cy="1102645"/>
            </a:xfrm>
          </p:grpSpPr>
          <p:sp>
            <p:nvSpPr>
              <p:cNvPr id="81" name="Rectangle 80"/>
              <p:cNvSpPr/>
              <p:nvPr/>
            </p:nvSpPr>
            <p:spPr>
              <a:xfrm>
                <a:off x="9606728" y="2557770"/>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00188F"/>
                    </a:solidFill>
                  </a:rPr>
                  <a:t>Restful </a:t>
                </a:r>
                <a:r>
                  <a:rPr lang="en-US" sz="1198" dirty="0" err="1">
                    <a:ln>
                      <a:solidFill>
                        <a:srgbClr val="FFFFFF">
                          <a:alpha val="0"/>
                        </a:srgbClr>
                      </a:solidFill>
                    </a:ln>
                    <a:solidFill>
                      <a:srgbClr val="00188F"/>
                    </a:solidFill>
                  </a:rPr>
                  <a:t>OAuth</a:t>
                </a:r>
                <a:r>
                  <a:rPr lang="en-US" sz="1198" dirty="0">
                    <a:ln>
                      <a:solidFill>
                        <a:srgbClr val="FFFFFF">
                          <a:alpha val="0"/>
                        </a:srgbClr>
                      </a:solidFill>
                    </a:ln>
                    <a:solidFill>
                      <a:srgbClr val="00188F"/>
                    </a:solidFill>
                  </a:rPr>
                  <a:t> apps</a:t>
                </a:r>
              </a:p>
            </p:txBody>
          </p:sp>
          <p:sp>
            <p:nvSpPr>
              <p:cNvPr id="82" name="Rounded Rectangle 2058"/>
              <p:cNvSpPr>
                <a:spLocks noChangeAspect="1"/>
              </p:cNvSpPr>
              <p:nvPr/>
            </p:nvSpPr>
            <p:spPr bwMode="auto">
              <a:xfrm>
                <a:off x="9981940" y="1831209"/>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6" name="Group 75"/>
            <p:cNvGrpSpPr/>
            <p:nvPr/>
          </p:nvGrpSpPr>
          <p:grpSpPr>
            <a:xfrm>
              <a:off x="10869084" y="1644047"/>
              <a:ext cx="1085295" cy="1106024"/>
              <a:chOff x="10596259" y="1827830"/>
              <a:chExt cx="1085295" cy="1106024"/>
            </a:xfrm>
          </p:grpSpPr>
          <p:sp>
            <p:nvSpPr>
              <p:cNvPr id="79" name="Rectangle 78"/>
              <p:cNvSpPr/>
              <p:nvPr/>
            </p:nvSpPr>
            <p:spPr>
              <a:xfrm>
                <a:off x="10596259" y="2557770"/>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00188F"/>
                    </a:solidFill>
                  </a:rPr>
                  <a:t>Office Forms Based Access</a:t>
                </a:r>
              </a:p>
            </p:txBody>
          </p:sp>
          <p:sp>
            <p:nvSpPr>
              <p:cNvPr id="80" name="Rounded Rectangle 2058"/>
              <p:cNvSpPr>
                <a:spLocks noChangeAspect="1"/>
              </p:cNvSpPr>
              <p:nvPr/>
            </p:nvSpPr>
            <p:spPr bwMode="auto">
              <a:xfrm>
                <a:off x="10953711" y="1827830"/>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77" name="Oval 76"/>
            <p:cNvSpPr/>
            <p:nvPr>
              <p:custDataLst>
                <p:tags r:id="rId1"/>
              </p:custDataLst>
            </p:nvPr>
          </p:nvSpPr>
          <p:spPr bwMode="auto">
            <a:xfrm>
              <a:off x="8983574" y="1271765"/>
              <a:ext cx="3188159" cy="2704212"/>
            </a:xfrm>
            <a:prstGeom prst="ellipse">
              <a:avLst/>
            </a:prstGeom>
            <a:noFill/>
            <a:ln w="19050">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595959"/>
                </a:solidFill>
              </a:endParaRPr>
            </a:p>
          </p:txBody>
        </p:sp>
        <p:sp>
          <p:nvSpPr>
            <p:cNvPr id="78" name="Rectangle 77"/>
            <p:cNvSpPr/>
            <p:nvPr/>
          </p:nvSpPr>
          <p:spPr>
            <a:xfrm>
              <a:off x="9862194" y="1364180"/>
              <a:ext cx="1375754" cy="376476"/>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9" b="1" spc="-30" dirty="0">
                  <a:solidFill>
                    <a:schemeClr val="bg2">
                      <a:lumMod val="50000"/>
                    </a:schemeClr>
                  </a:solidFill>
                </a:rPr>
                <a:t>Published applications</a:t>
              </a:r>
            </a:p>
          </p:txBody>
        </p:sp>
      </p:grpSp>
      <p:grpSp>
        <p:nvGrpSpPr>
          <p:cNvPr id="85" name="Group 84"/>
          <p:cNvGrpSpPr/>
          <p:nvPr/>
        </p:nvGrpSpPr>
        <p:grpSpPr>
          <a:xfrm>
            <a:off x="2544658" y="4639018"/>
            <a:ext cx="1718737" cy="1389950"/>
            <a:chOff x="3405878" y="3091775"/>
            <a:chExt cx="1861327" cy="1493577"/>
          </a:xfrm>
        </p:grpSpPr>
        <p:pic>
          <p:nvPicPr>
            <p:cNvPr id="86" name="Picture 8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730678" y="3121160"/>
              <a:ext cx="752857" cy="648688"/>
            </a:xfrm>
            <a:prstGeom prst="rect">
              <a:avLst/>
            </a:prstGeom>
          </p:spPr>
        </p:pic>
        <p:pic>
          <p:nvPicPr>
            <p:cNvPr id="87" name="Picture 8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05878" y="3790480"/>
              <a:ext cx="1274996" cy="794872"/>
            </a:xfrm>
            <a:prstGeom prst="rect">
              <a:avLst/>
            </a:prstGeom>
          </p:spPr>
        </p:pic>
        <p:pic>
          <p:nvPicPr>
            <p:cNvPr id="88" name="Picture 8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92804" y="3827774"/>
              <a:ext cx="474401" cy="648813"/>
            </a:xfrm>
            <a:prstGeom prst="rect">
              <a:avLst/>
            </a:prstGeom>
          </p:spPr>
        </p:pic>
        <p:pic>
          <p:nvPicPr>
            <p:cNvPr id="89" name="Picture 8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64377" y="3091775"/>
              <a:ext cx="512677" cy="664847"/>
            </a:xfrm>
            <a:prstGeom prst="rect">
              <a:avLst/>
            </a:prstGeom>
          </p:spPr>
        </p:pic>
      </p:grpSp>
      <p:pic>
        <p:nvPicPr>
          <p:cNvPr id="90" name="Picture 3"/>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1808946" y="4649382"/>
            <a:ext cx="735711" cy="1108109"/>
          </a:xfrm>
          <a:prstGeom prst="rect">
            <a:avLst/>
          </a:prstGeom>
          <a:blipFill dpi="0" rotWithShape="1">
            <a:blip r:embed="rId12">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nvGrpSpPr>
          <p:cNvPr id="91" name="Group 90"/>
          <p:cNvGrpSpPr/>
          <p:nvPr/>
        </p:nvGrpSpPr>
        <p:grpSpPr>
          <a:xfrm>
            <a:off x="7201501" y="3138940"/>
            <a:ext cx="1622816" cy="1179149"/>
            <a:chOff x="5000067" y="3665896"/>
            <a:chExt cx="1623047" cy="1179316"/>
          </a:xfrm>
        </p:grpSpPr>
        <p:sp>
          <p:nvSpPr>
            <p:cNvPr id="92" name="Rectangle 91"/>
            <p:cNvSpPr/>
            <p:nvPr/>
          </p:nvSpPr>
          <p:spPr>
            <a:xfrm>
              <a:off x="5000067" y="4469128"/>
              <a:ext cx="1623047" cy="376084"/>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00188F"/>
                  </a:solidFill>
                </a:rPr>
                <a:t>Web Application Proxy</a:t>
              </a:r>
            </a:p>
            <a:p>
              <a:pPr algn="ctr" defTabSz="1096269" fontAlgn="base">
                <a:spcAft>
                  <a:spcPct val="0"/>
                </a:spcAft>
              </a:pPr>
              <a:r>
                <a:rPr lang="en-US" sz="1198" dirty="0">
                  <a:ln>
                    <a:solidFill>
                      <a:srgbClr val="FFFFFF">
                        <a:alpha val="0"/>
                      </a:srgbClr>
                    </a:solidFill>
                  </a:ln>
                  <a:solidFill>
                    <a:srgbClr val="00188F"/>
                  </a:solidFill>
                </a:rPr>
                <a:t>(includes ADFS Proxy)</a:t>
              </a:r>
            </a:p>
          </p:txBody>
        </p:sp>
        <p:pic>
          <p:nvPicPr>
            <p:cNvPr id="93" name="Picture 9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49618" y="3665896"/>
              <a:ext cx="633487" cy="811655"/>
            </a:xfrm>
            <a:prstGeom prst="rect">
              <a:avLst/>
            </a:prstGeom>
          </p:spPr>
        </p:pic>
      </p:grpSp>
      <p:grpSp>
        <p:nvGrpSpPr>
          <p:cNvPr id="97" name="Group 96"/>
          <p:cNvGrpSpPr/>
          <p:nvPr/>
        </p:nvGrpSpPr>
        <p:grpSpPr>
          <a:xfrm>
            <a:off x="3315667" y="2969352"/>
            <a:ext cx="745971" cy="931707"/>
            <a:chOff x="3948223" y="4570416"/>
            <a:chExt cx="746077" cy="931839"/>
          </a:xfrm>
        </p:grpSpPr>
        <p:sp>
          <p:nvSpPr>
            <p:cNvPr id="98" name="Rectangle 97"/>
            <p:cNvSpPr/>
            <p:nvPr/>
          </p:nvSpPr>
          <p:spPr>
            <a:xfrm>
              <a:off x="3958625" y="5314212"/>
              <a:ext cx="735675"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00188F"/>
                  </a:solidFill>
                </a:rPr>
                <a:t>ADFS</a:t>
              </a:r>
            </a:p>
          </p:txBody>
        </p:sp>
        <p:grpSp>
          <p:nvGrpSpPr>
            <p:cNvPr id="99" name="Group 98"/>
            <p:cNvGrpSpPr/>
            <p:nvPr/>
          </p:nvGrpSpPr>
          <p:grpSpPr>
            <a:xfrm>
              <a:off x="3948223" y="4570416"/>
              <a:ext cx="561936" cy="659682"/>
              <a:chOff x="7318521" y="2021335"/>
              <a:chExt cx="561936" cy="659682"/>
            </a:xfrm>
          </p:grpSpPr>
          <p:sp>
            <p:nvSpPr>
              <p:cNvPr id="100" name="Rounded Rectangle 2058"/>
              <p:cNvSpPr>
                <a:spLocks noChangeAspect="1"/>
              </p:cNvSpPr>
              <p:nvPr/>
            </p:nvSpPr>
            <p:spPr bwMode="auto">
              <a:xfrm>
                <a:off x="7545585" y="2021335"/>
                <a:ext cx="334872" cy="659682"/>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a:solidFill>
                  <a:srgbClr val="0070C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01" name="Group 100"/>
              <p:cNvGrpSpPr>
                <a:grpSpLocks noChangeAspect="1"/>
              </p:cNvGrpSpPr>
              <p:nvPr/>
            </p:nvGrpSpPr>
            <p:grpSpPr>
              <a:xfrm>
                <a:off x="7318521" y="2175555"/>
                <a:ext cx="401083" cy="264866"/>
                <a:chOff x="1840649" y="4818296"/>
                <a:chExt cx="966161" cy="691914"/>
              </a:xfrm>
            </p:grpSpPr>
            <p:sp>
              <p:nvSpPr>
                <p:cNvPr id="102" name="Freeform 101"/>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3" name="Freeform 102"/>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bg1">
                    <a:lumMod val="85000"/>
                  </a:schemeClr>
                </a:solidFill>
                <a:ln w="9525" cap="flat" cmpd="sng">
                  <a:solidFill>
                    <a:srgbClr val="0070C0"/>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4" name="Oval 103"/>
                <p:cNvSpPr>
                  <a:spLocks noChangeAspect="1" noChangeArrowheads="1"/>
                </p:cNvSpPr>
                <p:nvPr/>
              </p:nvSpPr>
              <p:spPr bwMode="auto">
                <a:xfrm>
                  <a:off x="2201709" y="4985896"/>
                  <a:ext cx="91441" cy="91439"/>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5" name="Oval 104"/>
                <p:cNvSpPr>
                  <a:spLocks noChangeAspect="1" noChangeArrowheads="1"/>
                </p:cNvSpPr>
                <p:nvPr/>
              </p:nvSpPr>
              <p:spPr bwMode="auto">
                <a:xfrm flipH="1">
                  <a:off x="2351276" y="4985914"/>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6" name="Oval 105"/>
                <p:cNvSpPr>
                  <a:spLocks noChangeAspect="1" noChangeArrowheads="1"/>
                </p:cNvSpPr>
                <p:nvPr/>
              </p:nvSpPr>
              <p:spPr bwMode="auto">
                <a:xfrm>
                  <a:off x="2201709" y="531709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7" name="Oval 106"/>
                <p:cNvSpPr>
                  <a:spLocks noChangeAspect="1" noChangeArrowheads="1"/>
                </p:cNvSpPr>
                <p:nvPr/>
              </p:nvSpPr>
              <p:spPr bwMode="auto">
                <a:xfrm flipH="1">
                  <a:off x="2351276" y="5317110"/>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8" name="Oval 107"/>
                <p:cNvSpPr>
                  <a:spLocks noChangeAspect="1" noChangeArrowheads="1"/>
                </p:cNvSpPr>
                <p:nvPr/>
              </p:nvSpPr>
              <p:spPr bwMode="auto">
                <a:xfrm flipH="1">
                  <a:off x="2477440"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09" name="Oval 108"/>
                <p:cNvSpPr>
                  <a:spLocks noChangeAspect="1" noChangeArrowheads="1"/>
                </p:cNvSpPr>
                <p:nvPr/>
              </p:nvSpPr>
              <p:spPr bwMode="auto">
                <a:xfrm>
                  <a:off x="2077441" y="5293282"/>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10" name="Oval 109"/>
                <p:cNvSpPr>
                  <a:spLocks noChangeAspect="1" noChangeArrowheads="1"/>
                </p:cNvSpPr>
                <p:nvPr/>
              </p:nvSpPr>
              <p:spPr bwMode="auto">
                <a:xfrm flipH="1">
                  <a:off x="2603604"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11" name="Oval 110"/>
                <p:cNvSpPr>
                  <a:spLocks noChangeAspect="1" noChangeArrowheads="1"/>
                </p:cNvSpPr>
                <p:nvPr/>
              </p:nvSpPr>
              <p:spPr bwMode="auto">
                <a:xfrm flipH="1">
                  <a:off x="1953173" y="5277799"/>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sp>
              <p:nvSpPr>
                <p:cNvPr id="112" name="Arc 111"/>
                <p:cNvSpPr/>
                <p:nvPr/>
              </p:nvSpPr>
              <p:spPr>
                <a:xfrm rot="5012506">
                  <a:off x="2200463"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113" name="Arc 112"/>
                <p:cNvSpPr/>
                <p:nvPr/>
              </p:nvSpPr>
              <p:spPr>
                <a:xfrm rot="16587494" flipH="1">
                  <a:off x="2252986" y="5152334"/>
                  <a:ext cx="197274" cy="174698"/>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sp>
              <p:nvSpPr>
                <p:cNvPr id="114" name="Arc 113"/>
                <p:cNvSpPr/>
                <p:nvPr/>
              </p:nvSpPr>
              <p:spPr>
                <a:xfrm rot="7395384">
                  <a:off x="2218960" y="4926421"/>
                  <a:ext cx="150756" cy="174698"/>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endParaRPr>
                </a:p>
              </p:txBody>
            </p:sp>
            <p:cxnSp>
              <p:nvCxnSpPr>
                <p:cNvPr id="115" name="Straight Connector 114"/>
                <p:cNvCxnSpPr>
                  <a:stCxn id="104" idx="4"/>
                  <a:endCxn id="106" idx="0"/>
                </p:cNvCxnSpPr>
                <p:nvPr/>
              </p:nvCxnSpPr>
              <p:spPr>
                <a:xfrm>
                  <a:off x="2247429" y="5077336"/>
                  <a:ext cx="0" cy="239756"/>
                </a:xfrm>
                <a:prstGeom prst="line">
                  <a:avLst/>
                </a:prstGeom>
                <a:noFill/>
                <a:ln w="9525" cap="flat" cmpd="sng" algn="ctr">
                  <a:solidFill>
                    <a:srgbClr val="0070C0"/>
                  </a:solidFill>
                  <a:prstDash val="solid"/>
                </a:ln>
                <a:effectLst/>
              </p:spPr>
            </p:cxnSp>
            <p:sp>
              <p:nvSpPr>
                <p:cNvPr id="116" name="Oval 115"/>
                <p:cNvSpPr>
                  <a:spLocks noChangeAspect="1" noChangeArrowheads="1"/>
                </p:cNvSpPr>
                <p:nvPr/>
              </p:nvSpPr>
              <p:spPr bwMode="auto">
                <a:xfrm>
                  <a:off x="2201709" y="513992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117" name="Straight Connector 116"/>
                <p:cNvCxnSpPr>
                  <a:stCxn id="105" idx="4"/>
                  <a:endCxn id="107" idx="0"/>
                </p:cNvCxnSpPr>
                <p:nvPr/>
              </p:nvCxnSpPr>
              <p:spPr>
                <a:xfrm>
                  <a:off x="2396996" y="5077354"/>
                  <a:ext cx="0" cy="239756"/>
                </a:xfrm>
                <a:prstGeom prst="line">
                  <a:avLst/>
                </a:prstGeom>
                <a:noFill/>
                <a:ln w="9525" cap="flat" cmpd="sng" algn="ctr">
                  <a:solidFill>
                    <a:srgbClr val="0070C0"/>
                  </a:solidFill>
                  <a:prstDash val="solid"/>
                </a:ln>
                <a:effectLst/>
              </p:spPr>
            </p:cxnSp>
            <p:sp>
              <p:nvSpPr>
                <p:cNvPr id="118" name="Oval 117"/>
                <p:cNvSpPr>
                  <a:spLocks noChangeAspect="1" noChangeArrowheads="1"/>
                </p:cNvSpPr>
                <p:nvPr/>
              </p:nvSpPr>
              <p:spPr bwMode="auto">
                <a:xfrm flipH="1">
                  <a:off x="2351275" y="5139945"/>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119" name="Straight Connector 118"/>
                <p:cNvCxnSpPr>
                  <a:stCxn id="105" idx="3"/>
                  <a:endCxn id="110" idx="7"/>
                </p:cNvCxnSpPr>
                <p:nvPr/>
              </p:nvCxnSpPr>
              <p:spPr>
                <a:xfrm>
                  <a:off x="2429325" y="5063963"/>
                  <a:ext cx="187670" cy="227227"/>
                </a:xfrm>
                <a:prstGeom prst="line">
                  <a:avLst/>
                </a:prstGeom>
                <a:noFill/>
                <a:ln w="9525" cap="flat" cmpd="sng" algn="ctr">
                  <a:solidFill>
                    <a:srgbClr val="0070C0"/>
                  </a:solidFill>
                  <a:prstDash val="solid"/>
                </a:ln>
                <a:effectLst/>
              </p:spPr>
            </p:cxnSp>
            <p:sp>
              <p:nvSpPr>
                <p:cNvPr id="120" name="Oval 119"/>
                <p:cNvSpPr>
                  <a:spLocks noChangeAspect="1" noChangeArrowheads="1"/>
                </p:cNvSpPr>
                <p:nvPr/>
              </p:nvSpPr>
              <p:spPr bwMode="auto">
                <a:xfrm flipH="1">
                  <a:off x="2477440" y="5131857"/>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121" name="Straight Connector 120"/>
                <p:cNvCxnSpPr>
                  <a:stCxn id="104" idx="3"/>
                  <a:endCxn id="111" idx="1"/>
                </p:cNvCxnSpPr>
                <p:nvPr/>
              </p:nvCxnSpPr>
              <p:spPr>
                <a:xfrm flipH="1">
                  <a:off x="2031222" y="5063945"/>
                  <a:ext cx="183878" cy="227245"/>
                </a:xfrm>
                <a:prstGeom prst="line">
                  <a:avLst/>
                </a:prstGeom>
                <a:noFill/>
                <a:ln w="9525" cap="flat" cmpd="sng" algn="ctr">
                  <a:solidFill>
                    <a:srgbClr val="0070C0"/>
                  </a:solidFill>
                  <a:prstDash val="solid"/>
                </a:ln>
                <a:effectLst/>
              </p:spPr>
            </p:cxnSp>
            <p:sp>
              <p:nvSpPr>
                <p:cNvPr id="122" name="Oval 121"/>
                <p:cNvSpPr>
                  <a:spLocks noChangeAspect="1" noChangeArrowheads="1"/>
                </p:cNvSpPr>
                <p:nvPr/>
              </p:nvSpPr>
              <p:spPr bwMode="auto">
                <a:xfrm>
                  <a:off x="2082174" y="5131848"/>
                  <a:ext cx="91440" cy="91440"/>
                </a:xfrm>
                <a:prstGeom prst="ellipse">
                  <a:avLst/>
                </a:prstGeom>
                <a:solidFill>
                  <a:schemeClr val="tx2"/>
                </a:solidFill>
                <a:ln w="9525">
                  <a:solidFill>
                    <a:srgbClr val="0070C0"/>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endParaRPr>
                </a:p>
              </p:txBody>
            </p:sp>
            <p:cxnSp>
              <p:nvCxnSpPr>
                <p:cNvPr id="123" name="Straight Connector 122"/>
                <p:cNvCxnSpPr>
                  <a:stCxn id="116" idx="3"/>
                  <a:endCxn id="109" idx="7"/>
                </p:cNvCxnSpPr>
                <p:nvPr/>
              </p:nvCxnSpPr>
              <p:spPr>
                <a:xfrm flipH="1">
                  <a:off x="2155490" y="5217976"/>
                  <a:ext cx="59610" cy="88697"/>
                </a:xfrm>
                <a:prstGeom prst="line">
                  <a:avLst/>
                </a:prstGeom>
                <a:noFill/>
                <a:ln w="9525" cap="flat" cmpd="sng" algn="ctr">
                  <a:solidFill>
                    <a:srgbClr val="0070C0"/>
                  </a:solidFill>
                  <a:prstDash val="solid"/>
                </a:ln>
                <a:effectLst/>
              </p:spPr>
            </p:cxnSp>
            <p:cxnSp>
              <p:nvCxnSpPr>
                <p:cNvPr id="124" name="Straight Connector 123"/>
                <p:cNvCxnSpPr>
                  <a:stCxn id="118" idx="3"/>
                  <a:endCxn id="108" idx="7"/>
                </p:cNvCxnSpPr>
                <p:nvPr/>
              </p:nvCxnSpPr>
              <p:spPr>
                <a:xfrm>
                  <a:off x="2429325" y="5217994"/>
                  <a:ext cx="61506" cy="88679"/>
                </a:xfrm>
                <a:prstGeom prst="line">
                  <a:avLst/>
                </a:prstGeom>
                <a:noFill/>
                <a:ln w="9525" cap="flat" cmpd="sng" algn="ctr">
                  <a:solidFill>
                    <a:srgbClr val="0070C0"/>
                  </a:solidFill>
                  <a:prstDash val="solid"/>
                </a:ln>
                <a:effectLst/>
              </p:spPr>
            </p:cxnSp>
          </p:grpSp>
        </p:grpSp>
      </p:grpSp>
      <p:grpSp>
        <p:nvGrpSpPr>
          <p:cNvPr id="4" name="Group 4"/>
          <p:cNvGrpSpPr>
            <a:grpSpLocks noChangeAspect="1"/>
          </p:cNvGrpSpPr>
          <p:nvPr/>
        </p:nvGrpSpPr>
        <p:grpSpPr bwMode="auto">
          <a:xfrm>
            <a:off x="2313672" y="2837278"/>
            <a:ext cx="760594" cy="851744"/>
            <a:chOff x="633" y="960"/>
            <a:chExt cx="751" cy="841"/>
          </a:xfrm>
        </p:grpSpPr>
        <p:sp>
          <p:nvSpPr>
            <p:cNvPr id="126" name="AutoShape 3"/>
            <p:cNvSpPr>
              <a:spLocks noChangeAspect="1" noChangeArrowheads="1" noTextEdit="1"/>
            </p:cNvSpPr>
            <p:nvPr/>
          </p:nvSpPr>
          <p:spPr bwMode="auto">
            <a:xfrm>
              <a:off x="633" y="960"/>
              <a:ext cx="751" cy="84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7" name="Freeform 5"/>
            <p:cNvSpPr>
              <a:spLocks noEditPoints="1"/>
            </p:cNvSpPr>
            <p:nvPr/>
          </p:nvSpPr>
          <p:spPr bwMode="auto">
            <a:xfrm>
              <a:off x="634" y="961"/>
              <a:ext cx="749" cy="839"/>
            </a:xfrm>
            <a:custGeom>
              <a:avLst/>
              <a:gdLst>
                <a:gd name="T0" fmla="*/ 1178 w 1186"/>
                <a:gd name="T1" fmla="*/ 1073 h 1330"/>
                <a:gd name="T2" fmla="*/ 1141 w 1186"/>
                <a:gd name="T3" fmla="*/ 1065 h 1330"/>
                <a:gd name="T4" fmla="*/ 1134 w 1186"/>
                <a:gd name="T5" fmla="*/ 371 h 1330"/>
                <a:gd name="T6" fmla="*/ 650 w 1186"/>
                <a:gd name="T7" fmla="*/ 0 h 1330"/>
                <a:gd name="T8" fmla="*/ 118 w 1186"/>
                <a:gd name="T9" fmla="*/ 371 h 1330"/>
                <a:gd name="T10" fmla="*/ 109 w 1186"/>
                <a:gd name="T11" fmla="*/ 1073 h 1330"/>
                <a:gd name="T12" fmla="*/ 1 w 1186"/>
                <a:gd name="T13" fmla="*/ 1094 h 1330"/>
                <a:gd name="T14" fmla="*/ 0 w 1186"/>
                <a:gd name="T15" fmla="*/ 1116 h 1330"/>
                <a:gd name="T16" fmla="*/ 586 w 1186"/>
                <a:gd name="T17" fmla="*/ 1330 h 1330"/>
                <a:gd name="T18" fmla="*/ 1186 w 1186"/>
                <a:gd name="T19" fmla="*/ 1127 h 1330"/>
                <a:gd name="T20" fmla="*/ 1178 w 1186"/>
                <a:gd name="T21" fmla="*/ 1073 h 1330"/>
                <a:gd name="T22" fmla="*/ 132 w 1186"/>
                <a:gd name="T23" fmla="*/ 383 h 1330"/>
                <a:gd name="T24" fmla="*/ 651 w 1186"/>
                <a:gd name="T25" fmla="*/ 27 h 1330"/>
                <a:gd name="T26" fmla="*/ 659 w 1186"/>
                <a:gd name="T27" fmla="*/ 1191 h 1330"/>
                <a:gd name="T28" fmla="*/ 123 w 1186"/>
                <a:gd name="T29" fmla="*/ 1070 h 1330"/>
                <a:gd name="T30" fmla="*/ 132 w 1186"/>
                <a:gd name="T31" fmla="*/ 383 h 1330"/>
                <a:gd name="T32" fmla="*/ 584 w 1186"/>
                <a:gd name="T33" fmla="*/ 1293 h 1330"/>
                <a:gd name="T34" fmla="*/ 18 w 1186"/>
                <a:gd name="T35" fmla="*/ 1100 h 1330"/>
                <a:gd name="T36" fmla="*/ 115 w 1186"/>
                <a:gd name="T37" fmla="*/ 1080 h 1330"/>
                <a:gd name="T38" fmla="*/ 128 w 1186"/>
                <a:gd name="T39" fmla="*/ 1083 h 1330"/>
                <a:gd name="T40" fmla="*/ 661 w 1186"/>
                <a:gd name="T41" fmla="*/ 1211 h 1330"/>
                <a:gd name="T42" fmla="*/ 906 w 1186"/>
                <a:gd name="T43" fmla="*/ 1199 h 1330"/>
                <a:gd name="T44" fmla="*/ 584 w 1186"/>
                <a:gd name="T45" fmla="*/ 1293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6" h="1330">
                  <a:moveTo>
                    <a:pt x="1178" y="1073"/>
                  </a:moveTo>
                  <a:cubicBezTo>
                    <a:pt x="1166" y="1071"/>
                    <a:pt x="1153" y="1068"/>
                    <a:pt x="1141" y="1065"/>
                  </a:cubicBezTo>
                  <a:cubicBezTo>
                    <a:pt x="1140" y="1037"/>
                    <a:pt x="1134" y="371"/>
                    <a:pt x="1134" y="371"/>
                  </a:cubicBezTo>
                  <a:cubicBezTo>
                    <a:pt x="650" y="0"/>
                    <a:pt x="650" y="0"/>
                    <a:pt x="650" y="0"/>
                  </a:cubicBezTo>
                  <a:cubicBezTo>
                    <a:pt x="118" y="371"/>
                    <a:pt x="118" y="371"/>
                    <a:pt x="118" y="371"/>
                  </a:cubicBezTo>
                  <a:cubicBezTo>
                    <a:pt x="118" y="371"/>
                    <a:pt x="109" y="1063"/>
                    <a:pt x="109" y="1073"/>
                  </a:cubicBezTo>
                  <a:cubicBezTo>
                    <a:pt x="73" y="1080"/>
                    <a:pt x="38" y="1086"/>
                    <a:pt x="1" y="1094"/>
                  </a:cubicBezTo>
                  <a:cubicBezTo>
                    <a:pt x="1" y="1101"/>
                    <a:pt x="1" y="1108"/>
                    <a:pt x="0" y="1116"/>
                  </a:cubicBezTo>
                  <a:cubicBezTo>
                    <a:pt x="195" y="1188"/>
                    <a:pt x="384" y="1258"/>
                    <a:pt x="586" y="1330"/>
                  </a:cubicBezTo>
                  <a:cubicBezTo>
                    <a:pt x="791" y="1263"/>
                    <a:pt x="942" y="1209"/>
                    <a:pt x="1186" y="1127"/>
                  </a:cubicBezTo>
                  <a:cubicBezTo>
                    <a:pt x="1183" y="1109"/>
                    <a:pt x="1181" y="1092"/>
                    <a:pt x="1178" y="1073"/>
                  </a:cubicBezTo>
                  <a:close/>
                  <a:moveTo>
                    <a:pt x="132" y="383"/>
                  </a:moveTo>
                  <a:cubicBezTo>
                    <a:pt x="651" y="27"/>
                    <a:pt x="651" y="27"/>
                    <a:pt x="651" y="27"/>
                  </a:cubicBezTo>
                  <a:cubicBezTo>
                    <a:pt x="659" y="1191"/>
                    <a:pt x="659" y="1191"/>
                    <a:pt x="659" y="1191"/>
                  </a:cubicBezTo>
                  <a:cubicBezTo>
                    <a:pt x="616" y="1188"/>
                    <a:pt x="169" y="1083"/>
                    <a:pt x="123" y="1070"/>
                  </a:cubicBezTo>
                  <a:cubicBezTo>
                    <a:pt x="124" y="1038"/>
                    <a:pt x="132" y="383"/>
                    <a:pt x="132" y="383"/>
                  </a:cubicBezTo>
                  <a:close/>
                  <a:moveTo>
                    <a:pt x="584" y="1293"/>
                  </a:moveTo>
                  <a:cubicBezTo>
                    <a:pt x="499" y="1265"/>
                    <a:pt x="64" y="1116"/>
                    <a:pt x="18" y="1100"/>
                  </a:cubicBezTo>
                  <a:cubicBezTo>
                    <a:pt x="51" y="1093"/>
                    <a:pt x="83" y="1086"/>
                    <a:pt x="115" y="1080"/>
                  </a:cubicBezTo>
                  <a:cubicBezTo>
                    <a:pt x="119" y="1081"/>
                    <a:pt x="124" y="1082"/>
                    <a:pt x="128" y="1083"/>
                  </a:cubicBezTo>
                  <a:cubicBezTo>
                    <a:pt x="181" y="1097"/>
                    <a:pt x="661" y="1211"/>
                    <a:pt x="661" y="1211"/>
                  </a:cubicBezTo>
                  <a:cubicBezTo>
                    <a:pt x="906" y="1199"/>
                    <a:pt x="906" y="1199"/>
                    <a:pt x="906" y="1199"/>
                  </a:cubicBezTo>
                  <a:cubicBezTo>
                    <a:pt x="793" y="1232"/>
                    <a:pt x="649" y="1274"/>
                    <a:pt x="584" y="1293"/>
                  </a:cubicBez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8" name="Freeform 6"/>
            <p:cNvSpPr>
              <a:spLocks/>
            </p:cNvSpPr>
            <p:nvPr/>
          </p:nvSpPr>
          <p:spPr bwMode="auto">
            <a:xfrm>
              <a:off x="732" y="1028"/>
              <a:ext cx="290" cy="223"/>
            </a:xfrm>
            <a:custGeom>
              <a:avLst/>
              <a:gdLst>
                <a:gd name="T0" fmla="*/ 290 w 290"/>
                <a:gd name="T1" fmla="*/ 0 h 223"/>
                <a:gd name="T2" fmla="*/ 0 w 290"/>
                <a:gd name="T3" fmla="*/ 181 h 223"/>
                <a:gd name="T4" fmla="*/ 0 w 290"/>
                <a:gd name="T5" fmla="*/ 223 h 223"/>
                <a:gd name="T6" fmla="*/ 290 w 290"/>
                <a:gd name="T7" fmla="*/ 65 h 223"/>
                <a:gd name="T8" fmla="*/ 290 w 290"/>
                <a:gd name="T9" fmla="*/ 0 h 223"/>
              </a:gdLst>
              <a:ahLst/>
              <a:cxnLst>
                <a:cxn ang="0">
                  <a:pos x="T0" y="T1"/>
                </a:cxn>
                <a:cxn ang="0">
                  <a:pos x="T2" y="T3"/>
                </a:cxn>
                <a:cxn ang="0">
                  <a:pos x="T4" y="T5"/>
                </a:cxn>
                <a:cxn ang="0">
                  <a:pos x="T6" y="T7"/>
                </a:cxn>
                <a:cxn ang="0">
                  <a:pos x="T8" y="T9"/>
                </a:cxn>
              </a:cxnLst>
              <a:rect l="0" t="0" r="r" b="b"/>
              <a:pathLst>
                <a:path w="290" h="223">
                  <a:moveTo>
                    <a:pt x="290" y="0"/>
                  </a:moveTo>
                  <a:lnTo>
                    <a:pt x="0" y="181"/>
                  </a:lnTo>
                  <a:lnTo>
                    <a:pt x="0" y="223"/>
                  </a:lnTo>
                  <a:lnTo>
                    <a:pt x="290" y="65"/>
                  </a:lnTo>
                  <a:lnTo>
                    <a:pt x="290" y="0"/>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29" name="Freeform 7"/>
            <p:cNvSpPr>
              <a:spLocks/>
            </p:cNvSpPr>
            <p:nvPr/>
          </p:nvSpPr>
          <p:spPr bwMode="auto">
            <a:xfrm>
              <a:off x="732" y="1521"/>
              <a:ext cx="294" cy="57"/>
            </a:xfrm>
            <a:custGeom>
              <a:avLst/>
              <a:gdLst>
                <a:gd name="T0" fmla="*/ 294 w 294"/>
                <a:gd name="T1" fmla="*/ 0 h 57"/>
                <a:gd name="T2" fmla="*/ 0 w 294"/>
                <a:gd name="T3" fmla="*/ 4 h 57"/>
                <a:gd name="T4" fmla="*/ 0 w 294"/>
                <a:gd name="T5" fmla="*/ 40 h 57"/>
                <a:gd name="T6" fmla="*/ 294 w 294"/>
                <a:gd name="T7" fmla="*/ 57 h 57"/>
                <a:gd name="T8" fmla="*/ 294 w 294"/>
                <a:gd name="T9" fmla="*/ 0 h 57"/>
              </a:gdLst>
              <a:ahLst/>
              <a:cxnLst>
                <a:cxn ang="0">
                  <a:pos x="T0" y="T1"/>
                </a:cxn>
                <a:cxn ang="0">
                  <a:pos x="T2" y="T3"/>
                </a:cxn>
                <a:cxn ang="0">
                  <a:pos x="T4" y="T5"/>
                </a:cxn>
                <a:cxn ang="0">
                  <a:pos x="T6" y="T7"/>
                </a:cxn>
                <a:cxn ang="0">
                  <a:pos x="T8" y="T9"/>
                </a:cxn>
              </a:cxnLst>
              <a:rect l="0" t="0" r="r" b="b"/>
              <a:pathLst>
                <a:path w="294" h="57">
                  <a:moveTo>
                    <a:pt x="294" y="0"/>
                  </a:moveTo>
                  <a:lnTo>
                    <a:pt x="0" y="4"/>
                  </a:lnTo>
                  <a:lnTo>
                    <a:pt x="0" y="40"/>
                  </a:lnTo>
                  <a:lnTo>
                    <a:pt x="294" y="57"/>
                  </a:lnTo>
                  <a:lnTo>
                    <a:pt x="294" y="0"/>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0" name="Freeform 8"/>
            <p:cNvSpPr>
              <a:spLocks/>
            </p:cNvSpPr>
            <p:nvPr/>
          </p:nvSpPr>
          <p:spPr bwMode="auto">
            <a:xfrm>
              <a:off x="732" y="1587"/>
              <a:ext cx="295" cy="89"/>
            </a:xfrm>
            <a:custGeom>
              <a:avLst/>
              <a:gdLst>
                <a:gd name="T0" fmla="*/ 294 w 295"/>
                <a:gd name="T1" fmla="*/ 32 h 89"/>
                <a:gd name="T2" fmla="*/ 0 w 295"/>
                <a:gd name="T3" fmla="*/ 0 h 89"/>
                <a:gd name="T4" fmla="*/ 0 w 295"/>
                <a:gd name="T5" fmla="*/ 37 h 89"/>
                <a:gd name="T6" fmla="*/ 295 w 295"/>
                <a:gd name="T7" fmla="*/ 89 h 89"/>
                <a:gd name="T8" fmla="*/ 294 w 295"/>
                <a:gd name="T9" fmla="*/ 32 h 89"/>
              </a:gdLst>
              <a:ahLst/>
              <a:cxnLst>
                <a:cxn ang="0">
                  <a:pos x="T0" y="T1"/>
                </a:cxn>
                <a:cxn ang="0">
                  <a:pos x="T2" y="T3"/>
                </a:cxn>
                <a:cxn ang="0">
                  <a:pos x="T4" y="T5"/>
                </a:cxn>
                <a:cxn ang="0">
                  <a:pos x="T6" y="T7"/>
                </a:cxn>
                <a:cxn ang="0">
                  <a:pos x="T8" y="T9"/>
                </a:cxn>
              </a:cxnLst>
              <a:rect l="0" t="0" r="r" b="b"/>
              <a:pathLst>
                <a:path w="295" h="89">
                  <a:moveTo>
                    <a:pt x="294" y="32"/>
                  </a:moveTo>
                  <a:lnTo>
                    <a:pt x="0" y="0"/>
                  </a:lnTo>
                  <a:lnTo>
                    <a:pt x="0" y="37"/>
                  </a:lnTo>
                  <a:lnTo>
                    <a:pt x="295" y="89"/>
                  </a:lnTo>
                  <a:lnTo>
                    <a:pt x="294" y="32"/>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1" name="Freeform 9"/>
            <p:cNvSpPr>
              <a:spLocks/>
            </p:cNvSpPr>
            <p:nvPr/>
          </p:nvSpPr>
          <p:spPr bwMode="auto">
            <a:xfrm>
              <a:off x="732" y="1127"/>
              <a:ext cx="291" cy="185"/>
            </a:xfrm>
            <a:custGeom>
              <a:avLst/>
              <a:gdLst>
                <a:gd name="T0" fmla="*/ 290 w 291"/>
                <a:gd name="T1" fmla="*/ 0 h 185"/>
                <a:gd name="T2" fmla="*/ 0 w 291"/>
                <a:gd name="T3" fmla="*/ 146 h 185"/>
                <a:gd name="T4" fmla="*/ 0 w 291"/>
                <a:gd name="T5" fmla="*/ 185 h 185"/>
                <a:gd name="T6" fmla="*/ 291 w 291"/>
                <a:gd name="T7" fmla="*/ 62 h 185"/>
                <a:gd name="T8" fmla="*/ 290 w 291"/>
                <a:gd name="T9" fmla="*/ 0 h 185"/>
              </a:gdLst>
              <a:ahLst/>
              <a:cxnLst>
                <a:cxn ang="0">
                  <a:pos x="T0" y="T1"/>
                </a:cxn>
                <a:cxn ang="0">
                  <a:pos x="T2" y="T3"/>
                </a:cxn>
                <a:cxn ang="0">
                  <a:pos x="T4" y="T5"/>
                </a:cxn>
                <a:cxn ang="0">
                  <a:pos x="T6" y="T7"/>
                </a:cxn>
                <a:cxn ang="0">
                  <a:pos x="T8" y="T9"/>
                </a:cxn>
              </a:cxnLst>
              <a:rect l="0" t="0" r="r" b="b"/>
              <a:pathLst>
                <a:path w="291" h="185">
                  <a:moveTo>
                    <a:pt x="290" y="0"/>
                  </a:moveTo>
                  <a:lnTo>
                    <a:pt x="0" y="146"/>
                  </a:lnTo>
                  <a:lnTo>
                    <a:pt x="0" y="185"/>
                  </a:lnTo>
                  <a:lnTo>
                    <a:pt x="291" y="62"/>
                  </a:lnTo>
                  <a:lnTo>
                    <a:pt x="290" y="0"/>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2" name="Freeform 10"/>
            <p:cNvSpPr>
              <a:spLocks/>
            </p:cNvSpPr>
            <p:nvPr/>
          </p:nvSpPr>
          <p:spPr bwMode="auto">
            <a:xfrm>
              <a:off x="732" y="1422"/>
              <a:ext cx="293" cy="77"/>
            </a:xfrm>
            <a:custGeom>
              <a:avLst/>
              <a:gdLst>
                <a:gd name="T0" fmla="*/ 293 w 293"/>
                <a:gd name="T1" fmla="*/ 0 h 77"/>
                <a:gd name="T2" fmla="*/ 0 w 293"/>
                <a:gd name="T3" fmla="*/ 39 h 77"/>
                <a:gd name="T4" fmla="*/ 0 w 293"/>
                <a:gd name="T5" fmla="*/ 77 h 77"/>
                <a:gd name="T6" fmla="*/ 293 w 293"/>
                <a:gd name="T7" fmla="*/ 58 h 77"/>
                <a:gd name="T8" fmla="*/ 293 w 293"/>
                <a:gd name="T9" fmla="*/ 0 h 77"/>
              </a:gdLst>
              <a:ahLst/>
              <a:cxnLst>
                <a:cxn ang="0">
                  <a:pos x="T0" y="T1"/>
                </a:cxn>
                <a:cxn ang="0">
                  <a:pos x="T2" y="T3"/>
                </a:cxn>
                <a:cxn ang="0">
                  <a:pos x="T4" y="T5"/>
                </a:cxn>
                <a:cxn ang="0">
                  <a:pos x="T6" y="T7"/>
                </a:cxn>
                <a:cxn ang="0">
                  <a:pos x="T8" y="T9"/>
                </a:cxn>
              </a:cxnLst>
              <a:rect l="0" t="0" r="r" b="b"/>
              <a:pathLst>
                <a:path w="293" h="77">
                  <a:moveTo>
                    <a:pt x="293" y="0"/>
                  </a:moveTo>
                  <a:lnTo>
                    <a:pt x="0" y="39"/>
                  </a:lnTo>
                  <a:lnTo>
                    <a:pt x="0" y="77"/>
                  </a:lnTo>
                  <a:lnTo>
                    <a:pt x="293" y="58"/>
                  </a:lnTo>
                  <a:lnTo>
                    <a:pt x="293" y="0"/>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3" name="Freeform 11"/>
            <p:cNvSpPr>
              <a:spLocks/>
            </p:cNvSpPr>
            <p:nvPr/>
          </p:nvSpPr>
          <p:spPr bwMode="auto">
            <a:xfrm>
              <a:off x="732" y="1324"/>
              <a:ext cx="292" cy="113"/>
            </a:xfrm>
            <a:custGeom>
              <a:avLst/>
              <a:gdLst>
                <a:gd name="T0" fmla="*/ 292 w 292"/>
                <a:gd name="T1" fmla="*/ 0 h 113"/>
                <a:gd name="T2" fmla="*/ 0 w 292"/>
                <a:gd name="T3" fmla="*/ 75 h 113"/>
                <a:gd name="T4" fmla="*/ 0 w 292"/>
                <a:gd name="T5" fmla="*/ 113 h 113"/>
                <a:gd name="T6" fmla="*/ 292 w 292"/>
                <a:gd name="T7" fmla="*/ 58 h 113"/>
                <a:gd name="T8" fmla="*/ 292 w 292"/>
                <a:gd name="T9" fmla="*/ 0 h 113"/>
              </a:gdLst>
              <a:ahLst/>
              <a:cxnLst>
                <a:cxn ang="0">
                  <a:pos x="T0" y="T1"/>
                </a:cxn>
                <a:cxn ang="0">
                  <a:pos x="T2" y="T3"/>
                </a:cxn>
                <a:cxn ang="0">
                  <a:pos x="T4" y="T5"/>
                </a:cxn>
                <a:cxn ang="0">
                  <a:pos x="T6" y="T7"/>
                </a:cxn>
                <a:cxn ang="0">
                  <a:pos x="T8" y="T9"/>
                </a:cxn>
              </a:cxnLst>
              <a:rect l="0" t="0" r="r" b="b"/>
              <a:pathLst>
                <a:path w="292" h="113">
                  <a:moveTo>
                    <a:pt x="292" y="0"/>
                  </a:moveTo>
                  <a:lnTo>
                    <a:pt x="0" y="75"/>
                  </a:lnTo>
                  <a:lnTo>
                    <a:pt x="0" y="113"/>
                  </a:lnTo>
                  <a:lnTo>
                    <a:pt x="292" y="58"/>
                  </a:lnTo>
                  <a:lnTo>
                    <a:pt x="292" y="0"/>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134" name="Freeform 12"/>
            <p:cNvSpPr>
              <a:spLocks/>
            </p:cNvSpPr>
            <p:nvPr/>
          </p:nvSpPr>
          <p:spPr bwMode="auto">
            <a:xfrm>
              <a:off x="732" y="1225"/>
              <a:ext cx="292" cy="149"/>
            </a:xfrm>
            <a:custGeom>
              <a:avLst/>
              <a:gdLst>
                <a:gd name="T0" fmla="*/ 291 w 292"/>
                <a:gd name="T1" fmla="*/ 0 h 149"/>
                <a:gd name="T2" fmla="*/ 0 w 292"/>
                <a:gd name="T3" fmla="*/ 111 h 149"/>
                <a:gd name="T4" fmla="*/ 0 w 292"/>
                <a:gd name="T5" fmla="*/ 149 h 149"/>
                <a:gd name="T6" fmla="*/ 292 w 292"/>
                <a:gd name="T7" fmla="*/ 60 h 149"/>
                <a:gd name="T8" fmla="*/ 291 w 292"/>
                <a:gd name="T9" fmla="*/ 0 h 149"/>
              </a:gdLst>
              <a:ahLst/>
              <a:cxnLst>
                <a:cxn ang="0">
                  <a:pos x="T0" y="T1"/>
                </a:cxn>
                <a:cxn ang="0">
                  <a:pos x="T2" y="T3"/>
                </a:cxn>
                <a:cxn ang="0">
                  <a:pos x="T4" y="T5"/>
                </a:cxn>
                <a:cxn ang="0">
                  <a:pos x="T6" y="T7"/>
                </a:cxn>
                <a:cxn ang="0">
                  <a:pos x="T8" y="T9"/>
                </a:cxn>
              </a:cxnLst>
              <a:rect l="0" t="0" r="r" b="b"/>
              <a:pathLst>
                <a:path w="292" h="149">
                  <a:moveTo>
                    <a:pt x="291" y="0"/>
                  </a:moveTo>
                  <a:lnTo>
                    <a:pt x="0" y="111"/>
                  </a:lnTo>
                  <a:lnTo>
                    <a:pt x="0" y="149"/>
                  </a:lnTo>
                  <a:lnTo>
                    <a:pt x="292" y="60"/>
                  </a:lnTo>
                  <a:lnTo>
                    <a:pt x="291" y="0"/>
                  </a:lnTo>
                  <a:close/>
                </a:path>
              </a:pathLst>
            </a:custGeom>
            <a:solidFill>
              <a:srgbClr val="3D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cxnSp>
        <p:nvCxnSpPr>
          <p:cNvPr id="135" name="Straight Connector 134"/>
          <p:cNvCxnSpPr/>
          <p:nvPr/>
        </p:nvCxnSpPr>
        <p:spPr>
          <a:xfrm flipH="1">
            <a:off x="4247383" y="3509722"/>
            <a:ext cx="760540" cy="0"/>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4535751" y="4322505"/>
            <a:ext cx="609701" cy="39800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8463248" y="2958383"/>
            <a:ext cx="609701" cy="39800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6808460" y="3516097"/>
            <a:ext cx="609700" cy="0"/>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flipV="1">
            <a:off x="8451551" y="3614522"/>
            <a:ext cx="699314" cy="373751"/>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3" name="Rectangle 142"/>
          <p:cNvSpPr/>
          <p:nvPr/>
        </p:nvSpPr>
        <p:spPr>
          <a:xfrm>
            <a:off x="1775444" y="3711339"/>
            <a:ext cx="1622816" cy="564047"/>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00188F"/>
                </a:solidFill>
              </a:rPr>
              <a:t>Resources in other businesses or identity realms</a:t>
            </a:r>
          </a:p>
        </p:txBody>
      </p:sp>
      <p:cxnSp>
        <p:nvCxnSpPr>
          <p:cNvPr id="125" name="Straight Connector 124"/>
          <p:cNvCxnSpPr/>
          <p:nvPr/>
        </p:nvCxnSpPr>
        <p:spPr>
          <a:xfrm>
            <a:off x="4535750" y="2309135"/>
            <a:ext cx="609701" cy="398008"/>
          </a:xfrm>
          <a:prstGeom prst="line">
            <a:avLst/>
          </a:prstGeom>
          <a:ln w="28575" cap="rnd" cmpd="sng">
            <a:solidFill>
              <a:srgbClr val="0070C0"/>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007989" y="1132858"/>
            <a:ext cx="2548446" cy="1198664"/>
            <a:chOff x="674755" y="1189174"/>
            <a:chExt cx="2548807" cy="1198834"/>
          </a:xfrm>
        </p:grpSpPr>
        <p:sp>
          <p:nvSpPr>
            <p:cNvPr id="140" name="Freeform 139"/>
            <p:cNvSpPr>
              <a:spLocks noChangeAspect="1"/>
            </p:cNvSpPr>
            <p:nvPr/>
          </p:nvSpPr>
          <p:spPr bwMode="auto">
            <a:xfrm>
              <a:off x="674755" y="1189174"/>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505050"/>
                </a:solidFill>
                <a:latin typeface="Segoe" pitchFamily="34" charset="0"/>
              </a:endParaRPr>
            </a:p>
          </p:txBody>
        </p:sp>
        <p:sp>
          <p:nvSpPr>
            <p:cNvPr id="146" name="Rectangle 145"/>
            <p:cNvSpPr/>
            <p:nvPr/>
          </p:nvSpPr>
          <p:spPr>
            <a:xfrm>
              <a:off x="1338956" y="1584106"/>
              <a:ext cx="515940" cy="338802"/>
            </a:xfrm>
            <a:prstGeom prst="rect">
              <a:avLst/>
            </a:prstGeom>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480" fontAlgn="base">
                <a:lnSpc>
                  <a:spcPct val="90000"/>
                </a:lnSpc>
                <a:spcAft>
                  <a:spcPct val="0"/>
                </a:spcAft>
              </a:pPr>
              <a:r>
                <a:rPr lang="en-US" sz="1199" dirty="0">
                  <a:ln>
                    <a:solidFill>
                      <a:srgbClr val="FFFFFF">
                        <a:alpha val="0"/>
                      </a:srgbClr>
                    </a:solidFill>
                  </a:ln>
                  <a:solidFill>
                    <a:srgbClr val="FFFFFF"/>
                  </a:solidFill>
                </a:rPr>
                <a:t>SaaS Apps</a:t>
              </a:r>
            </a:p>
          </p:txBody>
        </p:sp>
        <p:grpSp>
          <p:nvGrpSpPr>
            <p:cNvPr id="147" name="Group 146"/>
            <p:cNvGrpSpPr>
              <a:grpSpLocks noChangeAspect="1"/>
            </p:cNvGrpSpPr>
            <p:nvPr/>
          </p:nvGrpSpPr>
          <p:grpSpPr>
            <a:xfrm>
              <a:off x="949116" y="1708183"/>
              <a:ext cx="369428" cy="338991"/>
              <a:chOff x="2598738" y="3613150"/>
              <a:chExt cx="1177925" cy="1177925"/>
            </a:xfrm>
            <a:solidFill>
              <a:schemeClr val="bg1"/>
            </a:solidFill>
          </p:grpSpPr>
          <p:sp>
            <p:nvSpPr>
              <p:cNvPr id="150" name="Freeform 61"/>
              <p:cNvSpPr>
                <a:spLocks noEditPoints="1"/>
              </p:cNvSpPr>
              <p:nvPr/>
            </p:nvSpPr>
            <p:spPr bwMode="auto">
              <a:xfrm>
                <a:off x="2598738" y="3613150"/>
                <a:ext cx="1177925" cy="117792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1"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2"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3"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4"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5"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6"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7"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8"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59"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0"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1"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2"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3"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4"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5"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6"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7"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8"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69"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0"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1"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2"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3"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4"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5"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6"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7"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8"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79"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0" name="Freeform 91"/>
              <p:cNvSpPr>
                <a:spLocks/>
              </p:cNvSpPr>
              <p:nvPr/>
            </p:nvSpPr>
            <p:spPr bwMode="auto">
              <a:xfrm>
                <a:off x="3151188" y="3768725"/>
                <a:ext cx="280988" cy="377825"/>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1"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2" name="Freeform 93"/>
              <p:cNvSpPr>
                <a:spLocks noEditPoints="1"/>
              </p:cNvSpPr>
              <p:nvPr/>
            </p:nvSpPr>
            <p:spPr bwMode="auto">
              <a:xfrm>
                <a:off x="2678113" y="3956050"/>
                <a:ext cx="619125" cy="385763"/>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3"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4"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5"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6"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7"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8"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89"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0"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1"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2"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3"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4"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5"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6"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7"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8"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199"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0"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1"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2"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3"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4"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5"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6"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7"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8"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09"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0"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1"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2"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3"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4"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5"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6"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7"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8"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19"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0"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1"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2"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3"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4"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5"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6"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7"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8"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29"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0"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1"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2"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3"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4"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5"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6"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7"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8"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39"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0"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1"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2"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3"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4"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5"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6"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7"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8"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49"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0"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1"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2"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3"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4"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5"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6"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7"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8"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59"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0"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1"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2"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3"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4"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5"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6"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7"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8"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69"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0"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1"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2"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3"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4" name="Freeform 185"/>
              <p:cNvSpPr>
                <a:spLocks/>
              </p:cNvSpPr>
              <p:nvPr/>
            </p:nvSpPr>
            <p:spPr bwMode="auto">
              <a:xfrm>
                <a:off x="2679701" y="4108450"/>
                <a:ext cx="661988" cy="620713"/>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5"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6"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7"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8"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79"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0"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1"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2"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3"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4"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5"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6"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7"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8"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89"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0"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1"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2"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3"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4"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5"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6"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7"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8"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299"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0"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1"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2"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3"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4" name="Freeform 215"/>
              <p:cNvSpPr>
                <a:spLocks noEditPoints="1"/>
              </p:cNvSpPr>
              <p:nvPr/>
            </p:nvSpPr>
            <p:spPr bwMode="auto">
              <a:xfrm>
                <a:off x="3435351" y="4184650"/>
                <a:ext cx="279400" cy="4206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5"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6"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7"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8"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09"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0"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1"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2"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3"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4"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5"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6"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7"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8"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19"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0"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1"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2"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3"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4"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5"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6"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7"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8"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29"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0"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1"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2"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3"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4"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5"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6"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7"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8"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39"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40"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sp>
            <p:nvSpPr>
              <p:cNvPr id="341"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defTabSz="914191"/>
                <a:endParaRPr lang="en-US" sz="1764">
                  <a:solidFill>
                    <a:srgbClr val="505050"/>
                  </a:solidFill>
                </a:endParaRPr>
              </a:p>
            </p:txBody>
          </p:sp>
        </p:grpSp>
        <p:pic>
          <p:nvPicPr>
            <p:cNvPr id="148" name="Picture 14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833072" y="1546209"/>
              <a:ext cx="1292864" cy="410696"/>
            </a:xfrm>
            <a:prstGeom prst="rect">
              <a:avLst/>
            </a:prstGeom>
          </p:spPr>
        </p:pic>
        <p:pic>
          <p:nvPicPr>
            <p:cNvPr id="534" name="Picture 53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263280" y="1950187"/>
              <a:ext cx="1655700" cy="398793"/>
            </a:xfrm>
            <a:prstGeom prst="rect">
              <a:avLst/>
            </a:prstGeom>
          </p:spPr>
        </p:pic>
      </p:grpSp>
      <p:sp>
        <p:nvSpPr>
          <p:cNvPr id="535" name="Rectangle 534"/>
          <p:cNvSpPr/>
          <p:nvPr/>
        </p:nvSpPr>
        <p:spPr bwMode="auto">
          <a:xfrm>
            <a:off x="292109" y="6199430"/>
            <a:ext cx="4045153" cy="677640"/>
          </a:xfrm>
          <a:prstGeom prst="rect">
            <a:avLst/>
          </a:prstGeom>
          <a:ln>
            <a:noFill/>
          </a:ln>
        </p:spPr>
        <p:txBody>
          <a:bodyPr vert="horz" wrap="square" lIns="0" tIns="0" rIns="0" bIns="0" rtlCol="0">
            <a:spAutoFit/>
          </a:bodyPr>
          <a:lstStyle/>
          <a:p>
            <a:pPr>
              <a:lnSpc>
                <a:spcPct val="90000"/>
              </a:lnSpc>
              <a:spcBef>
                <a:spcPts val="1199"/>
              </a:spcBef>
            </a:pPr>
            <a:r>
              <a:rPr lang="en-US" sz="1599" spc="-30" dirty="0">
                <a:solidFill>
                  <a:schemeClr val="bg2">
                    <a:lumMod val="50000"/>
                  </a:schemeClr>
                </a:solidFill>
              </a:rPr>
              <a:t>Users can </a:t>
            </a:r>
            <a:r>
              <a:rPr lang="en-US" sz="1599" b="1" spc="-30" dirty="0">
                <a:solidFill>
                  <a:schemeClr val="bg2">
                    <a:lumMod val="50000"/>
                  </a:schemeClr>
                </a:solidFill>
              </a:rPr>
              <a:t>register their devices </a:t>
            </a:r>
            <a:r>
              <a:rPr lang="en-US" sz="1599" spc="-30" dirty="0">
                <a:solidFill>
                  <a:schemeClr val="bg2">
                    <a:lumMod val="50000"/>
                  </a:schemeClr>
                </a:solidFill>
              </a:rPr>
              <a:t>to gain access to corporate data and apps and single sign-on through </a:t>
            </a:r>
            <a:r>
              <a:rPr lang="en-US" sz="1599" b="1" spc="-30" dirty="0">
                <a:solidFill>
                  <a:schemeClr val="bg2">
                    <a:lumMod val="50000"/>
                  </a:schemeClr>
                </a:solidFill>
              </a:rPr>
              <a:t>device authentication </a:t>
            </a:r>
          </a:p>
        </p:txBody>
      </p:sp>
      <p:sp>
        <p:nvSpPr>
          <p:cNvPr id="536" name="Rectangle 535"/>
          <p:cNvSpPr/>
          <p:nvPr/>
        </p:nvSpPr>
        <p:spPr bwMode="auto">
          <a:xfrm>
            <a:off x="5522904" y="4730066"/>
            <a:ext cx="3128659" cy="1129399"/>
          </a:xfrm>
          <a:prstGeom prst="rect">
            <a:avLst/>
          </a:prstGeom>
          <a:ln>
            <a:noFill/>
          </a:ln>
        </p:spPr>
        <p:txBody>
          <a:bodyPr vert="horz" wrap="square" lIns="0" tIns="0" rIns="0" bIns="0" rtlCol="0">
            <a:spAutoFit/>
          </a:bodyPr>
          <a:lstStyle/>
          <a:p>
            <a:pPr>
              <a:lnSpc>
                <a:spcPct val="90000"/>
              </a:lnSpc>
              <a:spcBef>
                <a:spcPts val="1199"/>
              </a:spcBef>
            </a:pPr>
            <a:r>
              <a:rPr lang="en-US" sz="1599" b="1" spc="-30" dirty="0">
                <a:solidFill>
                  <a:schemeClr val="bg2">
                    <a:lumMod val="50000"/>
                  </a:schemeClr>
                </a:solidFill>
              </a:rPr>
              <a:t>Conditional access </a:t>
            </a:r>
            <a:r>
              <a:rPr lang="en-US" sz="1599" spc="-30" dirty="0">
                <a:solidFill>
                  <a:schemeClr val="bg2">
                    <a:lumMod val="50000"/>
                  </a:schemeClr>
                </a:solidFill>
              </a:rPr>
              <a:t>with multi-factor authentication is provided on a </a:t>
            </a:r>
            <a:r>
              <a:rPr lang="en-US" sz="1599" b="1" spc="-30" dirty="0">
                <a:solidFill>
                  <a:schemeClr val="bg2">
                    <a:lumMod val="50000"/>
                  </a:schemeClr>
                </a:solidFill>
              </a:rPr>
              <a:t>per-application basis</a:t>
            </a:r>
            <a:r>
              <a:rPr lang="en-US" sz="1599" spc="-30" dirty="0">
                <a:solidFill>
                  <a:schemeClr val="bg2">
                    <a:lumMod val="50000"/>
                  </a:schemeClr>
                </a:solidFill>
              </a:rPr>
              <a:t>, leveraging user identity, device registration &amp; network location</a:t>
            </a:r>
          </a:p>
        </p:txBody>
      </p:sp>
      <p:sp>
        <p:nvSpPr>
          <p:cNvPr id="537" name="Rectangle 536"/>
          <p:cNvSpPr/>
          <p:nvPr/>
        </p:nvSpPr>
        <p:spPr bwMode="auto">
          <a:xfrm>
            <a:off x="147787" y="2655668"/>
            <a:ext cx="2099464" cy="1129399"/>
          </a:xfrm>
          <a:prstGeom prst="rect">
            <a:avLst/>
          </a:prstGeom>
          <a:ln>
            <a:noFill/>
          </a:ln>
        </p:spPr>
        <p:txBody>
          <a:bodyPr vert="horz" wrap="square" lIns="0" tIns="0" rIns="0" bIns="0" rtlCol="0">
            <a:spAutoFit/>
          </a:bodyPr>
          <a:lstStyle/>
          <a:p>
            <a:pPr>
              <a:lnSpc>
                <a:spcPct val="90000"/>
              </a:lnSpc>
              <a:spcBef>
                <a:spcPts val="1199"/>
              </a:spcBef>
            </a:pPr>
            <a:r>
              <a:rPr lang="en-US" sz="1599" spc="-30" dirty="0">
                <a:solidFill>
                  <a:schemeClr val="bg2">
                    <a:lumMod val="50000"/>
                  </a:schemeClr>
                </a:solidFill>
              </a:rPr>
              <a:t>Organizations can </a:t>
            </a:r>
            <a:r>
              <a:rPr lang="en-US" sz="1599" b="1" spc="-30" dirty="0">
                <a:solidFill>
                  <a:schemeClr val="bg2">
                    <a:lumMod val="50000"/>
                  </a:schemeClr>
                </a:solidFill>
              </a:rPr>
              <a:t>federate</a:t>
            </a:r>
            <a:r>
              <a:rPr lang="en-US" sz="1599" spc="-30" dirty="0">
                <a:solidFill>
                  <a:schemeClr val="bg2">
                    <a:lumMod val="50000"/>
                  </a:schemeClr>
                </a:solidFill>
              </a:rPr>
              <a:t> with partners and other organizations for </a:t>
            </a:r>
            <a:r>
              <a:rPr lang="en-US" sz="1599" b="1" spc="-30" dirty="0">
                <a:solidFill>
                  <a:schemeClr val="bg2">
                    <a:lumMod val="50000"/>
                  </a:schemeClr>
                </a:solidFill>
              </a:rPr>
              <a:t>seamless access to shared resources</a:t>
            </a:r>
          </a:p>
        </p:txBody>
      </p:sp>
      <p:sp>
        <p:nvSpPr>
          <p:cNvPr id="538" name="Rectangle 537"/>
          <p:cNvSpPr/>
          <p:nvPr/>
        </p:nvSpPr>
        <p:spPr bwMode="auto">
          <a:xfrm>
            <a:off x="4653631" y="1232848"/>
            <a:ext cx="3488327" cy="677640"/>
          </a:xfrm>
          <a:prstGeom prst="rect">
            <a:avLst/>
          </a:prstGeom>
          <a:ln>
            <a:noFill/>
          </a:ln>
        </p:spPr>
        <p:txBody>
          <a:bodyPr vert="horz" wrap="square" lIns="0" tIns="0" rIns="0" bIns="0" rtlCol="0">
            <a:spAutoFit/>
          </a:bodyPr>
          <a:lstStyle/>
          <a:p>
            <a:pPr>
              <a:lnSpc>
                <a:spcPct val="90000"/>
              </a:lnSpc>
              <a:spcBef>
                <a:spcPts val="1199"/>
              </a:spcBef>
            </a:pPr>
            <a:r>
              <a:rPr lang="en-US" sz="1599" spc="-30" dirty="0">
                <a:solidFill>
                  <a:schemeClr val="bg2">
                    <a:lumMod val="50000"/>
                  </a:schemeClr>
                </a:solidFill>
              </a:rPr>
              <a:t>Organizations can </a:t>
            </a:r>
            <a:r>
              <a:rPr lang="en-US" sz="1599" b="1" spc="-30" dirty="0">
                <a:solidFill>
                  <a:schemeClr val="bg2">
                    <a:lumMod val="50000"/>
                  </a:schemeClr>
                </a:solidFill>
              </a:rPr>
              <a:t>connect </a:t>
            </a:r>
            <a:r>
              <a:rPr lang="en-US" sz="1599" spc="-30" dirty="0">
                <a:solidFill>
                  <a:schemeClr val="bg2">
                    <a:lumMod val="50000"/>
                  </a:schemeClr>
                </a:solidFill>
              </a:rPr>
              <a:t>to SaaS applications running in Windows Azure, Office 365 and </a:t>
            </a:r>
            <a:r>
              <a:rPr lang="en-US" sz="1599" b="1" spc="-30" dirty="0">
                <a:solidFill>
                  <a:schemeClr val="bg2">
                    <a:lumMod val="50000"/>
                  </a:schemeClr>
                </a:solidFill>
              </a:rPr>
              <a:t>3</a:t>
            </a:r>
            <a:r>
              <a:rPr lang="en-US" sz="1599" b="1" spc="-30" baseline="30000" dirty="0">
                <a:solidFill>
                  <a:schemeClr val="bg2">
                    <a:lumMod val="50000"/>
                  </a:schemeClr>
                </a:solidFill>
              </a:rPr>
              <a:t>rd</a:t>
            </a:r>
            <a:r>
              <a:rPr lang="en-US" sz="1599" b="1" spc="-30" dirty="0">
                <a:solidFill>
                  <a:schemeClr val="bg2">
                    <a:lumMod val="50000"/>
                  </a:schemeClr>
                </a:solidFill>
              </a:rPr>
              <a:t> party providers</a:t>
            </a:r>
          </a:p>
        </p:txBody>
      </p:sp>
    </p:spTree>
    <p:extLst>
      <p:ext uri="{BB962C8B-B14F-4D97-AF65-F5344CB8AC3E}">
        <p14:creationId xmlns:p14="http://schemas.microsoft.com/office/powerpoint/2010/main" val="333858874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157785141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ntity Capabilities for BYOD</a:t>
            </a:r>
            <a:endParaRPr lang="en-US" dirty="0"/>
          </a:p>
        </p:txBody>
      </p:sp>
      <p:sp>
        <p:nvSpPr>
          <p:cNvPr id="3" name="Rectangle 2"/>
          <p:cNvSpPr/>
          <p:nvPr/>
        </p:nvSpPr>
        <p:spPr bwMode="auto">
          <a:xfrm>
            <a:off x="547359" y="1449900"/>
            <a:ext cx="3255796" cy="63223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AD Workplace Join</a:t>
            </a:r>
          </a:p>
        </p:txBody>
      </p:sp>
      <p:sp>
        <p:nvSpPr>
          <p:cNvPr id="4" name="Rectangle 3"/>
          <p:cNvSpPr/>
          <p:nvPr/>
        </p:nvSpPr>
        <p:spPr bwMode="auto">
          <a:xfrm>
            <a:off x="3928396" y="1449900"/>
            <a:ext cx="7986960" cy="63223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Users join their device to their workplace (Lite domain join), making the device known to the company’s Active </a:t>
            </a:r>
            <a:r>
              <a:rPr lang="en-US" sz="1632" dirty="0" smtClean="0">
                <a:solidFill>
                  <a:schemeClr val="dk1"/>
                </a:solidFill>
              </a:rPr>
              <a:t>Directory for SSO, seamless MFA &amp; authorization</a:t>
            </a:r>
            <a:endParaRPr lang="en-US" sz="1632" dirty="0">
              <a:solidFill>
                <a:schemeClr val="dk1"/>
              </a:solidFill>
            </a:endParaRPr>
          </a:p>
        </p:txBody>
      </p:sp>
      <p:sp>
        <p:nvSpPr>
          <p:cNvPr id="5" name="Rectangle 4"/>
          <p:cNvSpPr/>
          <p:nvPr/>
        </p:nvSpPr>
        <p:spPr bwMode="auto">
          <a:xfrm>
            <a:off x="547359" y="2233826"/>
            <a:ext cx="3255796" cy="63223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Single Sign On (SSO)</a:t>
            </a:r>
          </a:p>
        </p:txBody>
      </p:sp>
      <p:sp>
        <p:nvSpPr>
          <p:cNvPr id="6" name="Rectangle 5"/>
          <p:cNvSpPr/>
          <p:nvPr/>
        </p:nvSpPr>
        <p:spPr bwMode="auto">
          <a:xfrm>
            <a:off x="3912986" y="2233826"/>
            <a:ext cx="7986960" cy="63223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r>
              <a:rPr lang="es-CO" sz="1632" dirty="0" err="1">
                <a:solidFill>
                  <a:schemeClr val="dk1"/>
                </a:solidFill>
              </a:rPr>
              <a:t>Users</a:t>
            </a:r>
            <a:r>
              <a:rPr lang="es-CO" sz="1632" dirty="0">
                <a:solidFill>
                  <a:schemeClr val="dk1"/>
                </a:solidFill>
              </a:rPr>
              <a:t> </a:t>
            </a:r>
            <a:r>
              <a:rPr lang="es-CO" sz="1632" dirty="0" err="1">
                <a:solidFill>
                  <a:schemeClr val="dk1"/>
                </a:solidFill>
              </a:rPr>
              <a:t>sign</a:t>
            </a:r>
            <a:r>
              <a:rPr lang="es-CO" sz="1632" dirty="0">
                <a:solidFill>
                  <a:schemeClr val="dk1"/>
                </a:solidFill>
              </a:rPr>
              <a:t>-in once </a:t>
            </a:r>
            <a:r>
              <a:rPr lang="en-US" sz="1632" dirty="0">
                <a:solidFill>
                  <a:schemeClr val="dk1"/>
                </a:solidFill>
              </a:rPr>
              <a:t>to their company from any application and are not be prompted for credentials by every company application when using registered devices.</a:t>
            </a:r>
          </a:p>
        </p:txBody>
      </p:sp>
      <p:sp>
        <p:nvSpPr>
          <p:cNvPr id="7" name="Rectangle 6"/>
          <p:cNvSpPr/>
          <p:nvPr/>
        </p:nvSpPr>
        <p:spPr bwMode="auto">
          <a:xfrm>
            <a:off x="547359" y="3973552"/>
            <a:ext cx="3255796" cy="63223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uthentication</a:t>
            </a:r>
          </a:p>
        </p:txBody>
      </p:sp>
      <p:sp>
        <p:nvSpPr>
          <p:cNvPr id="8" name="Rectangle 7"/>
          <p:cNvSpPr/>
          <p:nvPr/>
        </p:nvSpPr>
        <p:spPr bwMode="auto">
          <a:xfrm>
            <a:off x="3928396" y="3973552"/>
            <a:ext cx="7986960" cy="63223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require additional factors of authentication when business critical resources are accessed or when there is perceived risk</a:t>
            </a:r>
          </a:p>
        </p:txBody>
      </p:sp>
      <p:sp>
        <p:nvSpPr>
          <p:cNvPr id="9" name="Rectangle 8"/>
          <p:cNvSpPr/>
          <p:nvPr/>
        </p:nvSpPr>
        <p:spPr bwMode="auto">
          <a:xfrm>
            <a:off x="561150" y="4757478"/>
            <a:ext cx="3255796" cy="63223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ccess Control</a:t>
            </a:r>
          </a:p>
        </p:txBody>
      </p:sp>
      <p:sp>
        <p:nvSpPr>
          <p:cNvPr id="10" name="Rectangle 9"/>
          <p:cNvSpPr/>
          <p:nvPr/>
        </p:nvSpPr>
        <p:spPr bwMode="auto">
          <a:xfrm>
            <a:off x="3942187" y="4757478"/>
            <a:ext cx="7986960" cy="63223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set conditional access control to resources based on four core pivots: the user, the device used, the user’s network location and use of additional </a:t>
            </a:r>
            <a:r>
              <a:rPr lang="en-US" sz="1632" dirty="0" err="1">
                <a:solidFill>
                  <a:schemeClr val="dk1"/>
                </a:solidFill>
              </a:rPr>
              <a:t>auth</a:t>
            </a:r>
            <a:r>
              <a:rPr lang="en-US" sz="1632" dirty="0">
                <a:solidFill>
                  <a:schemeClr val="dk1"/>
                </a:solidFill>
              </a:rPr>
              <a:t> factors</a:t>
            </a:r>
          </a:p>
        </p:txBody>
      </p:sp>
      <p:sp>
        <p:nvSpPr>
          <p:cNvPr id="11" name="Rectangle 10"/>
          <p:cNvSpPr/>
          <p:nvPr/>
        </p:nvSpPr>
        <p:spPr bwMode="auto">
          <a:xfrm>
            <a:off x="531949" y="3016826"/>
            <a:ext cx="3255796" cy="63223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Work From Anywhere</a:t>
            </a:r>
          </a:p>
        </p:txBody>
      </p:sp>
      <p:sp>
        <p:nvSpPr>
          <p:cNvPr id="12" name="Rectangle 11"/>
          <p:cNvSpPr/>
          <p:nvPr/>
        </p:nvSpPr>
        <p:spPr bwMode="auto">
          <a:xfrm>
            <a:off x="3912986" y="3016826"/>
            <a:ext cx="7986960" cy="63223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enable users to work from anywhere while adhering to their IT governance policies around risk management</a:t>
            </a:r>
          </a:p>
        </p:txBody>
      </p:sp>
      <p:sp>
        <p:nvSpPr>
          <p:cNvPr id="13" name="Rectangle 12"/>
          <p:cNvSpPr/>
          <p:nvPr/>
        </p:nvSpPr>
        <p:spPr bwMode="auto">
          <a:xfrm>
            <a:off x="549146" y="5722826"/>
            <a:ext cx="3255796" cy="632231"/>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smtClean="0">
                <a:solidFill>
                  <a:srgbClr val="FFFFFF">
                    <a:alpha val="98824"/>
                  </a:srgbClr>
                </a:solidFill>
                <a:ea typeface="Segoe UI" pitchFamily="34" charset="0"/>
                <a:cs typeface="Segoe UI" pitchFamily="34" charset="0"/>
              </a:rPr>
              <a:t>AD Authentication Library</a:t>
            </a:r>
            <a:endParaRPr lang="en-US" sz="2040" dirty="0">
              <a:solidFill>
                <a:srgbClr val="FFFFFF">
                  <a:alpha val="98824"/>
                </a:srgbClr>
              </a:solidFill>
              <a:ea typeface="Segoe UI" pitchFamily="34" charset="0"/>
              <a:cs typeface="Segoe UI" pitchFamily="34" charset="0"/>
            </a:endParaRPr>
          </a:p>
        </p:txBody>
      </p:sp>
      <p:sp>
        <p:nvSpPr>
          <p:cNvPr id="14" name="Rectangle 13"/>
          <p:cNvSpPr/>
          <p:nvPr/>
        </p:nvSpPr>
        <p:spPr bwMode="auto">
          <a:xfrm>
            <a:off x="3930183" y="5722826"/>
            <a:ext cx="7986960" cy="632231"/>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3232" tIns="46617" rIns="93232" bIns="46617" numCol="1" rtlCol="0" anchor="ctr" anchorCtr="0" compatLnSpc="1">
            <a:prstTxWarp prst="textNoShape">
              <a:avLst/>
            </a:prstTxWarp>
          </a:bodyPr>
          <a:lstStyle/>
          <a:p>
            <a:pPr defTabSz="932290"/>
            <a:r>
              <a:rPr lang="en-US" sz="1632" dirty="0">
                <a:solidFill>
                  <a:schemeClr val="dk1"/>
                </a:solidFill>
              </a:rPr>
              <a:t>ISVs build enterprise apps that delivery SSO and allow enterprises to set the access control policies based on user, device and network location, and MFA</a:t>
            </a:r>
            <a:endParaRPr lang="en-US" sz="1632" dirty="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394170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2000" tmFilter="0, 0; .2, .5; .8, .5; 1, 0"/>
                                        <p:tgtEl>
                                          <p:spTgt spid="7"/>
                                        </p:tgtEl>
                                      </p:cBhvr>
                                    </p:animEffect>
                                    <p:animScale>
                                      <p:cBhvr>
                                        <p:cTn id="7" dur="1000" autoRev="1" fill="hold"/>
                                        <p:tgtEl>
                                          <p:spTgt spid="7"/>
                                        </p:tgtEl>
                                      </p:cBhvr>
                                      <p:by x="105000" y="105000"/>
                                    </p:animScale>
                                  </p:childTnLst>
                                </p:cTn>
                              </p:par>
                              <p:par>
                                <p:cTn id="8" presetID="26" presetClass="emph" presetSubtype="0" fill="hold" grpId="0" nodeType="withEffect">
                                  <p:stCondLst>
                                    <p:cond delay="0"/>
                                  </p:stCondLst>
                                  <p:childTnLst>
                                    <p:animEffect transition="out" filter="fade">
                                      <p:cBhvr>
                                        <p:cTn id="9" dur="2000" tmFilter="0, 0; .2, .5; .8, .5; 1, 0"/>
                                        <p:tgtEl>
                                          <p:spTgt spid="8"/>
                                        </p:tgtEl>
                                      </p:cBhvr>
                                    </p:animEffect>
                                    <p:animScale>
                                      <p:cBhvr>
                                        <p:cTn id="10" dur="1000" autoRev="1" fill="hold"/>
                                        <p:tgtEl>
                                          <p:spTgt spid="8"/>
                                        </p:tgtEl>
                                      </p:cBhvr>
                                      <p:by x="105000" y="105000"/>
                                    </p:animScale>
                                  </p:childTnLst>
                                </p:cTn>
                              </p:par>
                              <p:par>
                                <p:cTn id="11" presetID="26" presetClass="emph" presetSubtype="0" fill="hold" grpId="0" nodeType="withEffect">
                                  <p:stCondLst>
                                    <p:cond delay="0"/>
                                  </p:stCondLst>
                                  <p:childTnLst>
                                    <p:animEffect transition="out" filter="fade">
                                      <p:cBhvr>
                                        <p:cTn id="12" dur="2000" tmFilter="0, 0; .2, .5; .8, .5; 1, 0"/>
                                        <p:tgtEl>
                                          <p:spTgt spid="9"/>
                                        </p:tgtEl>
                                      </p:cBhvr>
                                    </p:animEffect>
                                    <p:animScale>
                                      <p:cBhvr>
                                        <p:cTn id="13" dur="1000" autoRev="1" fill="hold"/>
                                        <p:tgtEl>
                                          <p:spTgt spid="9"/>
                                        </p:tgtEl>
                                      </p:cBhvr>
                                      <p:by x="105000" y="105000"/>
                                    </p:animScale>
                                  </p:childTnLst>
                                </p:cTn>
                              </p:par>
                              <p:par>
                                <p:cTn id="14" presetID="26" presetClass="emph" presetSubtype="0" fill="hold" grpId="0" nodeType="withEffect">
                                  <p:stCondLst>
                                    <p:cond delay="0"/>
                                  </p:stCondLst>
                                  <p:childTnLst>
                                    <p:animEffect transition="out" filter="fade">
                                      <p:cBhvr>
                                        <p:cTn id="15" dur="2000" tmFilter="0, 0; .2, .5; .8, .5; 1, 0"/>
                                        <p:tgtEl>
                                          <p:spTgt spid="10"/>
                                        </p:tgtEl>
                                      </p:cBhvr>
                                    </p:animEffect>
                                    <p:animScale>
                                      <p:cBhvr>
                                        <p:cTn id="16" dur="100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rusted File Servers</a:t>
            </a:r>
            <a:endParaRPr lang="en-US" dirty="0"/>
          </a:p>
        </p:txBody>
      </p:sp>
      <p:sp>
        <p:nvSpPr>
          <p:cNvPr id="10" name="Rectangle 9"/>
          <p:cNvSpPr/>
          <p:nvPr/>
        </p:nvSpPr>
        <p:spPr bwMode="auto">
          <a:xfrm>
            <a:off x="6018269" y="1332129"/>
            <a:ext cx="5625862" cy="27270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err="1">
                <a:gradFill>
                  <a:gsLst>
                    <a:gs pos="0">
                      <a:srgbClr val="FFFFFF"/>
                    </a:gs>
                    <a:gs pos="100000">
                      <a:srgbClr val="FFFFFF"/>
                    </a:gs>
                  </a:gsLst>
                  <a:lin ang="5400000" scaled="0"/>
                </a:gradFill>
                <a:ea typeface="Segoe UI" pitchFamily="34" charset="0"/>
                <a:cs typeface="Segoe UI" pitchFamily="34" charset="0"/>
              </a:rPr>
              <a:t>Exabytes</a:t>
            </a:r>
            <a:r>
              <a:rPr lang="en-US" sz="3600" dirty="0">
                <a:gradFill>
                  <a:gsLst>
                    <a:gs pos="0">
                      <a:srgbClr val="FFFFFF"/>
                    </a:gs>
                    <a:gs pos="100000">
                      <a:srgbClr val="FFFFFF"/>
                    </a:gs>
                  </a:gsLst>
                  <a:lin ang="5400000" scaled="0"/>
                </a:gradFill>
                <a:ea typeface="Segoe UI" pitchFamily="34" charset="0"/>
                <a:cs typeface="Segoe UI" pitchFamily="34" charset="0"/>
              </a:rPr>
              <a:t> deployed</a:t>
            </a:r>
          </a:p>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annually</a:t>
            </a:r>
          </a:p>
        </p:txBody>
      </p:sp>
      <p:sp>
        <p:nvSpPr>
          <p:cNvPr id="11" name="Rectangle 10"/>
          <p:cNvSpPr/>
          <p:nvPr/>
        </p:nvSpPr>
        <p:spPr bwMode="auto">
          <a:xfrm rot="10800000" flipH="1" flipV="1">
            <a:off x="405114" y="4051223"/>
            <a:ext cx="5625866" cy="27315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Rich</a:t>
            </a:r>
          </a:p>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ecosystem</a:t>
            </a:r>
          </a:p>
        </p:txBody>
      </p:sp>
      <p:sp>
        <p:nvSpPr>
          <p:cNvPr id="12" name="Rectangle 11"/>
          <p:cNvSpPr/>
          <p:nvPr/>
        </p:nvSpPr>
        <p:spPr bwMode="auto">
          <a:xfrm flipH="1">
            <a:off x="405922" y="1331090"/>
            <a:ext cx="5620736" cy="2729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Original server</a:t>
            </a:r>
          </a:p>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workload</a:t>
            </a:r>
          </a:p>
        </p:txBody>
      </p:sp>
      <p:sp>
        <p:nvSpPr>
          <p:cNvPr id="13" name="Rectangle 12"/>
          <p:cNvSpPr/>
          <p:nvPr/>
        </p:nvSpPr>
        <p:spPr bwMode="auto">
          <a:xfrm rot="10800000" flipV="1">
            <a:off x="6021317" y="4049126"/>
            <a:ext cx="5620738" cy="27315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Simple </a:t>
            </a:r>
            <a:r>
              <a:rPr lang="en-US" sz="3600" dirty="0" smtClean="0">
                <a:gradFill>
                  <a:gsLst>
                    <a:gs pos="0">
                      <a:srgbClr val="FFFFFF"/>
                    </a:gs>
                    <a:gs pos="100000">
                      <a:srgbClr val="FFFFFF"/>
                    </a:gs>
                  </a:gsLst>
                  <a:lin ang="5400000" scaled="0"/>
                </a:gradFill>
                <a:ea typeface="Segoe UI" pitchFamily="34" charset="0"/>
                <a:cs typeface="Segoe UI" pitchFamily="34" charset="0"/>
              </a:rPr>
              <a:t>and</a:t>
            </a:r>
          </a:p>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efficient</a:t>
            </a: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a:grpSpLocks noChangeAspect="1"/>
          </p:cNvGrpSpPr>
          <p:nvPr/>
        </p:nvGrpSpPr>
        <p:grpSpPr>
          <a:xfrm>
            <a:off x="5654799" y="3188964"/>
            <a:ext cx="1005261" cy="1575866"/>
            <a:chOff x="7014639" y="2869773"/>
            <a:chExt cx="741282" cy="1173191"/>
          </a:xfrm>
        </p:grpSpPr>
        <p:pic>
          <p:nvPicPr>
            <p:cNvPr id="5" name="Picture 4" descr="Untitled-1.png"/>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tretch>
              <a:fillRect/>
            </a:stretch>
          </p:blipFill>
          <p:spPr>
            <a:xfrm>
              <a:off x="7340440" y="2869773"/>
              <a:ext cx="415481" cy="481794"/>
            </a:xfrm>
            <a:prstGeom prst="rect">
              <a:avLst/>
            </a:prstGeom>
            <a:noFill/>
            <a:ln>
              <a:noFill/>
            </a:ln>
          </p:spPr>
        </p:pic>
        <p:sp>
          <p:nvSpPr>
            <p:cNvPr id="7" name="Freeform 6"/>
            <p:cNvSpPr>
              <a:spLocks noEditPoints="1"/>
            </p:cNvSpPr>
            <p:nvPr/>
          </p:nvSpPr>
          <p:spPr bwMode="auto">
            <a:xfrm>
              <a:off x="7014639" y="3134442"/>
              <a:ext cx="564026" cy="9085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tx1"/>
            </a:solidFill>
            <a:ln>
              <a:solidFill>
                <a:srgbClr val="5B9BD5"/>
              </a:solidFill>
            </a:ln>
          </p:spPr>
          <p:txBody>
            <a:bodyPr vert="horz" wrap="square" lIns="111629" tIns="55815" rIns="111629" bIns="55815" numCol="1" anchor="t" anchorCtr="0" compatLnSpc="1">
              <a:prstTxWarp prst="textNoShape">
                <a:avLst/>
              </a:prstTxWarp>
            </a:bodyPr>
            <a:lstStyle/>
            <a:p>
              <a:pPr algn="ctr" defTabSz="930266">
                <a:defRPr/>
              </a:pPr>
              <a:endParaRPr lang="en-US" sz="1831" kern="0" dirty="0">
                <a:solidFill>
                  <a:prstClr val="black"/>
                </a:solidFill>
              </a:endParaRPr>
            </a:p>
          </p:txBody>
        </p:sp>
      </p:grpSp>
    </p:spTree>
    <p:extLst>
      <p:ext uri="{BB962C8B-B14F-4D97-AF65-F5344CB8AC3E}">
        <p14:creationId xmlns:p14="http://schemas.microsoft.com/office/powerpoint/2010/main" val="15134531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12450" b="12450"/>
          <a:stretch/>
        </p:blipFill>
        <p:spPr>
          <a:xfrm>
            <a:off x="0" y="-10633"/>
            <a:ext cx="12440093" cy="7006856"/>
          </a:xfrm>
          <a:prstGeom prst="rect">
            <a:avLst/>
          </a:prstGeom>
        </p:spPr>
      </p:pic>
    </p:spTree>
    <p:extLst>
      <p:ext uri="{BB962C8B-B14F-4D97-AF65-F5344CB8AC3E}">
        <p14:creationId xmlns:p14="http://schemas.microsoft.com/office/powerpoint/2010/main" val="135629293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troducing Work Folders</a:t>
            </a:r>
            <a:endParaRPr lang="en-US" dirty="0"/>
          </a:p>
        </p:txBody>
      </p:sp>
      <p:sp>
        <p:nvSpPr>
          <p:cNvPr id="2" name="Text Placeholder 1"/>
          <p:cNvSpPr>
            <a:spLocks noGrp="1"/>
          </p:cNvSpPr>
          <p:nvPr>
            <p:ph type="body" sz="quarter" idx="10"/>
          </p:nvPr>
        </p:nvSpPr>
        <p:spPr>
          <a:xfrm>
            <a:off x="274638" y="1212850"/>
            <a:ext cx="11887200" cy="4543552"/>
          </a:xfrm>
        </p:spPr>
        <p:txBody>
          <a:bodyPr/>
          <a:lstStyle/>
          <a:p>
            <a:pPr marL="571500" indent="-571500">
              <a:spcBef>
                <a:spcPts val="2400"/>
              </a:spcBef>
              <a:buFont typeface="Wingdings" panose="05000000000000000000" pitchFamily="2" charset="2"/>
              <a:buChar char="Ø"/>
            </a:pPr>
            <a:endParaRPr lang="en-US" sz="2000" dirty="0"/>
          </a:p>
          <a:p>
            <a:pPr>
              <a:spcBef>
                <a:spcPts val="2400"/>
              </a:spcBef>
            </a:pPr>
            <a:r>
              <a:rPr lang="en-US" sz="3672" dirty="0"/>
              <a:t>Allow information workers to access their </a:t>
            </a:r>
            <a:r>
              <a:rPr lang="en-US" sz="3672" u="sng" dirty="0"/>
              <a:t>individual </a:t>
            </a:r>
            <a:r>
              <a:rPr lang="en-US" sz="3672" u="sng" dirty="0" smtClean="0"/>
              <a:t>data</a:t>
            </a:r>
          </a:p>
          <a:p>
            <a:pPr>
              <a:spcBef>
                <a:spcPts val="2400"/>
              </a:spcBef>
            </a:pPr>
            <a:r>
              <a:rPr lang="en-US" sz="3672" dirty="0" smtClean="0"/>
              <a:t>… that </a:t>
            </a:r>
            <a:r>
              <a:rPr lang="en-US" sz="3672" dirty="0"/>
              <a:t>is centrally located on a traditional </a:t>
            </a:r>
            <a:r>
              <a:rPr lang="en-US" sz="3672" u="sng" dirty="0"/>
              <a:t>file </a:t>
            </a:r>
            <a:r>
              <a:rPr lang="en-US" sz="3672" u="sng" dirty="0" smtClean="0"/>
              <a:t>server</a:t>
            </a:r>
          </a:p>
          <a:p>
            <a:pPr>
              <a:spcBef>
                <a:spcPts val="2400"/>
              </a:spcBef>
            </a:pPr>
            <a:r>
              <a:rPr lang="en-US" sz="3672" dirty="0" smtClean="0"/>
              <a:t>… from all of their </a:t>
            </a:r>
            <a:r>
              <a:rPr lang="en-US" sz="3672" u="sng" dirty="0" smtClean="0"/>
              <a:t>devices</a:t>
            </a:r>
          </a:p>
          <a:p>
            <a:pPr>
              <a:spcBef>
                <a:spcPts val="2400"/>
              </a:spcBef>
            </a:pPr>
            <a:r>
              <a:rPr lang="en-US" sz="3672" dirty="0" smtClean="0"/>
              <a:t>… from </a:t>
            </a:r>
            <a:r>
              <a:rPr lang="en-US" sz="3672" u="sng" dirty="0"/>
              <a:t>wherever</a:t>
            </a:r>
            <a:r>
              <a:rPr lang="en-US" sz="3672" dirty="0"/>
              <a:t> they are</a:t>
            </a:r>
          </a:p>
          <a:p>
            <a:pPr>
              <a:spcBef>
                <a:spcPts val="2400"/>
              </a:spcBef>
            </a:pPr>
            <a:r>
              <a:rPr lang="en-US" sz="3672" dirty="0" smtClean="0"/>
              <a:t>… while </a:t>
            </a:r>
            <a:r>
              <a:rPr lang="en-US" sz="3672" u="sng" dirty="0"/>
              <a:t>remaining in compliance </a:t>
            </a:r>
            <a:r>
              <a:rPr lang="en-US" sz="3672" dirty="0"/>
              <a:t>with </a:t>
            </a:r>
            <a:r>
              <a:rPr lang="en-US" sz="3672" dirty="0" smtClean="0"/>
              <a:t>policies</a:t>
            </a:r>
            <a:endParaRPr lang="en-US" sz="3672" dirty="0"/>
          </a:p>
        </p:txBody>
      </p:sp>
    </p:spTree>
    <p:extLst>
      <p:ext uri="{BB962C8B-B14F-4D97-AF65-F5344CB8AC3E}">
        <p14:creationId xmlns:p14="http://schemas.microsoft.com/office/powerpoint/2010/main" val="842850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Folders Topology</a:t>
            </a:r>
            <a:endParaRPr lang="en-US" dirty="0"/>
          </a:p>
        </p:txBody>
      </p:sp>
      <p:sp>
        <p:nvSpPr>
          <p:cNvPr id="4" name="Rectangle 3"/>
          <p:cNvSpPr/>
          <p:nvPr/>
        </p:nvSpPr>
        <p:spPr>
          <a:xfrm>
            <a:off x="676072" y="1983177"/>
            <a:ext cx="1735018" cy="41352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1">
              <a:solidFill>
                <a:prstClr val="white"/>
              </a:solidFill>
            </a:endParaRPr>
          </a:p>
        </p:txBody>
      </p:sp>
      <p:sp>
        <p:nvSpPr>
          <p:cNvPr id="5" name="Rectangle 4"/>
          <p:cNvSpPr/>
          <p:nvPr/>
        </p:nvSpPr>
        <p:spPr>
          <a:xfrm>
            <a:off x="3953183" y="1721710"/>
            <a:ext cx="7721921" cy="439673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1">
              <a:solidFill>
                <a:prstClr val="white"/>
              </a:solidFill>
            </a:endParaRPr>
          </a:p>
        </p:txBody>
      </p:sp>
      <p:pic>
        <p:nvPicPr>
          <p:cNvPr id="7" name="Picture 6" descr="Untitled-1.png"/>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tretch>
            <a:fillRect/>
          </a:stretch>
        </p:blipFill>
        <p:spPr>
          <a:xfrm>
            <a:off x="7489071" y="3258595"/>
            <a:ext cx="423752" cy="491385"/>
          </a:xfrm>
          <a:prstGeom prst="rect">
            <a:avLst/>
          </a:prstGeom>
          <a:noFill/>
          <a:ln>
            <a:noFill/>
          </a:ln>
        </p:spPr>
      </p:pic>
      <p:sp>
        <p:nvSpPr>
          <p:cNvPr id="10" name="Freeform 20"/>
          <p:cNvSpPr>
            <a:spLocks noChangeAspect="1" noEditPoints="1"/>
          </p:cNvSpPr>
          <p:nvPr/>
        </p:nvSpPr>
        <p:spPr bwMode="black">
          <a:xfrm>
            <a:off x="10368505" y="3773545"/>
            <a:ext cx="756404" cy="49083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ysClr val="window" lastClr="FFFFFF"/>
          </a:solidFill>
          <a:ln>
            <a:solidFill>
              <a:sysClr val="window" lastClr="FFFFFF"/>
            </a:solidFill>
          </a:ln>
          <a:extLst/>
        </p:spPr>
        <p:txBody>
          <a:bodyPr vert="horz" wrap="square" lIns="85377" tIns="42689" rIns="85377" bIns="42689" numCol="1" anchor="t" anchorCtr="0" compatLnSpc="1">
            <a:prstTxWarp prst="textNoShape">
              <a:avLst/>
            </a:prstTxWarp>
          </a:bodyPr>
          <a:lstStyle/>
          <a:p>
            <a:pPr defTabSz="948778">
              <a:defRPr/>
            </a:pPr>
            <a:endParaRPr lang="en-US" sz="934" kern="0" dirty="0">
              <a:solidFill>
                <a:prstClr val="black"/>
              </a:solidFill>
            </a:endParaRPr>
          </a:p>
        </p:txBody>
      </p:sp>
      <p:cxnSp>
        <p:nvCxnSpPr>
          <p:cNvPr id="43" name="Straight Connector 42"/>
          <p:cNvCxnSpPr/>
          <p:nvPr/>
        </p:nvCxnSpPr>
        <p:spPr>
          <a:xfrm flipH="1" flipV="1">
            <a:off x="7814144" y="4051476"/>
            <a:ext cx="2078758" cy="403665"/>
          </a:xfrm>
          <a:prstGeom prst="line">
            <a:avLst/>
          </a:prstGeom>
          <a:noFill/>
          <a:ln w="25400" cap="rnd" cmpd="sng" algn="ctr">
            <a:solidFill>
              <a:sysClr val="window" lastClr="FFFFFF"/>
            </a:solidFill>
            <a:prstDash val="sysDot"/>
            <a:miter lim="800000"/>
            <a:headEnd type="none"/>
            <a:tailEnd type="none"/>
          </a:ln>
          <a:effectLst/>
        </p:spPr>
      </p:cxnSp>
      <p:grpSp>
        <p:nvGrpSpPr>
          <p:cNvPr id="44" name="Group 43"/>
          <p:cNvGrpSpPr/>
          <p:nvPr/>
        </p:nvGrpSpPr>
        <p:grpSpPr>
          <a:xfrm>
            <a:off x="6934925" y="3528533"/>
            <a:ext cx="1026727" cy="1292831"/>
            <a:chOff x="6762785" y="2483449"/>
            <a:chExt cx="1009181" cy="1270740"/>
          </a:xfrm>
          <a:solidFill>
            <a:schemeClr val="tx1"/>
          </a:solidFill>
        </p:grpSpPr>
        <p:sp>
          <p:nvSpPr>
            <p:cNvPr id="45" name="Freeform 6"/>
            <p:cNvSpPr>
              <a:spLocks noEditPoints="1"/>
            </p:cNvSpPr>
            <p:nvPr/>
          </p:nvSpPr>
          <p:spPr bwMode="auto">
            <a:xfrm>
              <a:off x="6980850" y="2483449"/>
              <a:ext cx="565424" cy="910775"/>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grpFill/>
            <a:ln>
              <a:solidFill>
                <a:srgbClr val="5B9BD5"/>
              </a:solidFill>
            </a:ln>
          </p:spPr>
          <p:txBody>
            <a:bodyPr vert="horz" wrap="square" lIns="113851" tIns="56926" rIns="113851" bIns="56926" numCol="1" anchor="t" anchorCtr="0" compatLnSpc="1">
              <a:prstTxWarp prst="textNoShape">
                <a:avLst/>
              </a:prstTxWarp>
            </a:bodyPr>
            <a:lstStyle/>
            <a:p>
              <a:pPr defTabSz="948778">
                <a:defRPr/>
              </a:pPr>
              <a:endParaRPr lang="en-US" sz="1867" kern="0" dirty="0">
                <a:solidFill>
                  <a:prstClr val="black"/>
                </a:solidFill>
              </a:endParaRPr>
            </a:p>
          </p:txBody>
        </p:sp>
        <p:sp>
          <p:nvSpPr>
            <p:cNvPr id="46" name="Rectangle 45"/>
            <p:cNvSpPr/>
            <p:nvPr/>
          </p:nvSpPr>
          <p:spPr>
            <a:xfrm>
              <a:off x="6762785" y="3503050"/>
              <a:ext cx="1009181" cy="251139"/>
            </a:xfrm>
            <a:prstGeom prst="rect">
              <a:avLst/>
            </a:prstGeom>
            <a:noFill/>
            <a:ln>
              <a:noFill/>
            </a:ln>
          </p:spPr>
          <p:txBody>
            <a:bodyPr wrap="none" lIns="0" tIns="0" rIns="0" bIns="0" anchor="ctr">
              <a:spAutoFit/>
            </a:bodyPr>
            <a:lstStyle/>
            <a:p>
              <a:pPr algn="ctr" defTabSz="1137712" fontAlgn="base">
                <a:spcBef>
                  <a:spcPts val="1494"/>
                </a:spcBef>
                <a:spcAft>
                  <a:spcPct val="0"/>
                </a:spcAft>
              </a:pPr>
              <a:r>
                <a:rPr lang="en-US" sz="1628" dirty="0">
                  <a:ln>
                    <a:solidFill>
                      <a:srgbClr val="FFFFFF">
                        <a:alpha val="0"/>
                      </a:srgbClr>
                    </a:solidFill>
                  </a:ln>
                  <a:solidFill>
                    <a:prstClr val="white"/>
                  </a:solidFill>
                  <a:latin typeface="Segoe"/>
                </a:rPr>
                <a:t>File Server</a:t>
              </a:r>
            </a:p>
          </p:txBody>
        </p:sp>
      </p:grpSp>
      <p:cxnSp>
        <p:nvCxnSpPr>
          <p:cNvPr id="47" name="Straight Connector 46"/>
          <p:cNvCxnSpPr/>
          <p:nvPr/>
        </p:nvCxnSpPr>
        <p:spPr>
          <a:xfrm flipH="1">
            <a:off x="4282303" y="4038187"/>
            <a:ext cx="2763296" cy="11744"/>
          </a:xfrm>
          <a:prstGeom prst="line">
            <a:avLst/>
          </a:prstGeom>
          <a:noFill/>
          <a:ln w="25400" cap="rnd" cmpd="sng" algn="ctr">
            <a:solidFill>
              <a:sysClr val="window" lastClr="FFFFFF"/>
            </a:solidFill>
            <a:prstDash val="sysDot"/>
            <a:miter lim="800000"/>
            <a:headEnd type="none"/>
            <a:tailEnd type="none"/>
          </a:ln>
          <a:effectLst/>
        </p:spPr>
      </p:cxnSp>
      <p:sp>
        <p:nvSpPr>
          <p:cNvPr id="49" name="Freeform 20"/>
          <p:cNvSpPr>
            <a:spLocks noChangeAspect="1" noEditPoints="1"/>
          </p:cNvSpPr>
          <p:nvPr/>
        </p:nvSpPr>
        <p:spPr bwMode="black">
          <a:xfrm>
            <a:off x="1124818" y="5109150"/>
            <a:ext cx="756404" cy="49083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ysClr val="window" lastClr="FFFFFF"/>
          </a:solidFill>
          <a:ln>
            <a:solidFill>
              <a:sysClr val="window" lastClr="FFFFFF"/>
            </a:solidFill>
          </a:ln>
          <a:extLst/>
        </p:spPr>
        <p:txBody>
          <a:bodyPr vert="horz" wrap="square" lIns="85377" tIns="42689" rIns="85377" bIns="42689" numCol="1" anchor="t" anchorCtr="0" compatLnSpc="1">
            <a:prstTxWarp prst="textNoShape">
              <a:avLst/>
            </a:prstTxWarp>
          </a:bodyPr>
          <a:lstStyle/>
          <a:p>
            <a:pPr defTabSz="948778">
              <a:defRPr/>
            </a:pPr>
            <a:endParaRPr lang="en-US" sz="934" kern="0" dirty="0">
              <a:solidFill>
                <a:prstClr val="black"/>
              </a:solidFill>
            </a:endParaRPr>
          </a:p>
        </p:txBody>
      </p:sp>
      <p:grpSp>
        <p:nvGrpSpPr>
          <p:cNvPr id="51" name="Group 50"/>
          <p:cNvGrpSpPr/>
          <p:nvPr/>
        </p:nvGrpSpPr>
        <p:grpSpPr>
          <a:xfrm>
            <a:off x="1253969" y="4127800"/>
            <a:ext cx="438081" cy="577561"/>
            <a:chOff x="11005605" y="4867100"/>
            <a:chExt cx="422250" cy="556690"/>
          </a:xfrm>
        </p:grpSpPr>
        <p:sp>
          <p:nvSpPr>
            <p:cNvPr id="52" name="Rounded Rectangle 2"/>
            <p:cNvSpPr>
              <a:spLocks noChangeAspect="1"/>
            </p:cNvSpPr>
            <p:nvPr/>
          </p:nvSpPr>
          <p:spPr>
            <a:xfrm>
              <a:off x="11005605" y="4867100"/>
              <a:ext cx="422250" cy="556690"/>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ysClr val="window" lastClr="FFFFFF"/>
            </a:solidFill>
            <a:ln w="3175" cap="flat" cmpd="sng" algn="ctr">
              <a:solidFill>
                <a:srgbClr val="5B9BD5"/>
              </a:solidFill>
              <a:prstDash val="solid"/>
              <a:miter lim="800000"/>
            </a:ln>
            <a:effectLst/>
          </p:spPr>
          <p:txBody>
            <a:bodyPr rtlCol="0" anchor="ctr"/>
            <a:lstStyle/>
            <a:p>
              <a:pPr algn="ctr" defTabSz="948778">
                <a:defRPr/>
              </a:pPr>
              <a:endParaRPr lang="en-US" sz="1868" kern="0">
                <a:solidFill>
                  <a:prstClr val="black"/>
                </a:solidFill>
              </a:endParaRPr>
            </a:p>
          </p:txBody>
        </p:sp>
        <p:pic>
          <p:nvPicPr>
            <p:cNvPr id="53" name="Picture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84742" y="4951096"/>
              <a:ext cx="268350" cy="162299"/>
            </a:xfrm>
            <a:prstGeom prst="rect">
              <a:avLst/>
            </a:prstGeom>
            <a:solidFill>
              <a:srgbClr val="5B9BD5"/>
            </a:solidFill>
            <a:ln>
              <a:solidFill>
                <a:srgbClr val="5B9BD5"/>
              </a:solidFill>
            </a:ln>
          </p:spPr>
        </p:pic>
      </p:grpSp>
      <p:grpSp>
        <p:nvGrpSpPr>
          <p:cNvPr id="54" name="Group 53"/>
          <p:cNvGrpSpPr>
            <a:grpSpLocks noChangeAspect="1"/>
          </p:cNvGrpSpPr>
          <p:nvPr/>
        </p:nvGrpSpPr>
        <p:grpSpPr>
          <a:xfrm>
            <a:off x="1132628" y="3165910"/>
            <a:ext cx="680764" cy="498765"/>
            <a:chOff x="4415969" y="5352274"/>
            <a:chExt cx="891224" cy="652963"/>
          </a:xfrm>
        </p:grpSpPr>
        <p:sp>
          <p:nvSpPr>
            <p:cNvPr id="55" name="Rounded Rectangle 48"/>
            <p:cNvSpPr/>
            <p:nvPr/>
          </p:nvSpPr>
          <p:spPr>
            <a:xfrm rot="16200000">
              <a:off x="4535099" y="5233144"/>
              <a:ext cx="652963" cy="891224"/>
            </a:xfrm>
            <a:custGeom>
              <a:avLst/>
              <a:gdLst/>
              <a:ahLst/>
              <a:cxnLst/>
              <a:rect l="l" t="t" r="r" b="b"/>
              <a:pathLst>
                <a:path w="736600" h="929111">
                  <a:moveTo>
                    <a:pt x="163799" y="872703"/>
                  </a:moveTo>
                  <a:lnTo>
                    <a:pt x="163799" y="907053"/>
                  </a:lnTo>
                  <a:lnTo>
                    <a:pt x="198149" y="907053"/>
                  </a:lnTo>
                  <a:lnTo>
                    <a:pt x="198149" y="872703"/>
                  </a:lnTo>
                  <a:close/>
                  <a:moveTo>
                    <a:pt x="103474" y="872703"/>
                  </a:moveTo>
                  <a:lnTo>
                    <a:pt x="103474" y="907053"/>
                  </a:lnTo>
                  <a:lnTo>
                    <a:pt x="137824" y="907053"/>
                  </a:lnTo>
                  <a:lnTo>
                    <a:pt x="137824" y="872703"/>
                  </a:lnTo>
                  <a:close/>
                  <a:moveTo>
                    <a:pt x="85808" y="64817"/>
                  </a:moveTo>
                  <a:cubicBezTo>
                    <a:pt x="69794" y="64817"/>
                    <a:pt x="56812" y="79948"/>
                    <a:pt x="56812" y="98612"/>
                  </a:cubicBezTo>
                  <a:lnTo>
                    <a:pt x="56812" y="819588"/>
                  </a:lnTo>
                  <a:cubicBezTo>
                    <a:pt x="56812" y="838252"/>
                    <a:pt x="69794" y="853383"/>
                    <a:pt x="85808" y="853383"/>
                  </a:cubicBezTo>
                  <a:lnTo>
                    <a:pt x="652992" y="853383"/>
                  </a:lnTo>
                  <a:cubicBezTo>
                    <a:pt x="669005" y="853383"/>
                    <a:pt x="681988" y="838252"/>
                    <a:pt x="681988" y="819588"/>
                  </a:cubicBezTo>
                  <a:lnTo>
                    <a:pt x="681988" y="98612"/>
                  </a:lnTo>
                  <a:cubicBezTo>
                    <a:pt x="681988" y="79948"/>
                    <a:pt x="669005" y="64817"/>
                    <a:pt x="652992" y="64817"/>
                  </a:cubicBezTo>
                  <a:close/>
                  <a:moveTo>
                    <a:pt x="34164" y="0"/>
                  </a:moveTo>
                  <a:lnTo>
                    <a:pt x="702437" y="0"/>
                  </a:lnTo>
                  <a:cubicBezTo>
                    <a:pt x="721305" y="0"/>
                    <a:pt x="736600" y="17827"/>
                    <a:pt x="736600" y="39818"/>
                  </a:cubicBezTo>
                  <a:lnTo>
                    <a:pt x="736600" y="889293"/>
                  </a:lnTo>
                  <a:cubicBezTo>
                    <a:pt x="736600" y="911284"/>
                    <a:pt x="721305" y="929111"/>
                    <a:pt x="702437" y="929111"/>
                  </a:cubicBezTo>
                  <a:lnTo>
                    <a:pt x="34164" y="929111"/>
                  </a:lnTo>
                  <a:cubicBezTo>
                    <a:pt x="15296" y="929111"/>
                    <a:pt x="0" y="911284"/>
                    <a:pt x="0" y="889293"/>
                  </a:cubicBezTo>
                  <a:lnTo>
                    <a:pt x="0" y="39818"/>
                  </a:lnTo>
                  <a:cubicBezTo>
                    <a:pt x="0" y="17827"/>
                    <a:pt x="15296" y="0"/>
                    <a:pt x="34164" y="0"/>
                  </a:cubicBezTo>
                  <a:close/>
                </a:path>
              </a:pathLst>
            </a:custGeom>
            <a:solidFill>
              <a:sysClr val="window" lastClr="FFFFFF"/>
            </a:solidFill>
            <a:ln w="12700" cap="flat" cmpd="sng" algn="ctr">
              <a:solidFill>
                <a:srgbClr val="5B9BD5"/>
              </a:solidFill>
              <a:prstDash val="solid"/>
              <a:miter lim="800000"/>
            </a:ln>
            <a:effectLst/>
          </p:spPr>
          <p:txBody>
            <a:bodyPr rtlCol="0" anchor="ctr"/>
            <a:lstStyle/>
            <a:p>
              <a:pPr algn="ctr" defTabSz="948778">
                <a:defRPr/>
              </a:pPr>
              <a:endParaRPr lang="en-US" sz="1868" kern="0">
                <a:solidFill>
                  <a:prstClr val="black"/>
                </a:solidFill>
              </a:endParaRPr>
            </a:p>
          </p:txBody>
        </p:sp>
        <p:pic>
          <p:nvPicPr>
            <p:cNvPr id="56" name="Picture 10"/>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12273"/>
            <a:stretch/>
          </p:blipFill>
          <p:spPr bwMode="auto">
            <a:xfrm>
              <a:off x="4506856" y="5447251"/>
              <a:ext cx="725545" cy="409351"/>
            </a:xfrm>
            <a:prstGeom prst="rect">
              <a:avLst/>
            </a:prstGeom>
            <a:solidFill>
              <a:srgbClr val="5B9BD5"/>
            </a:solidFill>
            <a:ln w="9525">
              <a:solidFill>
                <a:srgbClr val="5B9B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9" name="Group 58"/>
          <p:cNvGrpSpPr>
            <a:grpSpLocks noChangeAspect="1"/>
          </p:cNvGrpSpPr>
          <p:nvPr/>
        </p:nvGrpSpPr>
        <p:grpSpPr>
          <a:xfrm>
            <a:off x="1130440" y="2272848"/>
            <a:ext cx="865191" cy="464992"/>
            <a:chOff x="9686523" y="2845115"/>
            <a:chExt cx="1537594" cy="798395"/>
          </a:xfrm>
        </p:grpSpPr>
        <p:sp>
          <p:nvSpPr>
            <p:cNvPr id="60" name="Freeform 5"/>
            <p:cNvSpPr>
              <a:spLocks noEditPoints="1"/>
            </p:cNvSpPr>
            <p:nvPr/>
          </p:nvSpPr>
          <p:spPr bwMode="auto">
            <a:xfrm>
              <a:off x="9686523" y="2845115"/>
              <a:ext cx="1169444" cy="738188"/>
            </a:xfrm>
            <a:custGeom>
              <a:avLst/>
              <a:gdLst>
                <a:gd name="T0" fmla="*/ 12 w 142"/>
                <a:gd name="T1" fmla="*/ 103 h 137"/>
                <a:gd name="T2" fmla="*/ 130 w 142"/>
                <a:gd name="T3" fmla="*/ 103 h 137"/>
                <a:gd name="T4" fmla="*/ 130 w 142"/>
                <a:gd name="T5" fmla="*/ 12 h 137"/>
                <a:gd name="T6" fmla="*/ 12 w 142"/>
                <a:gd name="T7" fmla="*/ 12 h 137"/>
                <a:gd name="T8" fmla="*/ 12 w 142"/>
                <a:gd name="T9" fmla="*/ 103 h 137"/>
                <a:gd name="T10" fmla="*/ 0 w 142"/>
                <a:gd name="T11" fmla="*/ 107 h 137"/>
                <a:gd name="T12" fmla="*/ 0 w 142"/>
                <a:gd name="T13" fmla="*/ 8 h 137"/>
                <a:gd name="T14" fmla="*/ 8 w 142"/>
                <a:gd name="T15" fmla="*/ 0 h 137"/>
                <a:gd name="T16" fmla="*/ 134 w 142"/>
                <a:gd name="T17" fmla="*/ 0 h 137"/>
                <a:gd name="T18" fmla="*/ 142 w 142"/>
                <a:gd name="T19" fmla="*/ 8 h 137"/>
                <a:gd name="T20" fmla="*/ 142 w 142"/>
                <a:gd name="T21" fmla="*/ 107 h 137"/>
                <a:gd name="T22" fmla="*/ 134 w 142"/>
                <a:gd name="T23" fmla="*/ 115 h 137"/>
                <a:gd name="T24" fmla="*/ 86 w 142"/>
                <a:gd name="T25" fmla="*/ 115 h 137"/>
                <a:gd name="T26" fmla="*/ 86 w 142"/>
                <a:gd name="T27" fmla="*/ 128 h 137"/>
                <a:gd name="T28" fmla="*/ 120 w 142"/>
                <a:gd name="T29" fmla="*/ 137 h 137"/>
                <a:gd name="T30" fmla="*/ 23 w 142"/>
                <a:gd name="T31" fmla="*/ 137 h 137"/>
                <a:gd name="T32" fmla="*/ 57 w 142"/>
                <a:gd name="T33" fmla="*/ 128 h 137"/>
                <a:gd name="T34" fmla="*/ 57 w 142"/>
                <a:gd name="T35" fmla="*/ 115 h 137"/>
                <a:gd name="T36" fmla="*/ 8 w 142"/>
                <a:gd name="T37" fmla="*/ 115 h 137"/>
                <a:gd name="T38" fmla="*/ 0 w 142"/>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37">
                  <a:moveTo>
                    <a:pt x="12" y="103"/>
                  </a:moveTo>
                  <a:cubicBezTo>
                    <a:pt x="130" y="103"/>
                    <a:pt x="130" y="103"/>
                    <a:pt x="130" y="103"/>
                  </a:cubicBezTo>
                  <a:cubicBezTo>
                    <a:pt x="130" y="12"/>
                    <a:pt x="130" y="12"/>
                    <a:pt x="130" y="12"/>
                  </a:cubicBezTo>
                  <a:cubicBezTo>
                    <a:pt x="12" y="12"/>
                    <a:pt x="12" y="12"/>
                    <a:pt x="12" y="12"/>
                  </a:cubicBezTo>
                  <a:lnTo>
                    <a:pt x="12" y="103"/>
                  </a:lnTo>
                  <a:close/>
                  <a:moveTo>
                    <a:pt x="0" y="107"/>
                  </a:moveTo>
                  <a:cubicBezTo>
                    <a:pt x="0" y="8"/>
                    <a:pt x="0" y="8"/>
                    <a:pt x="0" y="8"/>
                  </a:cubicBezTo>
                  <a:cubicBezTo>
                    <a:pt x="0" y="4"/>
                    <a:pt x="4" y="0"/>
                    <a:pt x="8" y="0"/>
                  </a:cubicBezTo>
                  <a:cubicBezTo>
                    <a:pt x="134" y="0"/>
                    <a:pt x="134" y="0"/>
                    <a:pt x="134" y="0"/>
                  </a:cubicBezTo>
                  <a:cubicBezTo>
                    <a:pt x="139" y="0"/>
                    <a:pt x="142" y="4"/>
                    <a:pt x="142" y="8"/>
                  </a:cubicBezTo>
                  <a:cubicBezTo>
                    <a:pt x="142" y="107"/>
                    <a:pt x="142" y="107"/>
                    <a:pt x="142" y="107"/>
                  </a:cubicBezTo>
                  <a:cubicBezTo>
                    <a:pt x="142" y="112"/>
                    <a:pt x="139" y="115"/>
                    <a:pt x="134" y="115"/>
                  </a:cubicBezTo>
                  <a:cubicBezTo>
                    <a:pt x="86" y="115"/>
                    <a:pt x="86" y="115"/>
                    <a:pt x="86" y="115"/>
                  </a:cubicBezTo>
                  <a:cubicBezTo>
                    <a:pt x="86" y="128"/>
                    <a:pt x="86" y="128"/>
                    <a:pt x="86" y="128"/>
                  </a:cubicBezTo>
                  <a:cubicBezTo>
                    <a:pt x="106" y="129"/>
                    <a:pt x="120" y="133"/>
                    <a:pt x="120" y="137"/>
                  </a:cubicBezTo>
                  <a:cubicBezTo>
                    <a:pt x="23" y="137"/>
                    <a:pt x="23" y="137"/>
                    <a:pt x="23" y="137"/>
                  </a:cubicBezTo>
                  <a:cubicBezTo>
                    <a:pt x="23" y="133"/>
                    <a:pt x="37" y="129"/>
                    <a:pt x="57" y="128"/>
                  </a:cubicBezTo>
                  <a:cubicBezTo>
                    <a:pt x="57" y="115"/>
                    <a:pt x="57" y="115"/>
                    <a:pt x="57" y="115"/>
                  </a:cubicBezTo>
                  <a:cubicBezTo>
                    <a:pt x="8" y="115"/>
                    <a:pt x="8" y="115"/>
                    <a:pt x="8" y="115"/>
                  </a:cubicBezTo>
                  <a:cubicBezTo>
                    <a:pt x="4" y="115"/>
                    <a:pt x="0" y="112"/>
                    <a:pt x="0"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0" tIns="46515" rIns="93030" bIns="46515" numCol="1" anchor="t" anchorCtr="0" compatLnSpc="1">
              <a:prstTxWarp prst="textNoShape">
                <a:avLst/>
              </a:prstTxWarp>
            </a:bodyPr>
            <a:lstStyle/>
            <a:p>
              <a:endParaRPr lang="en-US" sz="1831">
                <a:solidFill>
                  <a:prstClr val="white"/>
                </a:solidFill>
              </a:endParaRPr>
            </a:p>
          </p:txBody>
        </p:sp>
        <p:sp>
          <p:nvSpPr>
            <p:cNvPr id="61" name="Freeform 6"/>
            <p:cNvSpPr>
              <a:spLocks noEditPoints="1"/>
            </p:cNvSpPr>
            <p:nvPr/>
          </p:nvSpPr>
          <p:spPr bwMode="auto">
            <a:xfrm>
              <a:off x="10981518" y="3143161"/>
              <a:ext cx="242599" cy="500349"/>
            </a:xfrm>
            <a:custGeom>
              <a:avLst/>
              <a:gdLst>
                <a:gd name="T0" fmla="*/ 7 w 62"/>
                <a:gd name="T1" fmla="*/ 25 h 137"/>
                <a:gd name="T2" fmla="*/ 7 w 62"/>
                <a:gd name="T3" fmla="*/ 32 h 137"/>
                <a:gd name="T4" fmla="*/ 55 w 62"/>
                <a:gd name="T5" fmla="*/ 32 h 137"/>
                <a:gd name="T6" fmla="*/ 55 w 62"/>
                <a:gd name="T7" fmla="*/ 25 h 137"/>
                <a:gd name="T8" fmla="*/ 7 w 62"/>
                <a:gd name="T9" fmla="*/ 25 h 137"/>
                <a:gd name="T10" fmla="*/ 15 w 62"/>
                <a:gd name="T11" fmla="*/ 113 h 137"/>
                <a:gd name="T12" fmla="*/ 15 w 62"/>
                <a:gd name="T13" fmla="*/ 107 h 137"/>
                <a:gd name="T14" fmla="*/ 7 w 62"/>
                <a:gd name="T15" fmla="*/ 107 h 137"/>
                <a:gd name="T16" fmla="*/ 7 w 62"/>
                <a:gd name="T17" fmla="*/ 113 h 137"/>
                <a:gd name="T18" fmla="*/ 15 w 62"/>
                <a:gd name="T19" fmla="*/ 113 h 137"/>
                <a:gd name="T20" fmla="*/ 15 w 62"/>
                <a:gd name="T21" fmla="*/ 103 h 137"/>
                <a:gd name="T22" fmla="*/ 15 w 62"/>
                <a:gd name="T23" fmla="*/ 97 h 137"/>
                <a:gd name="T24" fmla="*/ 7 w 62"/>
                <a:gd name="T25" fmla="*/ 97 h 137"/>
                <a:gd name="T26" fmla="*/ 7 w 62"/>
                <a:gd name="T27" fmla="*/ 103 h 137"/>
                <a:gd name="T28" fmla="*/ 15 w 62"/>
                <a:gd name="T29" fmla="*/ 103 h 137"/>
                <a:gd name="T30" fmla="*/ 55 w 62"/>
                <a:gd name="T31" fmla="*/ 124 h 137"/>
                <a:gd name="T32" fmla="*/ 55 w 62"/>
                <a:gd name="T33" fmla="*/ 118 h 137"/>
                <a:gd name="T34" fmla="*/ 7 w 62"/>
                <a:gd name="T35" fmla="*/ 118 h 137"/>
                <a:gd name="T36" fmla="*/ 7 w 62"/>
                <a:gd name="T37" fmla="*/ 124 h 137"/>
                <a:gd name="T38" fmla="*/ 55 w 62"/>
                <a:gd name="T39" fmla="*/ 124 h 137"/>
                <a:gd name="T40" fmla="*/ 55 w 62"/>
                <a:gd name="T41" fmla="*/ 19 h 137"/>
                <a:gd name="T42" fmla="*/ 55 w 62"/>
                <a:gd name="T43" fmla="*/ 13 h 137"/>
                <a:gd name="T44" fmla="*/ 7 w 62"/>
                <a:gd name="T45" fmla="*/ 13 h 137"/>
                <a:gd name="T46" fmla="*/ 7 w 62"/>
                <a:gd name="T47" fmla="*/ 19 h 137"/>
                <a:gd name="T48" fmla="*/ 55 w 62"/>
                <a:gd name="T49" fmla="*/ 19 h 137"/>
                <a:gd name="T50" fmla="*/ 62 w 62"/>
                <a:gd name="T51" fmla="*/ 8 h 137"/>
                <a:gd name="T52" fmla="*/ 62 w 62"/>
                <a:gd name="T53" fmla="*/ 129 h 137"/>
                <a:gd name="T54" fmla="*/ 54 w 62"/>
                <a:gd name="T55" fmla="*/ 137 h 137"/>
                <a:gd name="T56" fmla="*/ 8 w 62"/>
                <a:gd name="T57" fmla="*/ 137 h 137"/>
                <a:gd name="T58" fmla="*/ 0 w 62"/>
                <a:gd name="T59" fmla="*/ 129 h 137"/>
                <a:gd name="T60" fmla="*/ 0 w 62"/>
                <a:gd name="T61" fmla="*/ 8 h 137"/>
                <a:gd name="T62" fmla="*/ 8 w 62"/>
                <a:gd name="T63" fmla="*/ 0 h 137"/>
                <a:gd name="T64" fmla="*/ 54 w 62"/>
                <a:gd name="T65" fmla="*/ 0 h 137"/>
                <a:gd name="T66" fmla="*/ 62 w 62"/>
                <a:gd name="T6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37">
                  <a:moveTo>
                    <a:pt x="7" y="25"/>
                  </a:moveTo>
                  <a:cubicBezTo>
                    <a:pt x="7" y="32"/>
                    <a:pt x="7" y="32"/>
                    <a:pt x="7" y="32"/>
                  </a:cubicBezTo>
                  <a:cubicBezTo>
                    <a:pt x="55" y="32"/>
                    <a:pt x="55" y="32"/>
                    <a:pt x="55" y="32"/>
                  </a:cubicBezTo>
                  <a:cubicBezTo>
                    <a:pt x="55" y="25"/>
                    <a:pt x="55" y="25"/>
                    <a:pt x="55" y="25"/>
                  </a:cubicBezTo>
                  <a:lnTo>
                    <a:pt x="7" y="25"/>
                  </a:lnTo>
                  <a:close/>
                  <a:moveTo>
                    <a:pt x="15" y="113"/>
                  </a:moveTo>
                  <a:cubicBezTo>
                    <a:pt x="15" y="107"/>
                    <a:pt x="15" y="107"/>
                    <a:pt x="15" y="107"/>
                  </a:cubicBezTo>
                  <a:cubicBezTo>
                    <a:pt x="7" y="107"/>
                    <a:pt x="7" y="107"/>
                    <a:pt x="7" y="107"/>
                  </a:cubicBezTo>
                  <a:cubicBezTo>
                    <a:pt x="7" y="113"/>
                    <a:pt x="7" y="113"/>
                    <a:pt x="7" y="113"/>
                  </a:cubicBezTo>
                  <a:lnTo>
                    <a:pt x="15" y="113"/>
                  </a:lnTo>
                  <a:close/>
                  <a:moveTo>
                    <a:pt x="15" y="103"/>
                  </a:moveTo>
                  <a:cubicBezTo>
                    <a:pt x="15" y="97"/>
                    <a:pt x="15" y="97"/>
                    <a:pt x="15" y="97"/>
                  </a:cubicBezTo>
                  <a:cubicBezTo>
                    <a:pt x="7" y="97"/>
                    <a:pt x="7" y="97"/>
                    <a:pt x="7" y="97"/>
                  </a:cubicBezTo>
                  <a:cubicBezTo>
                    <a:pt x="7" y="103"/>
                    <a:pt x="7" y="103"/>
                    <a:pt x="7" y="103"/>
                  </a:cubicBezTo>
                  <a:lnTo>
                    <a:pt x="15" y="103"/>
                  </a:lnTo>
                  <a:close/>
                  <a:moveTo>
                    <a:pt x="55" y="124"/>
                  </a:moveTo>
                  <a:cubicBezTo>
                    <a:pt x="55" y="118"/>
                    <a:pt x="55" y="118"/>
                    <a:pt x="55" y="118"/>
                  </a:cubicBezTo>
                  <a:cubicBezTo>
                    <a:pt x="7" y="118"/>
                    <a:pt x="7" y="118"/>
                    <a:pt x="7" y="118"/>
                  </a:cubicBezTo>
                  <a:cubicBezTo>
                    <a:pt x="7" y="124"/>
                    <a:pt x="7" y="124"/>
                    <a:pt x="7" y="124"/>
                  </a:cubicBezTo>
                  <a:lnTo>
                    <a:pt x="55" y="124"/>
                  </a:lnTo>
                  <a:close/>
                  <a:moveTo>
                    <a:pt x="55" y="19"/>
                  </a:moveTo>
                  <a:cubicBezTo>
                    <a:pt x="55" y="13"/>
                    <a:pt x="55" y="13"/>
                    <a:pt x="55" y="13"/>
                  </a:cubicBezTo>
                  <a:cubicBezTo>
                    <a:pt x="7" y="13"/>
                    <a:pt x="7" y="13"/>
                    <a:pt x="7" y="13"/>
                  </a:cubicBezTo>
                  <a:cubicBezTo>
                    <a:pt x="7" y="19"/>
                    <a:pt x="7" y="19"/>
                    <a:pt x="7" y="19"/>
                  </a:cubicBezTo>
                  <a:lnTo>
                    <a:pt x="55" y="19"/>
                  </a:lnTo>
                  <a:close/>
                  <a:moveTo>
                    <a:pt x="62" y="8"/>
                  </a:moveTo>
                  <a:cubicBezTo>
                    <a:pt x="62" y="129"/>
                    <a:pt x="62" y="129"/>
                    <a:pt x="62" y="129"/>
                  </a:cubicBezTo>
                  <a:cubicBezTo>
                    <a:pt x="62" y="133"/>
                    <a:pt x="58" y="137"/>
                    <a:pt x="54" y="137"/>
                  </a:cubicBezTo>
                  <a:cubicBezTo>
                    <a:pt x="8" y="137"/>
                    <a:pt x="8" y="137"/>
                    <a:pt x="8" y="137"/>
                  </a:cubicBezTo>
                  <a:cubicBezTo>
                    <a:pt x="4" y="137"/>
                    <a:pt x="0" y="133"/>
                    <a:pt x="0" y="129"/>
                  </a:cubicBezTo>
                  <a:cubicBezTo>
                    <a:pt x="0" y="8"/>
                    <a:pt x="0" y="8"/>
                    <a:pt x="0" y="8"/>
                  </a:cubicBezTo>
                  <a:cubicBezTo>
                    <a:pt x="0" y="4"/>
                    <a:pt x="4" y="0"/>
                    <a:pt x="8" y="0"/>
                  </a:cubicBezTo>
                  <a:cubicBezTo>
                    <a:pt x="54" y="0"/>
                    <a:pt x="54" y="0"/>
                    <a:pt x="54" y="0"/>
                  </a:cubicBezTo>
                  <a:cubicBezTo>
                    <a:pt x="58" y="0"/>
                    <a:pt x="62" y="4"/>
                    <a:pt x="6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0" tIns="46515" rIns="93030" bIns="46515" numCol="1" anchor="t" anchorCtr="0" compatLnSpc="1">
              <a:prstTxWarp prst="textNoShape">
                <a:avLst/>
              </a:prstTxWarp>
            </a:bodyPr>
            <a:lstStyle/>
            <a:p>
              <a:endParaRPr lang="en-US" sz="1831">
                <a:solidFill>
                  <a:prstClr val="white"/>
                </a:solidFill>
              </a:endParaRPr>
            </a:p>
          </p:txBody>
        </p:sp>
      </p:grpSp>
      <p:sp>
        <p:nvSpPr>
          <p:cNvPr id="65" name="Rectangle 64"/>
          <p:cNvSpPr/>
          <p:nvPr/>
        </p:nvSpPr>
        <p:spPr>
          <a:xfrm>
            <a:off x="4053543" y="4187610"/>
            <a:ext cx="1391313" cy="2555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628" dirty="0">
                <a:ln>
                  <a:solidFill>
                    <a:srgbClr val="FFFFFF">
                      <a:alpha val="0"/>
                    </a:srgbClr>
                  </a:solidFill>
                </a:ln>
                <a:solidFill>
                  <a:prstClr val="white"/>
                </a:solidFill>
                <a:latin typeface="Segoe"/>
              </a:rPr>
              <a:t>Reverse Proxy</a:t>
            </a:r>
          </a:p>
        </p:txBody>
      </p:sp>
      <p:cxnSp>
        <p:nvCxnSpPr>
          <p:cNvPr id="66" name="Straight Connector 65"/>
          <p:cNvCxnSpPr/>
          <p:nvPr/>
        </p:nvCxnSpPr>
        <p:spPr>
          <a:xfrm flipH="1" flipV="1">
            <a:off x="2121308" y="2779329"/>
            <a:ext cx="1317430" cy="885342"/>
          </a:xfrm>
          <a:prstGeom prst="line">
            <a:avLst/>
          </a:prstGeom>
          <a:noFill/>
          <a:ln w="25400" cap="rnd" cmpd="sng" algn="ctr">
            <a:solidFill>
              <a:sysClr val="window" lastClr="FFFFFF"/>
            </a:solidFill>
            <a:prstDash val="sysDot"/>
            <a:miter lim="800000"/>
            <a:headEnd type="none"/>
            <a:tailEnd type="none"/>
          </a:ln>
          <a:effectLst/>
        </p:spPr>
      </p:cxnSp>
      <p:cxnSp>
        <p:nvCxnSpPr>
          <p:cNvPr id="67" name="Straight Connector 66"/>
          <p:cNvCxnSpPr/>
          <p:nvPr/>
        </p:nvCxnSpPr>
        <p:spPr>
          <a:xfrm flipH="1" flipV="1">
            <a:off x="2032542" y="3580907"/>
            <a:ext cx="1415140" cy="287471"/>
          </a:xfrm>
          <a:prstGeom prst="line">
            <a:avLst/>
          </a:prstGeom>
          <a:noFill/>
          <a:ln w="25400" cap="rnd" cmpd="sng" algn="ctr">
            <a:solidFill>
              <a:sysClr val="window" lastClr="FFFFFF"/>
            </a:solidFill>
            <a:prstDash val="sysDot"/>
            <a:miter lim="800000"/>
            <a:headEnd type="none"/>
            <a:tailEnd type="none"/>
          </a:ln>
          <a:effectLst/>
        </p:spPr>
      </p:cxnSp>
      <p:cxnSp>
        <p:nvCxnSpPr>
          <p:cNvPr id="68" name="Straight Connector 67"/>
          <p:cNvCxnSpPr/>
          <p:nvPr/>
        </p:nvCxnSpPr>
        <p:spPr>
          <a:xfrm flipH="1">
            <a:off x="2027227" y="4146824"/>
            <a:ext cx="1406748" cy="370842"/>
          </a:xfrm>
          <a:prstGeom prst="line">
            <a:avLst/>
          </a:prstGeom>
          <a:noFill/>
          <a:ln w="25400" cap="rnd" cmpd="sng" algn="ctr">
            <a:solidFill>
              <a:sysClr val="window" lastClr="FFFFFF"/>
            </a:solidFill>
            <a:prstDash val="sysDot"/>
            <a:miter lim="800000"/>
            <a:headEnd type="none"/>
            <a:tailEnd type="none"/>
          </a:ln>
          <a:effectLst/>
        </p:spPr>
      </p:cxnSp>
      <p:cxnSp>
        <p:nvCxnSpPr>
          <p:cNvPr id="69" name="Straight Connector 68"/>
          <p:cNvCxnSpPr/>
          <p:nvPr/>
        </p:nvCxnSpPr>
        <p:spPr>
          <a:xfrm flipH="1">
            <a:off x="2121307" y="4409050"/>
            <a:ext cx="1326375" cy="750012"/>
          </a:xfrm>
          <a:prstGeom prst="line">
            <a:avLst/>
          </a:prstGeom>
          <a:noFill/>
          <a:ln w="25400" cap="rnd" cmpd="sng" algn="ctr">
            <a:solidFill>
              <a:sysClr val="window" lastClr="FFFFFF"/>
            </a:solidFill>
            <a:prstDash val="sysDot"/>
            <a:miter lim="800000"/>
            <a:headEnd type="none"/>
            <a:tailEnd type="none"/>
          </a:ln>
          <a:effectLst/>
        </p:spPr>
      </p:cxnSp>
      <p:grpSp>
        <p:nvGrpSpPr>
          <p:cNvPr id="12" name="Group 11"/>
          <p:cNvGrpSpPr/>
          <p:nvPr/>
        </p:nvGrpSpPr>
        <p:grpSpPr>
          <a:xfrm>
            <a:off x="8226967" y="2452769"/>
            <a:ext cx="1139536" cy="962995"/>
            <a:chOff x="8063934" y="2079676"/>
            <a:chExt cx="1117294" cy="944198"/>
          </a:xfrm>
        </p:grpSpPr>
        <p:grpSp>
          <p:nvGrpSpPr>
            <p:cNvPr id="16" name="Group 15"/>
            <p:cNvGrpSpPr/>
            <p:nvPr/>
          </p:nvGrpSpPr>
          <p:grpSpPr>
            <a:xfrm>
              <a:off x="8243386" y="2310931"/>
              <a:ext cx="758388" cy="484080"/>
              <a:chOff x="1840649" y="4818296"/>
              <a:chExt cx="966161" cy="691914"/>
            </a:xfrm>
          </p:grpSpPr>
          <p:sp>
            <p:nvSpPr>
              <p:cNvPr id="17" name="Freeform 1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solidFill>
              <a:ln w="9525" cap="flat" cmpd="sng">
                <a:solidFill>
                  <a:srgbClr val="5B9BD5"/>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18"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lumMod val="85000"/>
                </a:sysClr>
              </a:solidFill>
              <a:ln w="9525" cap="flat" cmpd="sng">
                <a:solidFill>
                  <a:srgbClr val="5B9BD5"/>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19" name="Oval 18"/>
              <p:cNvSpPr>
                <a:spLocks noChangeAspect="1" noChangeArrowheads="1"/>
              </p:cNvSpPr>
              <p:nvPr/>
            </p:nvSpPr>
            <p:spPr bwMode="auto">
              <a:xfrm>
                <a:off x="2201709" y="4985896"/>
                <a:ext cx="91441" cy="91439"/>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0" name="Oval 19"/>
              <p:cNvSpPr>
                <a:spLocks noChangeAspect="1" noChangeArrowheads="1"/>
              </p:cNvSpPr>
              <p:nvPr/>
            </p:nvSpPr>
            <p:spPr bwMode="auto">
              <a:xfrm flipH="1">
                <a:off x="2351276" y="4985914"/>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1" name="Oval 20"/>
              <p:cNvSpPr>
                <a:spLocks noChangeAspect="1" noChangeArrowheads="1"/>
              </p:cNvSpPr>
              <p:nvPr/>
            </p:nvSpPr>
            <p:spPr bwMode="auto">
              <a:xfrm>
                <a:off x="2201709" y="5317092"/>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2" name="Oval 21"/>
              <p:cNvSpPr>
                <a:spLocks noChangeAspect="1" noChangeArrowheads="1"/>
              </p:cNvSpPr>
              <p:nvPr/>
            </p:nvSpPr>
            <p:spPr bwMode="auto">
              <a:xfrm flipH="1">
                <a:off x="2351276" y="5317110"/>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3" name="Oval 22"/>
              <p:cNvSpPr>
                <a:spLocks noChangeAspect="1" noChangeArrowheads="1"/>
              </p:cNvSpPr>
              <p:nvPr/>
            </p:nvSpPr>
            <p:spPr bwMode="auto">
              <a:xfrm flipH="1">
                <a:off x="2477440" y="5293282"/>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4" name="Oval 23"/>
              <p:cNvSpPr>
                <a:spLocks noChangeAspect="1" noChangeArrowheads="1"/>
              </p:cNvSpPr>
              <p:nvPr/>
            </p:nvSpPr>
            <p:spPr bwMode="auto">
              <a:xfrm>
                <a:off x="2077441" y="5293282"/>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5" name="Oval 24"/>
              <p:cNvSpPr>
                <a:spLocks noChangeAspect="1" noChangeArrowheads="1"/>
              </p:cNvSpPr>
              <p:nvPr/>
            </p:nvSpPr>
            <p:spPr bwMode="auto">
              <a:xfrm flipH="1">
                <a:off x="2603604" y="5277799"/>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6" name="Oval 25"/>
              <p:cNvSpPr>
                <a:spLocks noChangeAspect="1" noChangeArrowheads="1"/>
              </p:cNvSpPr>
              <p:nvPr/>
            </p:nvSpPr>
            <p:spPr bwMode="auto">
              <a:xfrm flipH="1">
                <a:off x="1953173" y="5277799"/>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7" name="Arc 26"/>
              <p:cNvSpPr/>
              <p:nvPr/>
            </p:nvSpPr>
            <p:spPr>
              <a:xfrm rot="5012506">
                <a:off x="2200463" y="5152334"/>
                <a:ext cx="197274" cy="174698"/>
              </a:xfrm>
              <a:prstGeom prst="arc">
                <a:avLst>
                  <a:gd name="adj1" fmla="val 16200000"/>
                  <a:gd name="adj2" fmla="val 814800"/>
                </a:avLst>
              </a:prstGeom>
              <a:noFill/>
              <a:ln w="9525" cap="flat" cmpd="sng" algn="ctr">
                <a:solidFill>
                  <a:srgbClr val="5B9BD5"/>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867" dirty="0">
                  <a:ln>
                    <a:solidFill>
                      <a:srgbClr val="FFFFFF">
                        <a:alpha val="0"/>
                      </a:srgbClr>
                    </a:solidFill>
                  </a:ln>
                  <a:solidFill>
                    <a:prstClr val="black"/>
                  </a:solidFill>
                </a:endParaRPr>
              </a:p>
            </p:txBody>
          </p:sp>
          <p:sp>
            <p:nvSpPr>
              <p:cNvPr id="28" name="Arc 27"/>
              <p:cNvSpPr/>
              <p:nvPr/>
            </p:nvSpPr>
            <p:spPr>
              <a:xfrm rot="16587494" flipH="1">
                <a:off x="2252986" y="5152334"/>
                <a:ext cx="197274" cy="174698"/>
              </a:xfrm>
              <a:prstGeom prst="arc">
                <a:avLst>
                  <a:gd name="adj1" fmla="val 16200000"/>
                  <a:gd name="adj2" fmla="val 814800"/>
                </a:avLst>
              </a:prstGeom>
              <a:noFill/>
              <a:ln w="9525" cap="flat" cmpd="sng" algn="ctr">
                <a:solidFill>
                  <a:srgbClr val="5B9BD5"/>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867" dirty="0">
                  <a:ln>
                    <a:solidFill>
                      <a:srgbClr val="FFFFFF">
                        <a:alpha val="0"/>
                      </a:srgbClr>
                    </a:solidFill>
                  </a:ln>
                  <a:solidFill>
                    <a:prstClr val="black"/>
                  </a:solidFill>
                </a:endParaRPr>
              </a:p>
            </p:txBody>
          </p:sp>
          <p:sp>
            <p:nvSpPr>
              <p:cNvPr id="29" name="Arc 28"/>
              <p:cNvSpPr/>
              <p:nvPr/>
            </p:nvSpPr>
            <p:spPr>
              <a:xfrm rot="7395384">
                <a:off x="2218960" y="4926421"/>
                <a:ext cx="150756" cy="174698"/>
              </a:xfrm>
              <a:prstGeom prst="arc">
                <a:avLst>
                  <a:gd name="adj1" fmla="val 16200000"/>
                  <a:gd name="adj2" fmla="val 21459126"/>
                </a:avLst>
              </a:prstGeom>
              <a:noFill/>
              <a:ln w="9525" cap="flat" cmpd="sng" algn="ctr">
                <a:solidFill>
                  <a:srgbClr val="5B9BD5"/>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867" dirty="0">
                  <a:ln>
                    <a:solidFill>
                      <a:srgbClr val="FFFFFF">
                        <a:alpha val="0"/>
                      </a:srgbClr>
                    </a:solidFill>
                  </a:ln>
                  <a:solidFill>
                    <a:prstClr val="black"/>
                  </a:solidFill>
                </a:endParaRPr>
              </a:p>
            </p:txBody>
          </p:sp>
          <p:cxnSp>
            <p:nvCxnSpPr>
              <p:cNvPr id="30" name="Straight Connector 29"/>
              <p:cNvCxnSpPr>
                <a:stCxn id="19" idx="4"/>
                <a:endCxn id="21" idx="0"/>
              </p:cNvCxnSpPr>
              <p:nvPr/>
            </p:nvCxnSpPr>
            <p:spPr>
              <a:xfrm>
                <a:off x="2247429" y="5077336"/>
                <a:ext cx="0" cy="239756"/>
              </a:xfrm>
              <a:prstGeom prst="line">
                <a:avLst/>
              </a:prstGeom>
              <a:noFill/>
              <a:ln w="9525" cap="flat" cmpd="sng" algn="ctr">
                <a:solidFill>
                  <a:srgbClr val="5B9BD5"/>
                </a:solidFill>
                <a:prstDash val="solid"/>
              </a:ln>
              <a:effectLst/>
            </p:spPr>
          </p:cxnSp>
          <p:sp>
            <p:nvSpPr>
              <p:cNvPr id="31" name="Oval 30"/>
              <p:cNvSpPr>
                <a:spLocks noChangeAspect="1" noChangeArrowheads="1"/>
              </p:cNvSpPr>
              <p:nvPr/>
            </p:nvSpPr>
            <p:spPr bwMode="auto">
              <a:xfrm>
                <a:off x="2201709" y="5139927"/>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2" name="Straight Connector 31"/>
              <p:cNvCxnSpPr>
                <a:stCxn id="20" idx="4"/>
                <a:endCxn id="22" idx="0"/>
              </p:cNvCxnSpPr>
              <p:nvPr/>
            </p:nvCxnSpPr>
            <p:spPr>
              <a:xfrm>
                <a:off x="2396996" y="5077354"/>
                <a:ext cx="0" cy="239756"/>
              </a:xfrm>
              <a:prstGeom prst="line">
                <a:avLst/>
              </a:prstGeom>
              <a:noFill/>
              <a:ln w="9525" cap="flat" cmpd="sng" algn="ctr">
                <a:solidFill>
                  <a:srgbClr val="5B9BD5"/>
                </a:solidFill>
                <a:prstDash val="solid"/>
              </a:ln>
              <a:effectLst/>
            </p:spPr>
          </p:cxnSp>
          <p:sp>
            <p:nvSpPr>
              <p:cNvPr id="33" name="Oval 32"/>
              <p:cNvSpPr>
                <a:spLocks noChangeAspect="1" noChangeArrowheads="1"/>
              </p:cNvSpPr>
              <p:nvPr/>
            </p:nvSpPr>
            <p:spPr bwMode="auto">
              <a:xfrm flipH="1">
                <a:off x="2351275" y="5139945"/>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4" name="Straight Connector 33"/>
              <p:cNvCxnSpPr>
                <a:stCxn id="20" idx="3"/>
                <a:endCxn id="25" idx="7"/>
              </p:cNvCxnSpPr>
              <p:nvPr/>
            </p:nvCxnSpPr>
            <p:spPr>
              <a:xfrm>
                <a:off x="2429325" y="5063963"/>
                <a:ext cx="187670" cy="227227"/>
              </a:xfrm>
              <a:prstGeom prst="line">
                <a:avLst/>
              </a:prstGeom>
              <a:noFill/>
              <a:ln w="9525" cap="flat" cmpd="sng" algn="ctr">
                <a:solidFill>
                  <a:srgbClr val="5B9BD5"/>
                </a:solidFill>
                <a:prstDash val="solid"/>
              </a:ln>
              <a:effectLst/>
            </p:spPr>
          </p:cxnSp>
          <p:sp>
            <p:nvSpPr>
              <p:cNvPr id="35" name="Oval 34"/>
              <p:cNvSpPr>
                <a:spLocks noChangeAspect="1" noChangeArrowheads="1"/>
              </p:cNvSpPr>
              <p:nvPr/>
            </p:nvSpPr>
            <p:spPr bwMode="auto">
              <a:xfrm flipH="1">
                <a:off x="2477440" y="5131857"/>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6" name="Straight Connector 35"/>
              <p:cNvCxnSpPr>
                <a:stCxn id="19" idx="3"/>
                <a:endCxn id="26" idx="1"/>
              </p:cNvCxnSpPr>
              <p:nvPr/>
            </p:nvCxnSpPr>
            <p:spPr>
              <a:xfrm flipH="1">
                <a:off x="2031222" y="5063945"/>
                <a:ext cx="183878" cy="227245"/>
              </a:xfrm>
              <a:prstGeom prst="line">
                <a:avLst/>
              </a:prstGeom>
              <a:noFill/>
              <a:ln w="9525" cap="flat" cmpd="sng" algn="ctr">
                <a:solidFill>
                  <a:srgbClr val="5B9BD5"/>
                </a:solidFill>
                <a:prstDash val="solid"/>
              </a:ln>
              <a:effectLst/>
            </p:spPr>
          </p:cxnSp>
          <p:sp>
            <p:nvSpPr>
              <p:cNvPr id="37" name="Oval 36"/>
              <p:cNvSpPr>
                <a:spLocks noChangeAspect="1" noChangeArrowheads="1"/>
              </p:cNvSpPr>
              <p:nvPr/>
            </p:nvSpPr>
            <p:spPr bwMode="auto">
              <a:xfrm>
                <a:off x="2082174" y="5131848"/>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8" name="Straight Connector 37"/>
              <p:cNvCxnSpPr>
                <a:stCxn id="31" idx="3"/>
                <a:endCxn id="24" idx="7"/>
              </p:cNvCxnSpPr>
              <p:nvPr/>
            </p:nvCxnSpPr>
            <p:spPr>
              <a:xfrm flipH="1">
                <a:off x="2155490" y="5217976"/>
                <a:ext cx="59610" cy="88697"/>
              </a:xfrm>
              <a:prstGeom prst="line">
                <a:avLst/>
              </a:prstGeom>
              <a:noFill/>
              <a:ln w="9525" cap="flat" cmpd="sng" algn="ctr">
                <a:solidFill>
                  <a:srgbClr val="5B9BD5"/>
                </a:solidFill>
                <a:prstDash val="solid"/>
              </a:ln>
              <a:effectLst/>
            </p:spPr>
          </p:cxnSp>
          <p:cxnSp>
            <p:nvCxnSpPr>
              <p:cNvPr id="39" name="Straight Connector 38"/>
              <p:cNvCxnSpPr>
                <a:stCxn id="33" idx="3"/>
                <a:endCxn id="23" idx="7"/>
              </p:cNvCxnSpPr>
              <p:nvPr/>
            </p:nvCxnSpPr>
            <p:spPr>
              <a:xfrm>
                <a:off x="2429325" y="5217994"/>
                <a:ext cx="61506" cy="88679"/>
              </a:xfrm>
              <a:prstGeom prst="line">
                <a:avLst/>
              </a:prstGeom>
              <a:noFill/>
              <a:ln w="9525" cap="flat" cmpd="sng" algn="ctr">
                <a:solidFill>
                  <a:srgbClr val="5B9BD5"/>
                </a:solidFill>
                <a:prstDash val="solid"/>
              </a:ln>
              <a:effectLst/>
            </p:spPr>
          </p:cxnSp>
        </p:grpSp>
        <p:sp>
          <p:nvSpPr>
            <p:cNvPr id="41" name="Rectangle 40"/>
            <p:cNvSpPr/>
            <p:nvPr/>
          </p:nvSpPr>
          <p:spPr>
            <a:xfrm>
              <a:off x="8063934" y="2079676"/>
              <a:ext cx="1117294" cy="191591"/>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Active Directory</a:t>
              </a:r>
            </a:p>
          </p:txBody>
        </p:sp>
        <p:sp>
          <p:nvSpPr>
            <p:cNvPr id="70" name="Rectangle 69"/>
            <p:cNvSpPr/>
            <p:nvPr/>
          </p:nvSpPr>
          <p:spPr>
            <a:xfrm>
              <a:off x="8152900" y="2832283"/>
              <a:ext cx="939361" cy="191591"/>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Contoso.com</a:t>
              </a:r>
            </a:p>
          </p:txBody>
        </p:sp>
      </p:grpSp>
      <p:sp>
        <p:nvSpPr>
          <p:cNvPr id="71" name="Rectangle 70"/>
          <p:cNvSpPr/>
          <p:nvPr/>
        </p:nvSpPr>
        <p:spPr>
          <a:xfrm>
            <a:off x="4040959" y="5830263"/>
            <a:ext cx="1677423" cy="1954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Corporate Environment</a:t>
            </a:r>
          </a:p>
        </p:txBody>
      </p:sp>
      <p:sp>
        <p:nvSpPr>
          <p:cNvPr id="72" name="Rectangle 71"/>
          <p:cNvSpPr/>
          <p:nvPr/>
        </p:nvSpPr>
        <p:spPr>
          <a:xfrm>
            <a:off x="733532" y="5885849"/>
            <a:ext cx="967871" cy="1954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User Devices</a:t>
            </a:r>
          </a:p>
        </p:txBody>
      </p:sp>
      <p:grpSp>
        <p:nvGrpSpPr>
          <p:cNvPr id="75" name="Group 74"/>
          <p:cNvGrpSpPr/>
          <p:nvPr/>
        </p:nvGrpSpPr>
        <p:grpSpPr>
          <a:xfrm>
            <a:off x="10521539" y="3017228"/>
            <a:ext cx="438081" cy="577561"/>
            <a:chOff x="11005605" y="4867100"/>
            <a:chExt cx="422250" cy="556690"/>
          </a:xfrm>
        </p:grpSpPr>
        <p:sp>
          <p:nvSpPr>
            <p:cNvPr id="76" name="Rounded Rectangle 2"/>
            <p:cNvSpPr>
              <a:spLocks noChangeAspect="1"/>
            </p:cNvSpPr>
            <p:nvPr/>
          </p:nvSpPr>
          <p:spPr>
            <a:xfrm>
              <a:off x="11005605" y="4867100"/>
              <a:ext cx="422250" cy="556690"/>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ysClr val="window" lastClr="FFFFFF"/>
            </a:solidFill>
            <a:ln w="3175" cap="flat" cmpd="sng" algn="ctr">
              <a:solidFill>
                <a:srgbClr val="5B9BD5"/>
              </a:solidFill>
              <a:prstDash val="solid"/>
              <a:miter lim="800000"/>
            </a:ln>
            <a:effectLst/>
          </p:spPr>
          <p:txBody>
            <a:bodyPr rtlCol="0" anchor="ctr"/>
            <a:lstStyle/>
            <a:p>
              <a:pPr algn="ctr" defTabSz="948778">
                <a:defRPr/>
              </a:pPr>
              <a:endParaRPr lang="en-US" sz="1868" kern="0">
                <a:solidFill>
                  <a:prstClr val="black"/>
                </a:solidFill>
              </a:endParaRPr>
            </a:p>
          </p:txBody>
        </p:sp>
        <p:pic>
          <p:nvPicPr>
            <p:cNvPr id="77" name="Picture 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84742" y="4951096"/>
              <a:ext cx="268350" cy="162299"/>
            </a:xfrm>
            <a:prstGeom prst="rect">
              <a:avLst/>
            </a:prstGeom>
            <a:solidFill>
              <a:srgbClr val="5B9BD5"/>
            </a:solidFill>
            <a:ln>
              <a:solidFill>
                <a:srgbClr val="5B9BD5"/>
              </a:solidFill>
            </a:ln>
          </p:spPr>
        </p:pic>
      </p:grpSp>
      <p:cxnSp>
        <p:nvCxnSpPr>
          <p:cNvPr id="78" name="Straight Connector 77"/>
          <p:cNvCxnSpPr/>
          <p:nvPr/>
        </p:nvCxnSpPr>
        <p:spPr>
          <a:xfrm flipH="1">
            <a:off x="7818282" y="3733300"/>
            <a:ext cx="2051727" cy="201290"/>
          </a:xfrm>
          <a:prstGeom prst="line">
            <a:avLst/>
          </a:prstGeom>
          <a:noFill/>
          <a:ln w="25400" cap="rnd" cmpd="sng" algn="ctr">
            <a:solidFill>
              <a:sysClr val="window" lastClr="FFFFFF"/>
            </a:solidFill>
            <a:prstDash val="sysDot"/>
            <a:miter lim="800000"/>
            <a:headEnd type="none"/>
            <a:tailEnd type="none"/>
          </a:ln>
          <a:effectLst/>
        </p:spPr>
      </p:cxnSp>
      <p:sp>
        <p:nvSpPr>
          <p:cNvPr id="81" name="Freeform 6"/>
          <p:cNvSpPr>
            <a:spLocks noEditPoints="1"/>
          </p:cNvSpPr>
          <p:nvPr/>
        </p:nvSpPr>
        <p:spPr bwMode="auto">
          <a:xfrm>
            <a:off x="3587975" y="3948310"/>
            <a:ext cx="650136" cy="21988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ysClr val="window" lastClr="FFFFFF"/>
          </a:solidFill>
          <a:ln>
            <a:solidFill>
              <a:srgbClr val="5B9BD5"/>
            </a:solidFill>
          </a:ln>
        </p:spPr>
        <p:txBody>
          <a:bodyPr vert="horz" wrap="square" lIns="113851" tIns="56926" rIns="113851" bIns="56926" numCol="1" anchor="t" anchorCtr="0" compatLnSpc="1">
            <a:prstTxWarp prst="textNoShape">
              <a:avLst/>
            </a:prstTxWarp>
          </a:bodyPr>
          <a:lstStyle/>
          <a:p>
            <a:pPr defTabSz="948778">
              <a:defRPr/>
            </a:pPr>
            <a:endParaRPr lang="en-US" sz="1867" kern="0" dirty="0">
              <a:solidFill>
                <a:prstClr val="black"/>
              </a:solidFill>
            </a:endParaRPr>
          </a:p>
        </p:txBody>
      </p:sp>
      <p:sp>
        <p:nvSpPr>
          <p:cNvPr id="87" name="Line Callout 2 (Border and Accent Bar) 86"/>
          <p:cNvSpPr/>
          <p:nvPr/>
        </p:nvSpPr>
        <p:spPr>
          <a:xfrm>
            <a:off x="9571168" y="5109150"/>
            <a:ext cx="2589774" cy="1429098"/>
          </a:xfrm>
          <a:prstGeom prst="accentBorderCallout2">
            <a:avLst>
              <a:gd name="adj1" fmla="val 18750"/>
              <a:gd name="adj2" fmla="val -8333"/>
              <a:gd name="adj3" fmla="val 18750"/>
              <a:gd name="adj4" fmla="val -16667"/>
              <a:gd name="adj5" fmla="val -57155"/>
              <a:gd name="adj6" fmla="val -6733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r>
              <a:rPr lang="en-US" sz="1428" u="sng" dirty="0">
                <a:solidFill>
                  <a:prstClr val="white"/>
                </a:solidFill>
              </a:rPr>
              <a:t>Data management</a:t>
            </a:r>
            <a:endParaRPr lang="en-US" sz="1428" dirty="0">
              <a:solidFill>
                <a:prstClr val="white"/>
              </a:solidFill>
            </a:endParaRPr>
          </a:p>
          <a:p>
            <a:r>
              <a:rPr lang="en-US" sz="1428" dirty="0" smtClean="0">
                <a:solidFill>
                  <a:prstClr val="white"/>
                </a:solidFill>
              </a:rPr>
              <a:t>Quotas</a:t>
            </a:r>
            <a:endParaRPr lang="en-US" sz="1428" dirty="0">
              <a:solidFill>
                <a:prstClr val="white"/>
              </a:solidFill>
            </a:endParaRPr>
          </a:p>
          <a:p>
            <a:r>
              <a:rPr lang="en-US" sz="1428" dirty="0">
                <a:solidFill>
                  <a:prstClr val="white"/>
                </a:solidFill>
              </a:rPr>
              <a:t>File screens</a:t>
            </a:r>
          </a:p>
          <a:p>
            <a:r>
              <a:rPr lang="en-US" sz="1428" dirty="0">
                <a:solidFill>
                  <a:prstClr val="white"/>
                </a:solidFill>
              </a:rPr>
              <a:t>Reporting</a:t>
            </a:r>
          </a:p>
          <a:p>
            <a:r>
              <a:rPr lang="en-US" sz="1428" dirty="0">
                <a:solidFill>
                  <a:prstClr val="white"/>
                </a:solidFill>
              </a:rPr>
              <a:t>Classification</a:t>
            </a:r>
          </a:p>
          <a:p>
            <a:r>
              <a:rPr lang="en-US" sz="1428" dirty="0">
                <a:solidFill>
                  <a:prstClr val="white"/>
                </a:solidFill>
              </a:rPr>
              <a:t>RMS protection</a:t>
            </a:r>
          </a:p>
        </p:txBody>
      </p:sp>
      <p:sp>
        <p:nvSpPr>
          <p:cNvPr id="89" name="Line Callout 2 (Border and Accent Bar) 88"/>
          <p:cNvSpPr/>
          <p:nvPr/>
        </p:nvSpPr>
        <p:spPr>
          <a:xfrm flipH="1">
            <a:off x="3044381" y="2114012"/>
            <a:ext cx="2978730" cy="1038438"/>
          </a:xfrm>
          <a:prstGeom prst="accentBorderCallout2">
            <a:avLst>
              <a:gd name="adj1" fmla="val 18750"/>
              <a:gd name="adj2" fmla="val -8333"/>
              <a:gd name="adj3" fmla="val 18750"/>
              <a:gd name="adj4" fmla="val -16667"/>
              <a:gd name="adj5" fmla="val 127798"/>
              <a:gd name="adj6" fmla="val -3751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r>
              <a:rPr lang="en-US" sz="1428" u="sng" dirty="0">
                <a:solidFill>
                  <a:prstClr val="white"/>
                </a:solidFill>
              </a:rPr>
              <a:t>Device management policy</a:t>
            </a:r>
            <a:endParaRPr lang="en-US" sz="1428" dirty="0">
              <a:solidFill>
                <a:prstClr val="white"/>
              </a:solidFill>
            </a:endParaRPr>
          </a:p>
          <a:p>
            <a:r>
              <a:rPr lang="en-US" sz="1428" dirty="0">
                <a:solidFill>
                  <a:prstClr val="white"/>
                </a:solidFill>
              </a:rPr>
              <a:t>Limit access to registered devices</a:t>
            </a:r>
          </a:p>
          <a:p>
            <a:r>
              <a:rPr lang="en-US" sz="1428" dirty="0">
                <a:solidFill>
                  <a:prstClr val="white"/>
                </a:solidFill>
              </a:rPr>
              <a:t>File encryption / selective wipe</a:t>
            </a:r>
          </a:p>
          <a:p>
            <a:r>
              <a:rPr lang="en-US" sz="1428" dirty="0">
                <a:solidFill>
                  <a:prstClr val="white"/>
                </a:solidFill>
              </a:rPr>
              <a:t>Require password / device lock</a:t>
            </a:r>
          </a:p>
          <a:p>
            <a:endParaRPr lang="en-US" sz="1428" dirty="0">
              <a:solidFill>
                <a:prstClr val="white"/>
              </a:solidFill>
            </a:endParaRPr>
          </a:p>
        </p:txBody>
      </p:sp>
      <p:sp>
        <p:nvSpPr>
          <p:cNvPr id="90" name="Line Callout 2 (Border and Accent Bar) 89"/>
          <p:cNvSpPr/>
          <p:nvPr/>
        </p:nvSpPr>
        <p:spPr>
          <a:xfrm>
            <a:off x="9802782" y="1323299"/>
            <a:ext cx="2313677" cy="931597"/>
          </a:xfrm>
          <a:prstGeom prst="accentBorderCallout2">
            <a:avLst>
              <a:gd name="adj1" fmla="val 18750"/>
              <a:gd name="adj2" fmla="val -8333"/>
              <a:gd name="adj3" fmla="val 18750"/>
              <a:gd name="adj4" fmla="val -16667"/>
              <a:gd name="adj5" fmla="val 113757"/>
              <a:gd name="adj6" fmla="val -39958"/>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rmAutofit lnSpcReduction="10000"/>
          </a:bodyPr>
          <a:lstStyle/>
          <a:p>
            <a:r>
              <a:rPr lang="en-US" sz="1425" u="sng" dirty="0">
                <a:solidFill>
                  <a:prstClr val="white"/>
                </a:solidFill>
              </a:rPr>
              <a:t>Authentication</a:t>
            </a:r>
            <a:endParaRPr lang="en-US" sz="1425" dirty="0">
              <a:solidFill>
                <a:prstClr val="white"/>
              </a:solidFill>
            </a:endParaRPr>
          </a:p>
          <a:p>
            <a:r>
              <a:rPr lang="en-US" sz="1425" dirty="0">
                <a:solidFill>
                  <a:prstClr val="white"/>
                </a:solidFill>
              </a:rPr>
              <a:t>Kerberos (Windows </a:t>
            </a:r>
            <a:r>
              <a:rPr lang="en-US" sz="1425" dirty="0" err="1">
                <a:solidFill>
                  <a:prstClr val="white"/>
                </a:solidFill>
              </a:rPr>
              <a:t>Auth</a:t>
            </a:r>
            <a:r>
              <a:rPr lang="en-US" sz="1425" dirty="0">
                <a:solidFill>
                  <a:prstClr val="white"/>
                </a:solidFill>
              </a:rPr>
              <a:t>)</a:t>
            </a:r>
          </a:p>
          <a:p>
            <a:r>
              <a:rPr lang="en-US" sz="1425" dirty="0">
                <a:solidFill>
                  <a:prstClr val="white"/>
                </a:solidFill>
              </a:rPr>
              <a:t>Digest (Windows </a:t>
            </a:r>
            <a:r>
              <a:rPr lang="en-US" sz="1425" dirty="0" err="1">
                <a:solidFill>
                  <a:prstClr val="white"/>
                </a:solidFill>
              </a:rPr>
              <a:t>Auth</a:t>
            </a:r>
            <a:r>
              <a:rPr lang="en-US" sz="1425" dirty="0">
                <a:solidFill>
                  <a:prstClr val="white"/>
                </a:solidFill>
              </a:rPr>
              <a:t>)</a:t>
            </a:r>
          </a:p>
          <a:p>
            <a:r>
              <a:rPr lang="en-US" sz="1425" dirty="0">
                <a:solidFill>
                  <a:prstClr val="white"/>
                </a:solidFill>
              </a:rPr>
              <a:t>ADFS (</a:t>
            </a:r>
            <a:r>
              <a:rPr lang="en-US" sz="1425" dirty="0" err="1">
                <a:solidFill>
                  <a:prstClr val="white"/>
                </a:solidFill>
              </a:rPr>
              <a:t>OAuth</a:t>
            </a:r>
            <a:r>
              <a:rPr lang="en-US" sz="1425" dirty="0">
                <a:solidFill>
                  <a:prstClr val="white"/>
                </a:solidFill>
              </a:rPr>
              <a:t>)</a:t>
            </a:r>
          </a:p>
        </p:txBody>
      </p:sp>
      <p:sp>
        <p:nvSpPr>
          <p:cNvPr id="73" name="Rectangle 72"/>
          <p:cNvSpPr/>
          <p:nvPr/>
        </p:nvSpPr>
        <p:spPr>
          <a:xfrm>
            <a:off x="10052613" y="2783371"/>
            <a:ext cx="1354850" cy="19582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1">
              <a:solidFill>
                <a:prstClr val="white"/>
              </a:solidFill>
            </a:endParaRPr>
          </a:p>
        </p:txBody>
      </p:sp>
      <p:sp>
        <p:nvSpPr>
          <p:cNvPr id="74" name="Rectangle 73"/>
          <p:cNvSpPr/>
          <p:nvPr/>
        </p:nvSpPr>
        <p:spPr>
          <a:xfrm>
            <a:off x="10119709" y="4487260"/>
            <a:ext cx="967871" cy="1954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User Devices</a:t>
            </a:r>
          </a:p>
        </p:txBody>
      </p:sp>
      <p:sp>
        <p:nvSpPr>
          <p:cNvPr id="8" name="TextBox 7"/>
          <p:cNvSpPr txBox="1"/>
          <p:nvPr/>
        </p:nvSpPr>
        <p:spPr>
          <a:xfrm>
            <a:off x="3333231" y="4480928"/>
            <a:ext cx="3233338" cy="349676"/>
          </a:xfrm>
          <a:prstGeom prst="rect">
            <a:avLst/>
          </a:prstGeom>
          <a:solidFill>
            <a:schemeClr val="accent1"/>
          </a:solidFill>
        </p:spPr>
        <p:txBody>
          <a:bodyPr wrap="none" rtlCol="0" anchor="ctr">
            <a:spAutoFit/>
          </a:bodyPr>
          <a:lstStyle/>
          <a:p>
            <a:r>
              <a:rPr lang="en-US" sz="1628" dirty="0">
                <a:solidFill>
                  <a:prstClr val="white"/>
                </a:solidFill>
              </a:rPr>
              <a:t>https://workfolders.contoso.com</a:t>
            </a:r>
          </a:p>
        </p:txBody>
      </p:sp>
      <p:pic>
        <p:nvPicPr>
          <p:cNvPr id="62" name="Picture 5" descr="\\MAGNUM\Projects\Microsoft\Cloud Power FY12\Design\ICONS_PNG\Consistent_Development_and_Deployment_Platform.png"/>
          <p:cNvPicPr>
            <a:picLocks noChangeAspect="1" noChangeArrowheads="1"/>
          </p:cNvPicPr>
          <p:nvPr/>
        </p:nvPicPr>
        <p:blipFill>
          <a:blip r:embed="rId7" cstate="print">
            <a:lum bright="100000"/>
            <a:extLst>
              <a:ext uri="{28A0092B-C50C-407E-A947-70E740481C1C}">
                <a14:useLocalDpi xmlns:a14="http://schemas.microsoft.com/office/drawing/2010/main"/>
              </a:ext>
            </a:extLst>
          </a:blip>
          <a:stretch>
            <a:fillRect/>
          </a:stretch>
        </p:blipFill>
        <p:spPr bwMode="auto">
          <a:xfrm>
            <a:off x="2988987" y="4480928"/>
            <a:ext cx="345064" cy="349467"/>
          </a:xfrm>
          <a:prstGeom prst="rect">
            <a:avLst/>
          </a:prstGeom>
          <a:solidFill>
            <a:schemeClr val="accent1"/>
          </a:solidFill>
        </p:spPr>
      </p:pic>
    </p:spTree>
    <p:extLst>
      <p:ext uri="{BB962C8B-B14F-4D97-AF65-F5344CB8AC3E}">
        <p14:creationId xmlns:p14="http://schemas.microsoft.com/office/powerpoint/2010/main" val="209892918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0627" y="2125663"/>
            <a:ext cx="11887200" cy="1831975"/>
          </a:xfrm>
        </p:spPr>
        <p:txBody>
          <a:bodyPr/>
          <a:lstStyle/>
          <a:p>
            <a:r>
              <a:rPr lang="en-US" sz="7200" dirty="0" smtClean="0"/>
              <a:t>Securing Access</a:t>
            </a:r>
            <a:endParaRPr lang="en-US" sz="7200" dirty="0"/>
          </a:p>
        </p:txBody>
      </p:sp>
    </p:spTree>
    <p:extLst>
      <p:ext uri="{BB962C8B-B14F-4D97-AF65-F5344CB8AC3E}">
        <p14:creationId xmlns:p14="http://schemas.microsoft.com/office/powerpoint/2010/main" val="258521126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WCA-B204" id="{474AA362-D8BD-4643-ACBE-ED74BCAA714D}" vid="{6F81A7BE-3E86-4D2D-8EF7-40F25588C035}"/>
    </a:ext>
  </a:extLst>
</a:theme>
</file>

<file path=ppt/theme/theme2.xml><?xml version="1.0" encoding="utf-8"?>
<a:theme xmlns:a="http://schemas.openxmlformats.org/drawingml/2006/main" name="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2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5.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IT_Leadership PPT Template.potx" id="{1BA93C0E-B782-4C3F-8DC9-C27D55B25E2A}" vid="{E18CA529-7ED7-414E-AE33-95948AB75994}"/>
    </a:ext>
  </a:extLst>
</a:theme>
</file>

<file path=ppt/theme/theme6.xml><?xml version="1.0" encoding="utf-8"?>
<a:theme xmlns:a="http://schemas.openxmlformats.org/drawingml/2006/main" name="2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2013_WCA-B204</Template>
  <TotalTime>3456</TotalTime>
  <Words>2810</Words>
  <Application>Microsoft Office PowerPoint</Application>
  <PresentationFormat>Custom</PresentationFormat>
  <Paragraphs>248</Paragraphs>
  <Slides>33</Slides>
  <Notes>18</Notes>
  <HiddenSlides>0</HiddenSlides>
  <MMClips>0</MMClips>
  <ScaleCrop>false</ScaleCrop>
  <HeadingPairs>
    <vt:vector size="6" baseType="variant">
      <vt:variant>
        <vt:lpstr>Fonts Used</vt:lpstr>
      </vt:variant>
      <vt:variant>
        <vt:i4>7</vt:i4>
      </vt:variant>
      <vt:variant>
        <vt:lpstr>Theme</vt:lpstr>
      </vt:variant>
      <vt:variant>
        <vt:i4>6</vt:i4>
      </vt:variant>
      <vt:variant>
        <vt:lpstr>Slide Titles</vt:lpstr>
      </vt:variant>
      <vt:variant>
        <vt:i4>33</vt:i4>
      </vt:variant>
    </vt:vector>
  </HeadingPairs>
  <TitlesOfParts>
    <vt:vector size="46" baseType="lpstr">
      <vt:lpstr>Segoe</vt:lpstr>
      <vt:lpstr>Wingdings</vt:lpstr>
      <vt:lpstr>Arial</vt:lpstr>
      <vt:lpstr>Adobe Fan Heiti Std B</vt:lpstr>
      <vt:lpstr>Segoe UI Light</vt:lpstr>
      <vt:lpstr>Segoe UI</vt:lpstr>
      <vt:lpstr>Consolas</vt:lpstr>
      <vt:lpstr>TechEd_2013_Template_r09</vt:lpstr>
      <vt:lpstr>3-30070_Windows_Server_Management_Marketing_Template_16x9</vt:lpstr>
      <vt:lpstr>2_3-30070_Windows_Server_Management_Marketing_Template_16x9</vt:lpstr>
      <vt:lpstr>TechEd_2013_Template_16x9</vt:lpstr>
      <vt:lpstr>1_TechEd_2013_Template_16x9</vt:lpstr>
      <vt:lpstr>2_TechEd_2013_Template_16x9</vt:lpstr>
      <vt:lpstr>PowerPoint Presentation</vt:lpstr>
      <vt:lpstr>Secure anywhere access to corporate resources such as Windows Server Work Folders using ADFS</vt:lpstr>
      <vt:lpstr>Increasing the value in Active Directory Federation Services</vt:lpstr>
      <vt:lpstr>Identity Capabilities for BYOD</vt:lpstr>
      <vt:lpstr>Trusted File Servers</vt:lpstr>
      <vt:lpstr>PowerPoint Presentation</vt:lpstr>
      <vt:lpstr>Introducing Work Folders</vt:lpstr>
      <vt:lpstr>Work Folders Topology</vt:lpstr>
      <vt:lpstr>Securing Access</vt:lpstr>
      <vt:lpstr>How do I Secure Access?</vt:lpstr>
      <vt:lpstr>Governing Authentication</vt:lpstr>
      <vt:lpstr>Governing Authentication</vt:lpstr>
      <vt:lpstr>Governing Primary Authentication</vt:lpstr>
      <vt:lpstr>Governing Authentication</vt:lpstr>
      <vt:lpstr>Governing Authentication</vt:lpstr>
      <vt:lpstr>MFA Integration with Partners</vt:lpstr>
      <vt:lpstr>Governing Additional Authentication</vt:lpstr>
      <vt:lpstr>Governing Authorization</vt:lpstr>
      <vt:lpstr>Governing Authorization</vt:lpstr>
      <vt:lpstr>Governing Authorization</vt:lpstr>
      <vt:lpstr>Protecting Your Users &amp; Devices</vt:lpstr>
      <vt:lpstr>Protecting your Users &amp; Devices</vt:lpstr>
      <vt:lpstr>Protecting your Users &amp; Devices</vt:lpstr>
      <vt:lpstr>Protecting your Users &amp; Devices</vt:lpstr>
      <vt:lpstr>Protection your Users &amp; Devices</vt:lpstr>
      <vt:lpstr>Related Content</vt:lpstr>
      <vt:lpstr>Track Resources</vt:lpstr>
      <vt:lpstr>Windows Track Resources</vt:lpstr>
      <vt:lpstr>For More Information</vt:lpstr>
      <vt:lpstr>Resources</vt:lpstr>
      <vt:lpstr>Complete an evaluation on CommNet and enter to win!</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34: Secure anywhere access to corporate resources such as Windows Server Work Folders using ADFS</dc:title>
  <dc:subject>TechEd 2013</dc:subject>
  <dc:creator>Samuel Devasahayam;  Adam Skewgar</dc:creator>
  <cp:keywords>TechEd 2013</cp:keywords>
  <dc:description>Template by: Jordan Cayabyab, Artitudes Design, Inc.
Formatting by: Dana KW, Silver Fox Productions, Inc.
Audience Type: Internal/External</dc:description>
  <cp:lastModifiedBy>Shows</cp:lastModifiedBy>
  <cp:revision>61</cp:revision>
  <dcterms:created xsi:type="dcterms:W3CDTF">2013-05-13T15:57:38Z</dcterms:created>
  <dcterms:modified xsi:type="dcterms:W3CDTF">2013-06-05T23:3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